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notesSlides/notesSlide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4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6" r:id="rId2"/>
    <p:sldId id="294" r:id="rId3"/>
    <p:sldId id="326" r:id="rId4"/>
    <p:sldId id="324" r:id="rId5"/>
    <p:sldId id="334" r:id="rId6"/>
    <p:sldId id="335" r:id="rId7"/>
    <p:sldId id="327" r:id="rId8"/>
    <p:sldId id="306" r:id="rId9"/>
    <p:sldId id="330" r:id="rId10"/>
    <p:sldId id="314" r:id="rId11"/>
    <p:sldId id="331" r:id="rId12"/>
    <p:sldId id="332" r:id="rId13"/>
    <p:sldId id="333" r:id="rId14"/>
    <p:sldId id="329" r:id="rId15"/>
  </p:sldIdLst>
  <p:sldSz cx="9144000" cy="6858000" type="screen4x3"/>
  <p:notesSz cx="6794500" cy="9906000"/>
  <p:custDataLst>
    <p:tags r:id="rId17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99" userDrawn="1">
          <p15:clr>
            <a:srgbClr val="A4A3A4"/>
          </p15:clr>
        </p15:guide>
        <p15:guide id="2" orient="horz" pos="3997">
          <p15:clr>
            <a:srgbClr val="A4A3A4"/>
          </p15:clr>
        </p15:guide>
        <p15:guide id="3" pos="181">
          <p15:clr>
            <a:srgbClr val="A4A3A4"/>
          </p15:clr>
        </p15:guide>
        <p15:guide id="4" pos="55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5" autoAdjust="0"/>
    <p:restoredTop sz="95779" autoAdjust="0"/>
  </p:normalViewPr>
  <p:slideViewPr>
    <p:cSldViewPr showGuides="1">
      <p:cViewPr varScale="1">
        <p:scale>
          <a:sx n="70" d="100"/>
          <a:sy n="70" d="100"/>
        </p:scale>
        <p:origin x="-1152" y="-102"/>
      </p:cViewPr>
      <p:guideLst>
        <p:guide orient="horz" pos="2772"/>
        <p:guide orient="horz" pos="3997"/>
        <p:guide orient="horz" pos="3226"/>
        <p:guide orient="horz" pos="1616"/>
        <p:guide orient="horz" pos="2364"/>
        <p:guide orient="horz" pos="3816"/>
        <p:guide orient="horz" pos="2160"/>
        <p:guide pos="181"/>
        <p:guide pos="5579"/>
        <p:guide pos="1360"/>
        <p:guide pos="2971"/>
        <p:guide pos="3334"/>
        <p:guide pos="2812"/>
        <p:guide pos="1565"/>
      </p:guideLst>
    </p:cSldViewPr>
  </p:slideViewPr>
  <p:outlineViewPr>
    <p:cViewPr>
      <p:scale>
        <a:sx n="33" d="100"/>
        <a:sy n="33" d="100"/>
      </p:scale>
      <p:origin x="48" y="270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6288816828846507E-2"/>
          <c:y val="7.599488413987196E-2"/>
          <c:w val="0.93310527515423614"/>
          <c:h val="0.831644777986241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 введенных в эксплуатацию после реконструкции взлетно-посадочных полос, ед</c:v>
                </c:pt>
              </c:strCache>
            </c:strRef>
          </c:tx>
          <c:invertIfNegative val="0"/>
          <c:dPt>
            <c:idx val="2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3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4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6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7"/>
            <c:invertIfNegative val="0"/>
            <c:bubble3D val="0"/>
            <c:spPr>
              <a:solidFill>
                <a:schemeClr val="accent3"/>
              </a:solidFill>
            </c:spPr>
          </c:dPt>
          <c:dPt>
            <c:idx val="8"/>
            <c:invertIfNegative val="0"/>
            <c:bubble3D val="0"/>
            <c:spPr>
              <a:solidFill>
                <a:srgbClr val="FFC000"/>
              </a:solidFill>
            </c:spPr>
          </c:dPt>
          <c:dLbls>
            <c:dLbl>
              <c:idx val="2"/>
              <c:layout>
                <c:manualLayout>
                  <c:x val="0"/>
                  <c:y val="-5.752808103489878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7.5046904315196998E-4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4.252657911194496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0"/>
                  <c:y val="-1.075672295184490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0406693111710839E-3"/>
                  <c:y val="1.175715136921205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3.0406693111710839E-3"/>
                  <c:y val="4.252657911194496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1.1148992013520186E-16"/>
                  <c:y val="9.2557848655409631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>
                        <a:solidFill>
                          <a:srgbClr val="FF0000"/>
                        </a:solidFill>
                      </a:rPr>
                      <a:t>1100</a:t>
                    </a:r>
                    <a:endParaRPr lang="en-US" dirty="0">
                      <a:solidFill>
                        <a:srgbClr val="FF0000"/>
                      </a:solidFill>
                    </a:endParaRP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10</c:f>
              <c:strCache>
                <c:ptCount val="9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(п)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8</c:v>
                </c:pt>
                <c:pt idx="1">
                  <c:v>26</c:v>
                </c:pt>
                <c:pt idx="2">
                  <c:v>90</c:v>
                </c:pt>
                <c:pt idx="3">
                  <c:v>150</c:v>
                </c:pt>
                <c:pt idx="4">
                  <c:v>450</c:v>
                </c:pt>
                <c:pt idx="5">
                  <c:v>820</c:v>
                </c:pt>
                <c:pt idx="6">
                  <c:v>1300</c:v>
                </c:pt>
                <c:pt idx="7">
                  <c:v>1350</c:v>
                </c:pt>
                <c:pt idx="8">
                  <c:v>11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8"/>
        <c:axId val="154119680"/>
        <c:axId val="270204928"/>
      </c:barChart>
      <c:catAx>
        <c:axId val="154119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ru-RU"/>
          </a:p>
        </c:txPr>
        <c:crossAx val="270204928"/>
        <c:crosses val="autoZero"/>
        <c:auto val="1"/>
        <c:lblAlgn val="ctr"/>
        <c:lblOffset val="100"/>
        <c:noMultiLvlLbl val="0"/>
      </c:catAx>
      <c:valAx>
        <c:axId val="27020492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54119680"/>
        <c:crosses val="autoZero"/>
        <c:crossBetween val="between"/>
      </c:valAx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FBDA2C-B5F4-47B6-AF6C-29617177C411}" type="datetimeFigureOut">
              <a:rPr lang="ru-RU" smtClean="0"/>
              <a:t>26.05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46F9C5-02DD-461C-9051-0F896CA5F15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51598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46F9C5-02DD-461C-9051-0F896CA5F15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99818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ru-RU" dirty="0" smtClean="0"/>
              <a:t>Еще одним важным направлением развития мы видим повышение открытости бизнеса. В этом году мы запустили мобильное приложение «Паспортизация», доступное для операционных систем </a:t>
            </a:r>
            <a:r>
              <a:rPr lang="ru-RU" dirty="0" err="1" smtClean="0"/>
              <a:t>Ios</a:t>
            </a:r>
            <a:r>
              <a:rPr lang="ru-RU" dirty="0" smtClean="0"/>
              <a:t> и </a:t>
            </a:r>
            <a:r>
              <a:rPr lang="ru-RU" dirty="0" err="1" smtClean="0"/>
              <a:t>Android</a:t>
            </a:r>
            <a:r>
              <a:rPr lang="ru-RU" dirty="0" smtClean="0"/>
              <a:t>,</a:t>
            </a:r>
            <a:r>
              <a:rPr lang="ru-RU" baseline="0" dirty="0" smtClean="0"/>
              <a:t> и представляющее </a:t>
            </a:r>
            <a:r>
              <a:rPr lang="ru-RU" dirty="0" smtClean="0"/>
              <a:t>эффективный способ борьбы с контрафактом и гарантирования качества продукции. 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При заполнении соответствующих полей он-</a:t>
            </a:r>
            <a:r>
              <a:rPr lang="ru-RU" dirty="0" err="1" smtClean="0"/>
              <a:t>лайн</a:t>
            </a:r>
            <a:r>
              <a:rPr lang="ru-RU" dirty="0" smtClean="0"/>
              <a:t> приложения потребитель может отследить на каком заводе продукт был произведен и в каком количестве отгружен, получить информацию о номере партии и пробы, дате, а также обо всех технических характеристиках продукта</a:t>
            </a:r>
            <a:r>
              <a:rPr lang="ru-RU" baseline="0" dirty="0" smtClean="0"/>
              <a:t> в виде паспорта</a:t>
            </a:r>
            <a:r>
              <a:rPr lang="ru-RU" dirty="0" smtClean="0"/>
              <a:t>.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В настоящее время этот сервис доступен для поставок вяжущих с Московского НПЗ, а в ближайшие месяцы будет распространен и на другие заводы Компании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46F9C5-02DD-461C-9051-0F896CA5F15E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1183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r>
              <a:rPr lang="ru-RU" dirty="0" smtClean="0"/>
              <a:t>Еще одним важным направлением развития мы видим повышение открытости бизнеса. В этом году мы запустили мобильное приложение «Паспортизация», доступное для операционных систем </a:t>
            </a:r>
            <a:r>
              <a:rPr lang="ru-RU" dirty="0" err="1" smtClean="0"/>
              <a:t>Ios</a:t>
            </a:r>
            <a:r>
              <a:rPr lang="ru-RU" dirty="0" smtClean="0"/>
              <a:t> и </a:t>
            </a:r>
            <a:r>
              <a:rPr lang="ru-RU" dirty="0" err="1" smtClean="0"/>
              <a:t>Android</a:t>
            </a:r>
            <a:r>
              <a:rPr lang="ru-RU" dirty="0" smtClean="0"/>
              <a:t>,</a:t>
            </a:r>
            <a:r>
              <a:rPr lang="ru-RU" baseline="0" dirty="0" smtClean="0"/>
              <a:t> и представляющее </a:t>
            </a:r>
            <a:r>
              <a:rPr lang="ru-RU" dirty="0" smtClean="0"/>
              <a:t>эффективный способ борьбы с контрафактом и гарантирования качества продукции. 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При заполнении соответствующих полей он-</a:t>
            </a:r>
            <a:r>
              <a:rPr lang="ru-RU" dirty="0" err="1" smtClean="0"/>
              <a:t>лайн</a:t>
            </a:r>
            <a:r>
              <a:rPr lang="ru-RU" dirty="0" smtClean="0"/>
              <a:t> приложения потребитель может отследить на каком заводе продукт был произведен и в каком количестве отгружен, получить информацию о номере партии и пробы, дате, а также обо всех технических характеристиках продукта</a:t>
            </a:r>
            <a:r>
              <a:rPr lang="ru-RU" baseline="0" dirty="0" smtClean="0"/>
              <a:t> в виде паспорта</a:t>
            </a:r>
            <a:r>
              <a:rPr lang="ru-RU" dirty="0" smtClean="0"/>
              <a:t>.</a:t>
            </a:r>
          </a:p>
          <a:p>
            <a:pPr algn="just"/>
            <a:endParaRPr lang="ru-RU" dirty="0" smtClean="0"/>
          </a:p>
          <a:p>
            <a:pPr algn="just"/>
            <a:r>
              <a:rPr lang="ru-RU" dirty="0" smtClean="0"/>
              <a:t>В настоящее время этот сервис доступен для поставок вяжущих с Московского НПЗ, а в ближайшие месяцы будет распространен и на другие заводы Компании.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46F9C5-02DD-461C-9051-0F896CA5F15E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6389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а новом Московском активе продукт выпускается по СТО, который был согласован как в ФДА в 2015г, так и в государственной компании 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Автодор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в 2014г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46F9C5-02DD-461C-9051-0F896CA5F15E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0218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/C:\Program%20Files\OOO%20Proector\PowerLexis%20Panel%20for%20GPN\Resources\images\bg\bg15speech.jpg" TargetMode="External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ackGroundTitleSlide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3608388"/>
            <a:ext cx="4284663" cy="2160587"/>
          </a:xfrm>
        </p:spPr>
        <p:txBody>
          <a:bodyPr anchor="t">
            <a:noAutofit/>
          </a:bodyPr>
          <a:lstStyle>
            <a:lvl1pPr>
              <a:defRPr sz="22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38" y="5445124"/>
            <a:ext cx="4140646" cy="216000"/>
          </a:xfrm>
        </p:spPr>
        <p:txBody>
          <a:bodyPr>
            <a:normAutofit/>
          </a:bodyPr>
          <a:lstStyle>
            <a:lvl1pPr marL="0" indent="0" algn="l">
              <a:buNone/>
              <a:defRPr sz="1400" b="0" baseline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673039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900398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6127756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11" name="TitleLogoRus"/>
          <p:cNvGrpSpPr>
            <a:grpSpLocks noChangeAspect="1"/>
          </p:cNvGrpSpPr>
          <p:nvPr/>
        </p:nvGrpSpPr>
        <p:grpSpPr bwMode="auto">
          <a:xfrm>
            <a:off x="7884368" y="5886796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25" name="TitleLogoEng" hidden="1"/>
          <p:cNvSpPr>
            <a:spLocks noEditPoints="1"/>
          </p:cNvSpPr>
          <p:nvPr/>
        </p:nvSpPr>
        <p:spPr bwMode="auto">
          <a:xfrm>
            <a:off x="7869333" y="5885827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1" name="TradeSecret" hidden="1"/>
          <p:cNvSpPr txBox="1"/>
          <p:nvPr/>
        </p:nvSpPr>
        <p:spPr>
          <a:xfrm>
            <a:off x="6899887" y="175973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32" name="Confidential" hidden="1"/>
          <p:cNvSpPr txBox="1"/>
          <p:nvPr/>
        </p:nvSpPr>
        <p:spPr>
          <a:xfrm>
            <a:off x="6967245" y="175973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33" name="CompanyName" hidden="1"/>
          <p:cNvSpPr txBox="1"/>
          <p:nvPr/>
        </p:nvSpPr>
        <p:spPr>
          <a:xfrm>
            <a:off x="6490352" y="404664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7927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260350"/>
            <a:ext cx="8569324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9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9" y="260350"/>
            <a:ext cx="8569324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9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4716463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7"/>
          </p:nvPr>
        </p:nvSpPr>
        <p:spPr>
          <a:xfrm>
            <a:off x="324008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8"/>
          </p:nvPr>
        </p:nvSpPr>
        <p:spPr>
          <a:xfrm>
            <a:off x="619283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7" y="3911600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7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7200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1267200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9358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4699000" y="1935862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2063750"/>
            <a:ext cx="4157662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2063750"/>
            <a:ext cx="4157663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4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13518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5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3913518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8" y="4582180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699000" y="4582180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Объект 14"/>
          <p:cNvSpPr>
            <a:spLocks noGrp="1"/>
          </p:cNvSpPr>
          <p:nvPr>
            <p:ph sz="quarter" idx="17" hasCustomPrompt="1"/>
          </p:nvPr>
        </p:nvSpPr>
        <p:spPr>
          <a:xfrm>
            <a:off x="287338" y="4710068"/>
            <a:ext cx="4157662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9" name="Объект 16"/>
          <p:cNvSpPr>
            <a:spLocks noGrp="1"/>
          </p:cNvSpPr>
          <p:nvPr>
            <p:ph sz="quarter" idx="18" hasCustomPrompt="1"/>
          </p:nvPr>
        </p:nvSpPr>
        <p:spPr>
          <a:xfrm>
            <a:off x="4699000" y="4710068"/>
            <a:ext cx="4157663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3921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3088236"/>
            <a:ext cx="4157662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3088236"/>
            <a:ext cx="4157663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1268413"/>
            <a:ext cx="4157662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1268413"/>
            <a:ext cx="4157663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4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5772946"/>
            <a:ext cx="4157662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5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5772946"/>
            <a:ext cx="4157663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8" name="Объект 14"/>
          <p:cNvSpPr>
            <a:spLocks noGrp="1"/>
          </p:cNvSpPr>
          <p:nvPr>
            <p:ph sz="quarter" idx="17" hasCustomPrompt="1"/>
          </p:nvPr>
        </p:nvSpPr>
        <p:spPr>
          <a:xfrm>
            <a:off x="287338" y="3953123"/>
            <a:ext cx="4157662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9" name="Объект 16"/>
          <p:cNvSpPr>
            <a:spLocks noGrp="1"/>
          </p:cNvSpPr>
          <p:nvPr>
            <p:ph sz="quarter" idx="18" hasCustomPrompt="1"/>
          </p:nvPr>
        </p:nvSpPr>
        <p:spPr>
          <a:xfrm>
            <a:off x="4699000" y="3953123"/>
            <a:ext cx="4157663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0114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9325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96856" y="1268759"/>
            <a:ext cx="4159807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 baseline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528900"/>
            <a:ext cx="8569325" cy="697303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87338" y="3429000"/>
            <a:ext cx="856932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9"/>
          <p:cNvCxnSpPr/>
          <p:nvPr/>
        </p:nvCxnSpPr>
        <p:spPr>
          <a:xfrm>
            <a:off x="8566352" y="6522320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10"/>
          <p:cNvSpPr/>
          <p:nvPr/>
        </p:nvSpPr>
        <p:spPr>
          <a:xfrm>
            <a:off x="8633637" y="6469800"/>
            <a:ext cx="304660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717031"/>
            <a:ext cx="8569325" cy="2304257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2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236183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8925" y="1268412"/>
            <a:ext cx="4156075" cy="507682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4716463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8130" y="3924300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35893" y="3924299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4299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96856" y="1268759"/>
            <a:ext cx="4150800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3055"/>
            <a:ext cx="4150800" cy="239484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5675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3824"/>
            <a:ext cx="4150800" cy="241149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9110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9110" y="3933824"/>
            <a:ext cx="4150800" cy="241149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040312" cy="50403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5616575" y="1268414"/>
            <a:ext cx="3240087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20837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987020"/>
            <a:ext cx="5040312" cy="43558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267003"/>
            <a:ext cx="5040745" cy="576001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 baseline="0"/>
            </a:lvl1pPr>
          </a:lstStyle>
          <a:p>
            <a:pPr lvl="0"/>
            <a:r>
              <a:rPr lang="ru-RU" dirty="0" smtClean="0"/>
              <a:t>Вставьте заголовок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87338" y="1931946"/>
            <a:ext cx="504074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3"/>
          <p:cNvSpPr>
            <a:spLocks noGrp="1"/>
          </p:cNvSpPr>
          <p:nvPr>
            <p:ph sz="quarter" idx="18"/>
          </p:nvPr>
        </p:nvSpPr>
        <p:spPr>
          <a:xfrm>
            <a:off x="5616575" y="1268414"/>
            <a:ext cx="3240087" cy="33480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9"/>
          </p:nvPr>
        </p:nvSpPr>
        <p:spPr>
          <a:xfrm>
            <a:off x="5616575" y="4833938"/>
            <a:ext cx="3240087" cy="1511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1178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20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2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22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05488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9" y="2708919"/>
            <a:ext cx="8569324" cy="363155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952836"/>
            <a:ext cx="8569325" cy="680297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566352" y="6522320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8633637" y="6469800"/>
            <a:ext cx="304660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922101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8569325" cy="5040312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67148" y="4545014"/>
            <a:ext cx="5581227" cy="1583418"/>
          </a:xfrm>
          <a:solidFill>
            <a:srgbClr val="FFFFFF">
              <a:alpha val="80000"/>
            </a:srgbClr>
          </a:solidFill>
        </p:spPr>
        <p:txBody>
          <a:bodyPr lIns="144000" tIns="108000" rIns="72000" bIns="72000">
            <a:noAutofit/>
          </a:bodyPr>
          <a:lstStyle>
            <a:lvl1pPr>
              <a:spcBef>
                <a:spcPts val="0"/>
              </a:spcBef>
              <a:defRPr sz="2200" b="0" baseline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178233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4157662" cy="33131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699000" y="1268413"/>
            <a:ext cx="4157663" cy="33131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830564"/>
            <a:ext cx="4157662" cy="15113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00" y="4830564"/>
            <a:ext cx="4157663" cy="15113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994163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0" name="Рисунок 19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2681287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2" name="Рисунок 21"/>
          <p:cNvSpPr>
            <a:spLocks noGrp="1"/>
          </p:cNvSpPr>
          <p:nvPr>
            <p:ph type="pic" sz="quarter" idx="12" hasCustomPrompt="1"/>
          </p:nvPr>
        </p:nvSpPr>
        <p:spPr>
          <a:xfrm>
            <a:off x="3240088" y="1268413"/>
            <a:ext cx="2663825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4" name="Рисунок 23"/>
          <p:cNvSpPr>
            <a:spLocks noGrp="1"/>
          </p:cNvSpPr>
          <p:nvPr>
            <p:ph type="pic" sz="quarter" idx="13" hasCustomPrompt="1"/>
          </p:nvPr>
        </p:nvSpPr>
        <p:spPr>
          <a:xfrm>
            <a:off x="6175375" y="1268413"/>
            <a:ext cx="2681288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4833938"/>
            <a:ext cx="2681287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3240088" y="4833938"/>
            <a:ext cx="2663825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6" hasCustomPrompt="1"/>
          </p:nvPr>
        </p:nvSpPr>
        <p:spPr>
          <a:xfrm>
            <a:off x="6175375" y="4833938"/>
            <a:ext cx="2681288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 baseline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99118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53545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586789"/>
            <a:ext cx="8569325" cy="10810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921121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254363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87338" y="2460167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87338" y="3794499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87338" y="5127743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44252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221038" y="1268413"/>
            <a:ext cx="5635625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40088" y="1988430"/>
            <a:ext cx="5616575" cy="334874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221038" y="1933356"/>
            <a:ext cx="56356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3240088" y="5589240"/>
            <a:ext cx="561657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2663825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0920583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589240"/>
            <a:ext cx="856932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5616575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6175376" y="1268414"/>
            <a:ext cx="2681288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3342825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588724"/>
            <a:ext cx="856932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8569325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1692173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7200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1267200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9358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4699000" y="1935862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1990936"/>
            <a:ext cx="4157662" cy="298833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1990936"/>
            <a:ext cx="4157663" cy="298833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5229200"/>
            <a:ext cx="4157662" cy="111603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smtClean="0"/>
              <a:t>Текст</a:t>
            </a:r>
            <a:endParaRPr lang="ru-RU" dirty="0" smtClean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5229200"/>
            <a:ext cx="4157663" cy="111603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smtClean="0"/>
              <a:t>Текст</a:t>
            </a:r>
            <a:endParaRPr lang="ru-RU" dirty="0" smtClean="0"/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654296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2681287" cy="2413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  <a:lvl2pPr>
              <a:defRPr sz="2200" b="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2" hasCustomPrompt="1"/>
          </p:nvPr>
        </p:nvSpPr>
        <p:spPr>
          <a:xfrm>
            <a:off x="287338" y="3933825"/>
            <a:ext cx="2681287" cy="24034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3239852" y="1268413"/>
            <a:ext cx="5616811" cy="24129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7"/>
          </p:nvPr>
        </p:nvSpPr>
        <p:spPr>
          <a:xfrm>
            <a:off x="3239852" y="3924301"/>
            <a:ext cx="5616811" cy="24129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063868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1" hasCustomPrompt="1"/>
          </p:nvPr>
        </p:nvSpPr>
        <p:spPr>
          <a:xfrm>
            <a:off x="287053" y="1268413"/>
            <a:ext cx="2681566" cy="1765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284983"/>
            <a:ext cx="2681287" cy="3060255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3239852" y="1268413"/>
            <a:ext cx="5616811" cy="5068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48381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988095"/>
            <a:ext cx="4157662" cy="2592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4699000" y="1988095"/>
            <a:ext cx="4157663" cy="2592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1268413"/>
            <a:ext cx="4140200" cy="5688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9000" y="1268413"/>
            <a:ext cx="4157663" cy="5688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73161" y="4833938"/>
            <a:ext cx="8583501" cy="15113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698663" y="1927131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0"/>
          <p:cNvCxnSpPr/>
          <p:nvPr/>
        </p:nvCxnSpPr>
        <p:spPr>
          <a:xfrm>
            <a:off x="287338" y="1927131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013908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538"/>
            <a:ext cx="5616576" cy="5688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6175375" y="1268421"/>
            <a:ext cx="2681288" cy="569767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287338" y="1933481"/>
            <a:ext cx="561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6172992" y="1927131"/>
            <a:ext cx="2682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бъект 12"/>
          <p:cNvSpPr>
            <a:spLocks noGrp="1"/>
          </p:cNvSpPr>
          <p:nvPr>
            <p:ph sz="quarter" idx="13" hasCustomPrompt="1"/>
          </p:nvPr>
        </p:nvSpPr>
        <p:spPr>
          <a:xfrm>
            <a:off x="287338" y="1988556"/>
            <a:ext cx="5616576" cy="4354302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4" hasCustomPrompt="1"/>
          </p:nvPr>
        </p:nvSpPr>
        <p:spPr>
          <a:xfrm>
            <a:off x="6175375" y="1982205"/>
            <a:ext cx="2681287" cy="4360651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02900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287524" y="260350"/>
            <a:ext cx="8569657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2" name="line5"/>
          <p:cNvCxnSpPr/>
          <p:nvPr/>
        </p:nvCxnSpPr>
        <p:spPr>
          <a:xfrm>
            <a:off x="297656" y="290587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84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5" name="line3"/>
          <p:cNvCxnSpPr/>
          <p:nvPr/>
        </p:nvCxnSpPr>
        <p:spPr>
          <a:xfrm>
            <a:off x="297656" y="221804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8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8" name="line4"/>
          <p:cNvCxnSpPr/>
          <p:nvPr/>
        </p:nvCxnSpPr>
        <p:spPr>
          <a:xfrm>
            <a:off x="297656" y="256196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0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91" name="line6"/>
          <p:cNvCxnSpPr/>
          <p:nvPr/>
        </p:nvCxnSpPr>
        <p:spPr>
          <a:xfrm>
            <a:off x="297656" y="324979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3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94" name="line2"/>
          <p:cNvCxnSpPr/>
          <p:nvPr/>
        </p:nvCxnSpPr>
        <p:spPr>
          <a:xfrm>
            <a:off x="297656" y="187413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6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97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cxnSp>
        <p:nvCxnSpPr>
          <p:cNvPr id="98" name="line7"/>
          <p:cNvCxnSpPr/>
          <p:nvPr/>
        </p:nvCxnSpPr>
        <p:spPr>
          <a:xfrm>
            <a:off x="297656" y="359371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0" name="line8"/>
          <p:cNvCxnSpPr/>
          <p:nvPr/>
        </p:nvCxnSpPr>
        <p:spPr>
          <a:xfrm>
            <a:off x="297656" y="393762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102" name="ContentsTitle13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3" name="line13"/>
          <p:cNvCxnSpPr/>
          <p:nvPr/>
        </p:nvCxnSpPr>
        <p:spPr>
          <a:xfrm>
            <a:off x="297656" y="565720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sNumber13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105" name="ContentsTitle1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6" name="line11"/>
          <p:cNvCxnSpPr/>
          <p:nvPr/>
        </p:nvCxnSpPr>
        <p:spPr>
          <a:xfrm>
            <a:off x="297656" y="496937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ontentsNumber1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108" name="ContentsTitle15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9" name="line15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ontentsNumber15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111" name="ContentsTitle12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12" name="line12"/>
          <p:cNvCxnSpPr/>
          <p:nvPr/>
        </p:nvCxnSpPr>
        <p:spPr>
          <a:xfrm>
            <a:off x="297656" y="531329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ontentsNumber12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114" name="ContentsTitle9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115" name="line9"/>
          <p:cNvCxnSpPr/>
          <p:nvPr/>
        </p:nvCxnSpPr>
        <p:spPr>
          <a:xfrm>
            <a:off x="297656" y="428154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117" name="ContentsTitle14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18" name="line14"/>
          <p:cNvCxnSpPr/>
          <p:nvPr/>
        </p:nvCxnSpPr>
        <p:spPr>
          <a:xfrm>
            <a:off x="297656" y="600112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ContentsNumber14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120" name="ContentsTitle10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121" name="line10"/>
          <p:cNvCxnSpPr/>
          <p:nvPr/>
        </p:nvCxnSpPr>
        <p:spPr>
          <a:xfrm>
            <a:off x="297656" y="462545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ContentsNumber10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46" name="ContentsTitle1"/>
          <p:cNvSpPr txBox="1"/>
          <p:nvPr/>
        </p:nvSpPr>
        <p:spPr>
          <a:xfrm>
            <a:off x="641276" y="1298289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47" name="line1"/>
          <p:cNvCxnSpPr/>
          <p:nvPr/>
        </p:nvCxnSpPr>
        <p:spPr>
          <a:xfrm>
            <a:off x="297656" y="153021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sNumber1"/>
          <p:cNvSpPr txBox="1"/>
          <p:nvPr/>
        </p:nvSpPr>
        <p:spPr>
          <a:xfrm>
            <a:off x="287524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49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0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1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2" name="Number5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3" name="Number6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4" name="Number7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5" name="Number8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6" name="Number4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7" name="Number9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8" name="Number10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9" name="Number1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0" name="Number12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1" name="Number13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2" name="Number14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3" name="Number15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3260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3"/>
            <a:ext cx="85693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orient="horz" pos="799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702630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260350"/>
            <a:ext cx="8569324" cy="608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4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3911600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797425"/>
            <a:ext cx="8569325" cy="1543050"/>
          </a:xfrm>
        </p:spPr>
        <p:txBody>
          <a:bodyPr anchor="t">
            <a:noAutofit/>
          </a:bodyPr>
          <a:lstStyle>
            <a:lvl1pPr algn="ctr">
              <a:spcBef>
                <a:spcPts val="0"/>
              </a:spcBef>
              <a:defRPr sz="2200" b="0" baseline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4"/>
            <a:ext cx="8569325" cy="280828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099225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4"/>
            <a:ext cx="8560316" cy="50609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97656" y="1042103"/>
            <a:ext cx="85590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566352" y="6522318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633636" y="6469798"/>
            <a:ext cx="510363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3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4" r:id="rId33"/>
    <p:sldLayoutId id="2147483695" r:id="rId34"/>
    <p:sldLayoutId id="2147483696" r:id="rId35"/>
    <p:sldLayoutId id="2147483697" r:id="rId36"/>
    <p:sldLayoutId id="2147483698" r:id="rId37"/>
    <p:sldLayoutId id="2147483699" r:id="rId38"/>
    <p:sldLayoutId id="2147483700" r:id="rId39"/>
    <p:sldLayoutId id="2147483702" r:id="rId40"/>
    <p:sldLayoutId id="2147483703" r:id="rId4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65113" marR="0" indent="-265113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26" Type="http://schemas.openxmlformats.org/officeDocument/2006/relationships/tags" Target="../tags/tag75.xml"/><Relationship Id="rId39" Type="http://schemas.openxmlformats.org/officeDocument/2006/relationships/tags" Target="../tags/tag88.xml"/><Relationship Id="rId21" Type="http://schemas.openxmlformats.org/officeDocument/2006/relationships/tags" Target="../tags/tag70.xml"/><Relationship Id="rId34" Type="http://schemas.openxmlformats.org/officeDocument/2006/relationships/tags" Target="../tags/tag83.xml"/><Relationship Id="rId42" Type="http://schemas.openxmlformats.org/officeDocument/2006/relationships/tags" Target="../tags/tag91.xml"/><Relationship Id="rId47" Type="http://schemas.openxmlformats.org/officeDocument/2006/relationships/image" Target="../media/image2.emf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9" Type="http://schemas.openxmlformats.org/officeDocument/2006/relationships/tags" Target="../tags/tag78.xml"/><Relationship Id="rId11" Type="http://schemas.openxmlformats.org/officeDocument/2006/relationships/tags" Target="../tags/tag60.xml"/><Relationship Id="rId24" Type="http://schemas.openxmlformats.org/officeDocument/2006/relationships/tags" Target="../tags/tag73.xml"/><Relationship Id="rId32" Type="http://schemas.openxmlformats.org/officeDocument/2006/relationships/tags" Target="../tags/tag81.xml"/><Relationship Id="rId37" Type="http://schemas.openxmlformats.org/officeDocument/2006/relationships/tags" Target="../tags/tag86.xml"/><Relationship Id="rId40" Type="http://schemas.openxmlformats.org/officeDocument/2006/relationships/tags" Target="../tags/tag89.xml"/><Relationship Id="rId45" Type="http://schemas.openxmlformats.org/officeDocument/2006/relationships/slideLayout" Target="../slideLayouts/slideLayout6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23" Type="http://schemas.openxmlformats.org/officeDocument/2006/relationships/tags" Target="../tags/tag72.xml"/><Relationship Id="rId28" Type="http://schemas.openxmlformats.org/officeDocument/2006/relationships/tags" Target="../tags/tag77.xml"/><Relationship Id="rId36" Type="http://schemas.openxmlformats.org/officeDocument/2006/relationships/tags" Target="../tags/tag85.xml"/><Relationship Id="rId49" Type="http://schemas.openxmlformats.org/officeDocument/2006/relationships/image" Target="../media/image23.png"/><Relationship Id="rId10" Type="http://schemas.openxmlformats.org/officeDocument/2006/relationships/tags" Target="../tags/tag59.xml"/><Relationship Id="rId19" Type="http://schemas.openxmlformats.org/officeDocument/2006/relationships/tags" Target="../tags/tag68.xml"/><Relationship Id="rId31" Type="http://schemas.openxmlformats.org/officeDocument/2006/relationships/tags" Target="../tags/tag80.xml"/><Relationship Id="rId44" Type="http://schemas.openxmlformats.org/officeDocument/2006/relationships/tags" Target="../tags/tag93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Relationship Id="rId22" Type="http://schemas.openxmlformats.org/officeDocument/2006/relationships/tags" Target="../tags/tag71.xml"/><Relationship Id="rId27" Type="http://schemas.openxmlformats.org/officeDocument/2006/relationships/tags" Target="../tags/tag76.xml"/><Relationship Id="rId30" Type="http://schemas.openxmlformats.org/officeDocument/2006/relationships/tags" Target="../tags/tag79.xml"/><Relationship Id="rId35" Type="http://schemas.openxmlformats.org/officeDocument/2006/relationships/tags" Target="../tags/tag84.xml"/><Relationship Id="rId43" Type="http://schemas.openxmlformats.org/officeDocument/2006/relationships/tags" Target="../tags/tag92.xml"/><Relationship Id="rId48" Type="http://schemas.openxmlformats.org/officeDocument/2006/relationships/image" Target="../media/image22.jpeg"/><Relationship Id="rId8" Type="http://schemas.openxmlformats.org/officeDocument/2006/relationships/tags" Target="../tags/tag57.xml"/><Relationship Id="rId3" Type="http://schemas.openxmlformats.org/officeDocument/2006/relationships/tags" Target="../tags/tag52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5" Type="http://schemas.openxmlformats.org/officeDocument/2006/relationships/tags" Target="../tags/tag74.xml"/><Relationship Id="rId33" Type="http://schemas.openxmlformats.org/officeDocument/2006/relationships/tags" Target="../tags/tag82.xml"/><Relationship Id="rId38" Type="http://schemas.openxmlformats.org/officeDocument/2006/relationships/tags" Target="../tags/tag87.xml"/><Relationship Id="rId46" Type="http://schemas.openxmlformats.org/officeDocument/2006/relationships/oleObject" Target="../embeddings/oleObject5.bin"/><Relationship Id="rId20" Type="http://schemas.openxmlformats.org/officeDocument/2006/relationships/tags" Target="../tags/tag69.xml"/><Relationship Id="rId41" Type="http://schemas.openxmlformats.org/officeDocument/2006/relationships/tags" Target="../tags/tag90.xml"/><Relationship Id="rId1" Type="http://schemas.openxmlformats.org/officeDocument/2006/relationships/vmlDrawing" Target="../drawings/vmlDrawing5.vml"/><Relationship Id="rId6" Type="http://schemas.openxmlformats.org/officeDocument/2006/relationships/tags" Target="../tags/tag5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26" Type="http://schemas.openxmlformats.org/officeDocument/2006/relationships/tags" Target="../tags/tag119.xml"/><Relationship Id="rId3" Type="http://schemas.openxmlformats.org/officeDocument/2006/relationships/tags" Target="../tags/tag96.xml"/><Relationship Id="rId21" Type="http://schemas.openxmlformats.org/officeDocument/2006/relationships/tags" Target="../tags/tag114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2" Type="http://schemas.openxmlformats.org/officeDocument/2006/relationships/tags" Target="../tags/tag95.xml"/><Relationship Id="rId16" Type="http://schemas.openxmlformats.org/officeDocument/2006/relationships/tags" Target="../tags/tag109.xml"/><Relationship Id="rId20" Type="http://schemas.openxmlformats.org/officeDocument/2006/relationships/tags" Target="../tags/tag113.xml"/><Relationship Id="rId29" Type="http://schemas.openxmlformats.org/officeDocument/2006/relationships/slideLayout" Target="../slideLayouts/slideLayout6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24" Type="http://schemas.openxmlformats.org/officeDocument/2006/relationships/tags" Target="../tags/tag117.xml"/><Relationship Id="rId5" Type="http://schemas.openxmlformats.org/officeDocument/2006/relationships/tags" Target="../tags/tag98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10" Type="http://schemas.openxmlformats.org/officeDocument/2006/relationships/tags" Target="../tags/tag103.xml"/><Relationship Id="rId19" Type="http://schemas.openxmlformats.org/officeDocument/2006/relationships/tags" Target="../tags/tag112.xml"/><Relationship Id="rId31" Type="http://schemas.openxmlformats.org/officeDocument/2006/relationships/image" Target="../media/image25.jpeg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image" Target="../media/image2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Relationship Id="rId5" Type="http://schemas.openxmlformats.org/officeDocument/2006/relationships/chart" Target="../charts/chart1.xml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image" Target="../media/image3.png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image" Target="../media/image2.emf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tags" Target="../tags/tag11.xml"/><Relationship Id="rId11" Type="http://schemas.openxmlformats.org/officeDocument/2006/relationships/oleObject" Target="../embeddings/oleObject1.bin"/><Relationship Id="rId5" Type="http://schemas.openxmlformats.org/officeDocument/2006/relationships/tags" Target="../tags/tag10.xml"/><Relationship Id="rId15" Type="http://schemas.openxmlformats.org/officeDocument/2006/relationships/image" Target="../media/image4.jpeg"/><Relationship Id="rId10" Type="http://schemas.openxmlformats.org/officeDocument/2006/relationships/slideLayout" Target="../slideLayouts/slideLayout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image" Target="../media/image5.jpeg"/><Relationship Id="rId3" Type="http://schemas.openxmlformats.org/officeDocument/2006/relationships/tags" Target="../tags/tag16.xml"/><Relationship Id="rId21" Type="http://schemas.openxmlformats.org/officeDocument/2006/relationships/image" Target="../media/image8.jpeg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image" Target="../media/image2.emf"/><Relationship Id="rId2" Type="http://schemas.openxmlformats.org/officeDocument/2006/relationships/tags" Target="../tags/tag15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7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slideLayout" Target="../slideLayouts/slideLayout15.xml"/><Relationship Id="rId10" Type="http://schemas.openxmlformats.org/officeDocument/2006/relationships/tags" Target="../tags/tag23.xml"/><Relationship Id="rId19" Type="http://schemas.openxmlformats.org/officeDocument/2006/relationships/image" Target="../media/image6.jpeg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6" Type="http://schemas.openxmlformats.org/officeDocument/2006/relationships/image" Target="../media/image13.jpg"/><Relationship Id="rId5" Type="http://schemas.openxmlformats.org/officeDocument/2006/relationships/image" Target="../media/image12.jpg"/><Relationship Id="rId4" Type="http://schemas.openxmlformats.org/officeDocument/2006/relationships/image" Target="../media/image11.jpeg"/><Relationship Id="rId9" Type="http://schemas.openxmlformats.org/officeDocument/2006/relationships/hyperlink" Target="http://www.bitum.gazprom-neft.ru/technology/control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31.xml"/><Relationship Id="rId7" Type="http://schemas.openxmlformats.org/officeDocument/2006/relationships/image" Target="../media/image11.jpeg"/><Relationship Id="rId12" Type="http://schemas.openxmlformats.org/officeDocument/2006/relationships/hyperlink" Target="http://www.bitum.gazprom-neft.ru/technology/control/" TargetMode="Externa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6" Type="http://schemas.openxmlformats.org/officeDocument/2006/relationships/image" Target="../media/image16.png"/><Relationship Id="rId11" Type="http://schemas.openxmlformats.org/officeDocument/2006/relationships/image" Target="../media/image15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3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image" Target="../media/image18.png"/><Relationship Id="rId2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tags" Target="../tags/tag36.xml"/><Relationship Id="rId11" Type="http://schemas.openxmlformats.org/officeDocument/2006/relationships/image" Target="../media/image17.jpeg"/><Relationship Id="rId5" Type="http://schemas.openxmlformats.org/officeDocument/2006/relationships/tags" Target="../tags/tag35.xml"/><Relationship Id="rId10" Type="http://schemas.openxmlformats.org/officeDocument/2006/relationships/image" Target="../media/image2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image" Target="../media/image2.emf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12" Type="http://schemas.openxmlformats.org/officeDocument/2006/relationships/oleObject" Target="../embeddings/oleObject4.bin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11" Type="http://schemas.openxmlformats.org/officeDocument/2006/relationships/notesSlide" Target="../notesSlides/notesSlide4.xml"/><Relationship Id="rId5" Type="http://schemas.openxmlformats.org/officeDocument/2006/relationships/tags" Target="../tags/tag41.xml"/><Relationship Id="rId15" Type="http://schemas.openxmlformats.org/officeDocument/2006/relationships/image" Target="../media/image20.jpg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21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50.xml"/><Relationship Id="rId4" Type="http://schemas.openxmlformats.org/officeDocument/2006/relationships/tags" Target="../tags/tag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Headline"/>
          <p:cNvSpPr>
            <a:spLocks noGrp="1"/>
          </p:cNvSpPr>
          <p:nvPr>
            <p:ph type="ctrTitle"/>
            <p:custDataLst>
              <p:tags r:id="rId1"/>
            </p:custDataLst>
          </p:nvPr>
        </p:nvSpPr>
        <p:spPr>
          <a:xfrm>
            <a:off x="4572000" y="3608388"/>
            <a:ext cx="4284663" cy="2160587"/>
          </a:xfrm>
        </p:spPr>
        <p:txBody>
          <a:bodyPr/>
          <a:lstStyle/>
          <a:p>
            <a:r>
              <a:rPr lang="ru-RU" sz="2400" dirty="0" smtClean="0">
                <a:solidFill>
                  <a:schemeClr val="tx2"/>
                </a:solidFill>
              </a:rPr>
              <a:t/>
            </a:r>
            <a:br>
              <a:rPr lang="ru-RU" sz="2400" dirty="0" smtClean="0">
                <a:solidFill>
                  <a:schemeClr val="tx2"/>
                </a:solidFill>
              </a:rPr>
            </a:br>
            <a:r>
              <a:rPr lang="ru-RU" sz="2800" dirty="0" smtClean="0">
                <a:solidFill>
                  <a:schemeClr val="tx2"/>
                </a:solidFill>
              </a:rPr>
              <a:t>«</a:t>
            </a:r>
            <a:r>
              <a:rPr lang="ru-RU" sz="2800" dirty="0">
                <a:solidFill>
                  <a:schemeClr val="tx2"/>
                </a:solidFill>
              </a:rPr>
              <a:t>Газпром </a:t>
            </a:r>
            <a:r>
              <a:rPr lang="ru-RU" sz="2800" dirty="0" smtClean="0">
                <a:solidFill>
                  <a:schemeClr val="tx2"/>
                </a:solidFill>
              </a:rPr>
              <a:t>нефть»</a:t>
            </a:r>
            <a:r>
              <a:rPr lang="ru-RU" sz="2300" dirty="0" smtClean="0">
                <a:solidFill>
                  <a:schemeClr val="tx2"/>
                </a:solidFill>
              </a:rPr>
              <a:t>:</a:t>
            </a:r>
            <a:br>
              <a:rPr lang="ru-RU" sz="2300" dirty="0" smtClean="0">
                <a:solidFill>
                  <a:schemeClr val="tx2"/>
                </a:solidFill>
              </a:rPr>
            </a:br>
            <a:r>
              <a:rPr lang="ru-RU" sz="2300" dirty="0" smtClean="0">
                <a:solidFill>
                  <a:schemeClr val="tx2"/>
                </a:solidFill>
              </a:rPr>
              <a:t>опыт производства                       и применения инновационных битумных материалов</a:t>
            </a:r>
            <a:endParaRPr lang="ru-RU" sz="2300" dirty="0">
              <a:solidFill>
                <a:schemeClr val="tx2"/>
              </a:solidFill>
            </a:endParaRPr>
          </a:p>
        </p:txBody>
      </p:sp>
      <p:sp>
        <p:nvSpPr>
          <p:cNvPr id="4" name="Enterprise"/>
          <p:cNvSpPr>
            <a:spLocks noGrp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287338" y="5445124"/>
            <a:ext cx="4140646" cy="216000"/>
          </a:xfrm>
        </p:spPr>
        <p:txBody>
          <a:bodyPr/>
          <a:lstStyle/>
          <a:p>
            <a:r>
              <a:rPr lang="ru-RU" dirty="0" smtClean="0"/>
              <a:t>ООО «</a:t>
            </a:r>
            <a:r>
              <a:rPr lang="ru-RU" dirty="0" err="1" smtClean="0"/>
              <a:t>Газпромнефть</a:t>
            </a:r>
            <a:r>
              <a:rPr lang="ru-RU" dirty="0" smtClean="0"/>
              <a:t>-Битумные материалы»</a:t>
            </a:r>
            <a:endParaRPr lang="ru-RU" dirty="0"/>
          </a:p>
        </p:txBody>
      </p:sp>
      <p:sp>
        <p:nvSpPr>
          <p:cNvPr id="8" name="Unit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87338" y="5673039"/>
            <a:ext cx="4140000" cy="215444"/>
          </a:xfrm>
        </p:spPr>
        <p:txBody>
          <a:bodyPr/>
          <a:lstStyle/>
          <a:p>
            <a:r>
              <a:rPr lang="ru-RU" dirty="0"/>
              <a:t>Дмитрий Викторович </a:t>
            </a:r>
            <a:r>
              <a:rPr lang="ru-RU" dirty="0" smtClean="0"/>
              <a:t>Орлов</a:t>
            </a:r>
            <a:endParaRPr lang="ru-RU" dirty="0"/>
          </a:p>
        </p:txBody>
      </p:sp>
      <p:sp>
        <p:nvSpPr>
          <p:cNvPr id="9" name="Author"/>
          <p:cNvSpPr>
            <a:spLocks noGrp="1"/>
          </p:cNvSpPr>
          <p:nvPr>
            <p:ph type="body" sz="quarter" idx="11"/>
            <p:custDataLst>
              <p:tags r:id="rId4"/>
            </p:custDataLst>
          </p:nvPr>
        </p:nvSpPr>
        <p:spPr>
          <a:xfrm>
            <a:off x="287338" y="5900398"/>
            <a:ext cx="4140000" cy="215444"/>
          </a:xfrm>
        </p:spPr>
        <p:txBody>
          <a:bodyPr/>
          <a:lstStyle/>
          <a:p>
            <a:r>
              <a:rPr lang="ru-RU" sz="1300" i="1" dirty="0" smtClean="0"/>
              <a:t>Форум «Инновации в дорожном строительстве»</a:t>
            </a:r>
            <a:endParaRPr lang="ru-RU" sz="1300" i="1" dirty="0"/>
          </a:p>
        </p:txBody>
      </p:sp>
      <p:sp>
        <p:nvSpPr>
          <p:cNvPr id="11" name="Date"/>
          <p:cNvSpPr>
            <a:spLocks noGrp="1"/>
          </p:cNvSpPr>
          <p:nvPr>
            <p:ph type="body" sz="quarter" idx="12"/>
            <p:custDataLst>
              <p:tags r:id="rId5"/>
            </p:custDataLst>
          </p:nvPr>
        </p:nvSpPr>
        <p:spPr>
          <a:xfrm>
            <a:off x="287338" y="6127756"/>
            <a:ext cx="4140000" cy="215444"/>
          </a:xfrm>
        </p:spPr>
        <p:txBody>
          <a:bodyPr/>
          <a:lstStyle/>
          <a:p>
            <a:r>
              <a:rPr lang="ru-RU" sz="1300" i="1" dirty="0" smtClean="0"/>
              <a:t>Сочи, май 2016</a:t>
            </a:r>
            <a:endParaRPr lang="ru-RU" sz="1300" i="1" dirty="0"/>
          </a:p>
        </p:txBody>
      </p:sp>
    </p:spTree>
    <p:extLst>
      <p:ext uri="{BB962C8B-B14F-4D97-AF65-F5344CB8AC3E}">
        <p14:creationId xmlns:p14="http://schemas.microsoft.com/office/powerpoint/2010/main" val="1483338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Объект 6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87785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6" name="think-cell Slide" r:id="rId46" imgW="270" imgH="270" progId="TCLayout.ActiveDocument.1">
                  <p:embed/>
                </p:oleObj>
              </mc:Choice>
              <mc:Fallback>
                <p:oleObj name="think-cell Slide" r:id="rId4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 smtClean="0"/>
              <a:t>НИР: от </a:t>
            </a:r>
            <a:r>
              <a:rPr lang="ru-RU" dirty="0"/>
              <a:t>разработки </a:t>
            </a:r>
            <a:r>
              <a:rPr lang="ru-RU" dirty="0" smtClean="0"/>
              <a:t>инноваций </a:t>
            </a:r>
            <a:r>
              <a:rPr lang="ru-RU" dirty="0"/>
              <a:t>– до технологической эффективности </a:t>
            </a:r>
            <a:r>
              <a:rPr lang="ru-RU" dirty="0" smtClean="0"/>
              <a:t>вяжущих в </a:t>
            </a:r>
            <a:r>
              <a:rPr lang="ru-RU" dirty="0"/>
              <a:t>составе асфальтобетона</a:t>
            </a:r>
          </a:p>
        </p:txBody>
      </p:sp>
      <p:sp>
        <p:nvSpPr>
          <p:cNvPr id="6" name="proiz_bitum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1045243" y="2730094"/>
            <a:ext cx="480060" cy="420053"/>
          </a:xfrm>
          <a:custGeom>
            <a:avLst/>
            <a:gdLst>
              <a:gd name="T0" fmla="*/ 4423 w 16128"/>
              <a:gd name="T1" fmla="*/ 396 h 14112"/>
              <a:gd name="T2" fmla="*/ 4405 w 16128"/>
              <a:gd name="T3" fmla="*/ 293 h 14112"/>
              <a:gd name="T4" fmla="*/ 4364 w 16128"/>
              <a:gd name="T5" fmla="*/ 201 h 14112"/>
              <a:gd name="T6" fmla="*/ 4301 w 16128"/>
              <a:gd name="T7" fmla="*/ 122 h 14112"/>
              <a:gd name="T8" fmla="*/ 4223 w 16128"/>
              <a:gd name="T9" fmla="*/ 61 h 14112"/>
              <a:gd name="T10" fmla="*/ 4131 w 16128"/>
              <a:gd name="T11" fmla="*/ 19 h 14112"/>
              <a:gd name="T12" fmla="*/ 4029 w 16128"/>
              <a:gd name="T13" fmla="*/ 1 h 14112"/>
              <a:gd name="T14" fmla="*/ 1850 w 16128"/>
              <a:gd name="T15" fmla="*/ 5 h 14112"/>
              <a:gd name="T16" fmla="*/ 1751 w 16128"/>
              <a:gd name="T17" fmla="*/ 32 h 14112"/>
              <a:gd name="T18" fmla="*/ 1664 w 16128"/>
              <a:gd name="T19" fmla="*/ 83 h 14112"/>
              <a:gd name="T20" fmla="*/ 1593 w 16128"/>
              <a:gd name="T21" fmla="*/ 151 h 14112"/>
              <a:gd name="T22" fmla="*/ 1538 w 16128"/>
              <a:gd name="T23" fmla="*/ 236 h 14112"/>
              <a:gd name="T24" fmla="*/ 1506 w 16128"/>
              <a:gd name="T25" fmla="*/ 333 h 14112"/>
              <a:gd name="T26" fmla="*/ 1497 w 16128"/>
              <a:gd name="T27" fmla="*/ 7017 h 14112"/>
              <a:gd name="T28" fmla="*/ 353 w 16128"/>
              <a:gd name="T29" fmla="*/ 12399 h 14112"/>
              <a:gd name="T30" fmla="*/ 254 w 16128"/>
              <a:gd name="T31" fmla="*/ 12428 h 14112"/>
              <a:gd name="T32" fmla="*/ 167 w 16128"/>
              <a:gd name="T33" fmla="*/ 12477 h 14112"/>
              <a:gd name="T34" fmla="*/ 95 w 16128"/>
              <a:gd name="T35" fmla="*/ 12547 h 14112"/>
              <a:gd name="T36" fmla="*/ 41 w 16128"/>
              <a:gd name="T37" fmla="*/ 12631 h 14112"/>
              <a:gd name="T38" fmla="*/ 8 w 16128"/>
              <a:gd name="T39" fmla="*/ 12728 h 14112"/>
              <a:gd name="T40" fmla="*/ 0 w 16128"/>
              <a:gd name="T41" fmla="*/ 13695 h 14112"/>
              <a:gd name="T42" fmla="*/ 13 w 16128"/>
              <a:gd name="T43" fmla="*/ 13799 h 14112"/>
              <a:gd name="T44" fmla="*/ 50 w 16128"/>
              <a:gd name="T45" fmla="*/ 13894 h 14112"/>
              <a:gd name="T46" fmla="*/ 108 w 16128"/>
              <a:gd name="T47" fmla="*/ 13976 h 14112"/>
              <a:gd name="T48" fmla="*/ 183 w 16128"/>
              <a:gd name="T49" fmla="*/ 14040 h 14112"/>
              <a:gd name="T50" fmla="*/ 273 w 16128"/>
              <a:gd name="T51" fmla="*/ 14087 h 14112"/>
              <a:gd name="T52" fmla="*/ 374 w 16128"/>
              <a:gd name="T53" fmla="*/ 14110 h 14112"/>
              <a:gd name="T54" fmla="*/ 15754 w 16128"/>
              <a:gd name="T55" fmla="*/ 14110 h 14112"/>
              <a:gd name="T56" fmla="*/ 15855 w 16128"/>
              <a:gd name="T57" fmla="*/ 14087 h 14112"/>
              <a:gd name="T58" fmla="*/ 15945 w 16128"/>
              <a:gd name="T59" fmla="*/ 14040 h 14112"/>
              <a:gd name="T60" fmla="*/ 16020 w 16128"/>
              <a:gd name="T61" fmla="*/ 13976 h 14112"/>
              <a:gd name="T62" fmla="*/ 16078 w 16128"/>
              <a:gd name="T63" fmla="*/ 13894 h 14112"/>
              <a:gd name="T64" fmla="*/ 16115 w 16128"/>
              <a:gd name="T65" fmla="*/ 13799 h 14112"/>
              <a:gd name="T66" fmla="*/ 16128 w 16128"/>
              <a:gd name="T67" fmla="*/ 13695 h 14112"/>
              <a:gd name="T68" fmla="*/ 16120 w 16128"/>
              <a:gd name="T69" fmla="*/ 12728 h 14112"/>
              <a:gd name="T70" fmla="*/ 16087 w 16128"/>
              <a:gd name="T71" fmla="*/ 12631 h 14112"/>
              <a:gd name="T72" fmla="*/ 16033 w 16128"/>
              <a:gd name="T73" fmla="*/ 12547 h 14112"/>
              <a:gd name="T74" fmla="*/ 15961 w 16128"/>
              <a:gd name="T75" fmla="*/ 12477 h 14112"/>
              <a:gd name="T76" fmla="*/ 15874 w 16128"/>
              <a:gd name="T77" fmla="*/ 12428 h 14112"/>
              <a:gd name="T78" fmla="*/ 15775 w 16128"/>
              <a:gd name="T79" fmla="*/ 12399 h 14112"/>
              <a:gd name="T80" fmla="*/ 14652 w 16128"/>
              <a:gd name="T81" fmla="*/ 9064 h 14112"/>
              <a:gd name="T82" fmla="*/ 9536 w 16128"/>
              <a:gd name="T83" fmla="*/ 9064 h 14112"/>
              <a:gd name="T84" fmla="*/ 9530 w 16128"/>
              <a:gd name="T85" fmla="*/ 375 h 14112"/>
              <a:gd name="T86" fmla="*/ 9506 w 16128"/>
              <a:gd name="T87" fmla="*/ 274 h 14112"/>
              <a:gd name="T88" fmla="*/ 9460 w 16128"/>
              <a:gd name="T89" fmla="*/ 184 h 14112"/>
              <a:gd name="T90" fmla="*/ 9396 w 16128"/>
              <a:gd name="T91" fmla="*/ 108 h 14112"/>
              <a:gd name="T92" fmla="*/ 9314 w 16128"/>
              <a:gd name="T93" fmla="*/ 50 h 14112"/>
              <a:gd name="T94" fmla="*/ 9219 w 16128"/>
              <a:gd name="T95" fmla="*/ 13 h 14112"/>
              <a:gd name="T96" fmla="*/ 9115 w 16128"/>
              <a:gd name="T97" fmla="*/ 0 h 14112"/>
              <a:gd name="T98" fmla="*/ 6938 w 16128"/>
              <a:gd name="T99" fmla="*/ 8 h 14112"/>
              <a:gd name="T100" fmla="*/ 6841 w 16128"/>
              <a:gd name="T101" fmla="*/ 41 h 14112"/>
              <a:gd name="T102" fmla="*/ 6757 w 16128"/>
              <a:gd name="T103" fmla="*/ 95 h 14112"/>
              <a:gd name="T104" fmla="*/ 6688 w 16128"/>
              <a:gd name="T105" fmla="*/ 168 h 14112"/>
              <a:gd name="T106" fmla="*/ 6638 w 16128"/>
              <a:gd name="T107" fmla="*/ 254 h 14112"/>
              <a:gd name="T108" fmla="*/ 6609 w 16128"/>
              <a:gd name="T109" fmla="*/ 353 h 14112"/>
              <a:gd name="T110" fmla="*/ 6600 w 16128"/>
              <a:gd name="T111" fmla="*/ 7017 h 14112"/>
              <a:gd name="T112" fmla="*/ 7544 w 16128"/>
              <a:gd name="T113" fmla="*/ 5400 h 14112"/>
              <a:gd name="T114" fmla="*/ 9451 w 16128"/>
              <a:gd name="T115" fmla="*/ 12619 h 14112"/>
              <a:gd name="T116" fmla="*/ 10432 w 16128"/>
              <a:gd name="T117" fmla="*/ 12619 h 14112"/>
              <a:gd name="T118" fmla="*/ 11413 w 16128"/>
              <a:gd name="T119" fmla="*/ 12619 h 14112"/>
              <a:gd name="T120" fmla="*/ 12393 w 16128"/>
              <a:gd name="T121" fmla="*/ 12619 h 14112"/>
              <a:gd name="T122" fmla="*/ 13374 w 16128"/>
              <a:gd name="T123" fmla="*/ 12619 h 14112"/>
              <a:gd name="T124" fmla="*/ 2442 w 16128"/>
              <a:gd name="T125" fmla="*/ 5400 h 14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28" h="14112">
                <a:moveTo>
                  <a:pt x="4432" y="12394"/>
                </a:moveTo>
                <a:lnTo>
                  <a:pt x="4432" y="7017"/>
                </a:lnTo>
                <a:lnTo>
                  <a:pt x="4423" y="6931"/>
                </a:lnTo>
                <a:lnTo>
                  <a:pt x="4423" y="417"/>
                </a:lnTo>
                <a:lnTo>
                  <a:pt x="4423" y="396"/>
                </a:lnTo>
                <a:lnTo>
                  <a:pt x="4421" y="375"/>
                </a:lnTo>
                <a:lnTo>
                  <a:pt x="4419" y="353"/>
                </a:lnTo>
                <a:lnTo>
                  <a:pt x="4415" y="333"/>
                </a:lnTo>
                <a:lnTo>
                  <a:pt x="4410" y="313"/>
                </a:lnTo>
                <a:lnTo>
                  <a:pt x="4405" y="293"/>
                </a:lnTo>
                <a:lnTo>
                  <a:pt x="4398" y="274"/>
                </a:lnTo>
                <a:lnTo>
                  <a:pt x="4391" y="254"/>
                </a:lnTo>
                <a:lnTo>
                  <a:pt x="4383" y="236"/>
                </a:lnTo>
                <a:lnTo>
                  <a:pt x="4374" y="218"/>
                </a:lnTo>
                <a:lnTo>
                  <a:pt x="4364" y="201"/>
                </a:lnTo>
                <a:lnTo>
                  <a:pt x="4353" y="184"/>
                </a:lnTo>
                <a:lnTo>
                  <a:pt x="4340" y="168"/>
                </a:lnTo>
                <a:lnTo>
                  <a:pt x="4328" y="151"/>
                </a:lnTo>
                <a:lnTo>
                  <a:pt x="4315" y="136"/>
                </a:lnTo>
                <a:lnTo>
                  <a:pt x="4301" y="122"/>
                </a:lnTo>
                <a:lnTo>
                  <a:pt x="4287" y="108"/>
                </a:lnTo>
                <a:lnTo>
                  <a:pt x="4272" y="95"/>
                </a:lnTo>
                <a:lnTo>
                  <a:pt x="4256" y="83"/>
                </a:lnTo>
                <a:lnTo>
                  <a:pt x="4240" y="72"/>
                </a:lnTo>
                <a:lnTo>
                  <a:pt x="4223" y="61"/>
                </a:lnTo>
                <a:lnTo>
                  <a:pt x="4205" y="50"/>
                </a:lnTo>
                <a:lnTo>
                  <a:pt x="4187" y="41"/>
                </a:lnTo>
                <a:lnTo>
                  <a:pt x="4169" y="32"/>
                </a:lnTo>
                <a:lnTo>
                  <a:pt x="4150" y="25"/>
                </a:lnTo>
                <a:lnTo>
                  <a:pt x="4131" y="19"/>
                </a:lnTo>
                <a:lnTo>
                  <a:pt x="4111" y="13"/>
                </a:lnTo>
                <a:lnTo>
                  <a:pt x="4090" y="8"/>
                </a:lnTo>
                <a:lnTo>
                  <a:pt x="4070" y="5"/>
                </a:lnTo>
                <a:lnTo>
                  <a:pt x="4050" y="2"/>
                </a:lnTo>
                <a:lnTo>
                  <a:pt x="4029" y="1"/>
                </a:lnTo>
                <a:lnTo>
                  <a:pt x="4007" y="0"/>
                </a:lnTo>
                <a:lnTo>
                  <a:pt x="1913" y="0"/>
                </a:lnTo>
                <a:lnTo>
                  <a:pt x="1892" y="1"/>
                </a:lnTo>
                <a:lnTo>
                  <a:pt x="1871" y="2"/>
                </a:lnTo>
                <a:lnTo>
                  <a:pt x="1850" y="5"/>
                </a:lnTo>
                <a:lnTo>
                  <a:pt x="1830" y="8"/>
                </a:lnTo>
                <a:lnTo>
                  <a:pt x="1809" y="13"/>
                </a:lnTo>
                <a:lnTo>
                  <a:pt x="1789" y="19"/>
                </a:lnTo>
                <a:lnTo>
                  <a:pt x="1770" y="25"/>
                </a:lnTo>
                <a:lnTo>
                  <a:pt x="1751" y="32"/>
                </a:lnTo>
                <a:lnTo>
                  <a:pt x="1733" y="41"/>
                </a:lnTo>
                <a:lnTo>
                  <a:pt x="1715" y="50"/>
                </a:lnTo>
                <a:lnTo>
                  <a:pt x="1697" y="61"/>
                </a:lnTo>
                <a:lnTo>
                  <a:pt x="1680" y="72"/>
                </a:lnTo>
                <a:lnTo>
                  <a:pt x="1664" y="83"/>
                </a:lnTo>
                <a:lnTo>
                  <a:pt x="1649" y="95"/>
                </a:lnTo>
                <a:lnTo>
                  <a:pt x="1634" y="108"/>
                </a:lnTo>
                <a:lnTo>
                  <a:pt x="1619" y="122"/>
                </a:lnTo>
                <a:lnTo>
                  <a:pt x="1605" y="136"/>
                </a:lnTo>
                <a:lnTo>
                  <a:pt x="1593" y="151"/>
                </a:lnTo>
                <a:lnTo>
                  <a:pt x="1580" y="168"/>
                </a:lnTo>
                <a:lnTo>
                  <a:pt x="1568" y="184"/>
                </a:lnTo>
                <a:lnTo>
                  <a:pt x="1557" y="201"/>
                </a:lnTo>
                <a:lnTo>
                  <a:pt x="1547" y="218"/>
                </a:lnTo>
                <a:lnTo>
                  <a:pt x="1538" y="236"/>
                </a:lnTo>
                <a:lnTo>
                  <a:pt x="1530" y="254"/>
                </a:lnTo>
                <a:lnTo>
                  <a:pt x="1522" y="274"/>
                </a:lnTo>
                <a:lnTo>
                  <a:pt x="1516" y="293"/>
                </a:lnTo>
                <a:lnTo>
                  <a:pt x="1510" y="313"/>
                </a:lnTo>
                <a:lnTo>
                  <a:pt x="1506" y="333"/>
                </a:lnTo>
                <a:lnTo>
                  <a:pt x="1502" y="353"/>
                </a:lnTo>
                <a:lnTo>
                  <a:pt x="1499" y="375"/>
                </a:lnTo>
                <a:lnTo>
                  <a:pt x="1498" y="396"/>
                </a:lnTo>
                <a:lnTo>
                  <a:pt x="1497" y="417"/>
                </a:lnTo>
                <a:lnTo>
                  <a:pt x="1497" y="7017"/>
                </a:lnTo>
                <a:lnTo>
                  <a:pt x="1497" y="12394"/>
                </a:lnTo>
                <a:lnTo>
                  <a:pt x="416" y="12394"/>
                </a:lnTo>
                <a:lnTo>
                  <a:pt x="395" y="12395"/>
                </a:lnTo>
                <a:lnTo>
                  <a:pt x="374" y="12396"/>
                </a:lnTo>
                <a:lnTo>
                  <a:pt x="353" y="12399"/>
                </a:lnTo>
                <a:lnTo>
                  <a:pt x="333" y="12404"/>
                </a:lnTo>
                <a:lnTo>
                  <a:pt x="312" y="12408"/>
                </a:lnTo>
                <a:lnTo>
                  <a:pt x="292" y="12414"/>
                </a:lnTo>
                <a:lnTo>
                  <a:pt x="273" y="12420"/>
                </a:lnTo>
                <a:lnTo>
                  <a:pt x="254" y="12428"/>
                </a:lnTo>
                <a:lnTo>
                  <a:pt x="236" y="12436"/>
                </a:lnTo>
                <a:lnTo>
                  <a:pt x="218" y="12445"/>
                </a:lnTo>
                <a:lnTo>
                  <a:pt x="201" y="12455"/>
                </a:lnTo>
                <a:lnTo>
                  <a:pt x="183" y="12466"/>
                </a:lnTo>
                <a:lnTo>
                  <a:pt x="167" y="12477"/>
                </a:lnTo>
                <a:lnTo>
                  <a:pt x="151" y="12490"/>
                </a:lnTo>
                <a:lnTo>
                  <a:pt x="136" y="12503"/>
                </a:lnTo>
                <a:lnTo>
                  <a:pt x="122" y="12517"/>
                </a:lnTo>
                <a:lnTo>
                  <a:pt x="108" y="12532"/>
                </a:lnTo>
                <a:lnTo>
                  <a:pt x="95" y="12547"/>
                </a:lnTo>
                <a:lnTo>
                  <a:pt x="83" y="12562"/>
                </a:lnTo>
                <a:lnTo>
                  <a:pt x="72" y="12578"/>
                </a:lnTo>
                <a:lnTo>
                  <a:pt x="60" y="12595"/>
                </a:lnTo>
                <a:lnTo>
                  <a:pt x="50" y="12613"/>
                </a:lnTo>
                <a:lnTo>
                  <a:pt x="41" y="12631"/>
                </a:lnTo>
                <a:lnTo>
                  <a:pt x="32" y="12650"/>
                </a:lnTo>
                <a:lnTo>
                  <a:pt x="25" y="12668"/>
                </a:lnTo>
                <a:lnTo>
                  <a:pt x="19" y="12688"/>
                </a:lnTo>
                <a:lnTo>
                  <a:pt x="13" y="12707"/>
                </a:lnTo>
                <a:lnTo>
                  <a:pt x="8" y="12728"/>
                </a:lnTo>
                <a:lnTo>
                  <a:pt x="5" y="12748"/>
                </a:lnTo>
                <a:lnTo>
                  <a:pt x="2" y="12769"/>
                </a:lnTo>
                <a:lnTo>
                  <a:pt x="1" y="12790"/>
                </a:lnTo>
                <a:lnTo>
                  <a:pt x="0" y="12811"/>
                </a:lnTo>
                <a:lnTo>
                  <a:pt x="0" y="13695"/>
                </a:lnTo>
                <a:lnTo>
                  <a:pt x="1" y="13716"/>
                </a:lnTo>
                <a:lnTo>
                  <a:pt x="2" y="13737"/>
                </a:lnTo>
                <a:lnTo>
                  <a:pt x="5" y="13759"/>
                </a:lnTo>
                <a:lnTo>
                  <a:pt x="8" y="13779"/>
                </a:lnTo>
                <a:lnTo>
                  <a:pt x="13" y="13799"/>
                </a:lnTo>
                <a:lnTo>
                  <a:pt x="19" y="13819"/>
                </a:lnTo>
                <a:lnTo>
                  <a:pt x="25" y="13838"/>
                </a:lnTo>
                <a:lnTo>
                  <a:pt x="32" y="13858"/>
                </a:lnTo>
                <a:lnTo>
                  <a:pt x="41" y="13876"/>
                </a:lnTo>
                <a:lnTo>
                  <a:pt x="50" y="13894"/>
                </a:lnTo>
                <a:lnTo>
                  <a:pt x="60" y="13911"/>
                </a:lnTo>
                <a:lnTo>
                  <a:pt x="72" y="13928"/>
                </a:lnTo>
                <a:lnTo>
                  <a:pt x="83" y="13944"/>
                </a:lnTo>
                <a:lnTo>
                  <a:pt x="95" y="13961"/>
                </a:lnTo>
                <a:lnTo>
                  <a:pt x="108" y="13976"/>
                </a:lnTo>
                <a:lnTo>
                  <a:pt x="122" y="13990"/>
                </a:lnTo>
                <a:lnTo>
                  <a:pt x="136" y="14004"/>
                </a:lnTo>
                <a:lnTo>
                  <a:pt x="151" y="14017"/>
                </a:lnTo>
                <a:lnTo>
                  <a:pt x="167" y="14029"/>
                </a:lnTo>
                <a:lnTo>
                  <a:pt x="183" y="14040"/>
                </a:lnTo>
                <a:lnTo>
                  <a:pt x="201" y="14051"/>
                </a:lnTo>
                <a:lnTo>
                  <a:pt x="218" y="14062"/>
                </a:lnTo>
                <a:lnTo>
                  <a:pt x="236" y="14071"/>
                </a:lnTo>
                <a:lnTo>
                  <a:pt x="254" y="14080"/>
                </a:lnTo>
                <a:lnTo>
                  <a:pt x="273" y="14087"/>
                </a:lnTo>
                <a:lnTo>
                  <a:pt x="292" y="14093"/>
                </a:lnTo>
                <a:lnTo>
                  <a:pt x="312" y="14099"/>
                </a:lnTo>
                <a:lnTo>
                  <a:pt x="333" y="14104"/>
                </a:lnTo>
                <a:lnTo>
                  <a:pt x="353" y="14107"/>
                </a:lnTo>
                <a:lnTo>
                  <a:pt x="374" y="14110"/>
                </a:lnTo>
                <a:lnTo>
                  <a:pt x="395" y="14111"/>
                </a:lnTo>
                <a:lnTo>
                  <a:pt x="416" y="14112"/>
                </a:lnTo>
                <a:lnTo>
                  <a:pt x="15712" y="14112"/>
                </a:lnTo>
                <a:lnTo>
                  <a:pt x="15733" y="14111"/>
                </a:lnTo>
                <a:lnTo>
                  <a:pt x="15754" y="14110"/>
                </a:lnTo>
                <a:lnTo>
                  <a:pt x="15775" y="14107"/>
                </a:lnTo>
                <a:lnTo>
                  <a:pt x="15795" y="14104"/>
                </a:lnTo>
                <a:lnTo>
                  <a:pt x="15816" y="14099"/>
                </a:lnTo>
                <a:lnTo>
                  <a:pt x="15836" y="14093"/>
                </a:lnTo>
                <a:lnTo>
                  <a:pt x="15855" y="14087"/>
                </a:lnTo>
                <a:lnTo>
                  <a:pt x="15874" y="14080"/>
                </a:lnTo>
                <a:lnTo>
                  <a:pt x="15892" y="14071"/>
                </a:lnTo>
                <a:lnTo>
                  <a:pt x="15910" y="14062"/>
                </a:lnTo>
                <a:lnTo>
                  <a:pt x="15927" y="14051"/>
                </a:lnTo>
                <a:lnTo>
                  <a:pt x="15945" y="14040"/>
                </a:lnTo>
                <a:lnTo>
                  <a:pt x="15961" y="14029"/>
                </a:lnTo>
                <a:lnTo>
                  <a:pt x="15977" y="14017"/>
                </a:lnTo>
                <a:lnTo>
                  <a:pt x="15992" y="14004"/>
                </a:lnTo>
                <a:lnTo>
                  <a:pt x="16006" y="13990"/>
                </a:lnTo>
                <a:lnTo>
                  <a:pt x="16020" y="13976"/>
                </a:lnTo>
                <a:lnTo>
                  <a:pt x="16033" y="13961"/>
                </a:lnTo>
                <a:lnTo>
                  <a:pt x="16045" y="13944"/>
                </a:lnTo>
                <a:lnTo>
                  <a:pt x="16056" y="13928"/>
                </a:lnTo>
                <a:lnTo>
                  <a:pt x="16068" y="13911"/>
                </a:lnTo>
                <a:lnTo>
                  <a:pt x="16078" y="13894"/>
                </a:lnTo>
                <a:lnTo>
                  <a:pt x="16087" y="13876"/>
                </a:lnTo>
                <a:lnTo>
                  <a:pt x="16096" y="13858"/>
                </a:lnTo>
                <a:lnTo>
                  <a:pt x="16103" y="13838"/>
                </a:lnTo>
                <a:lnTo>
                  <a:pt x="16109" y="13819"/>
                </a:lnTo>
                <a:lnTo>
                  <a:pt x="16115" y="13799"/>
                </a:lnTo>
                <a:lnTo>
                  <a:pt x="16120" y="13779"/>
                </a:lnTo>
                <a:lnTo>
                  <a:pt x="16123" y="13759"/>
                </a:lnTo>
                <a:lnTo>
                  <a:pt x="16126" y="13737"/>
                </a:lnTo>
                <a:lnTo>
                  <a:pt x="16127" y="13716"/>
                </a:lnTo>
                <a:lnTo>
                  <a:pt x="16128" y="13695"/>
                </a:lnTo>
                <a:lnTo>
                  <a:pt x="16128" y="12811"/>
                </a:lnTo>
                <a:lnTo>
                  <a:pt x="16127" y="12790"/>
                </a:lnTo>
                <a:lnTo>
                  <a:pt x="16126" y="12769"/>
                </a:lnTo>
                <a:lnTo>
                  <a:pt x="16123" y="12748"/>
                </a:lnTo>
                <a:lnTo>
                  <a:pt x="16120" y="12728"/>
                </a:lnTo>
                <a:lnTo>
                  <a:pt x="16115" y="12707"/>
                </a:lnTo>
                <a:lnTo>
                  <a:pt x="16109" y="12688"/>
                </a:lnTo>
                <a:lnTo>
                  <a:pt x="16103" y="12668"/>
                </a:lnTo>
                <a:lnTo>
                  <a:pt x="16096" y="12650"/>
                </a:lnTo>
                <a:lnTo>
                  <a:pt x="16087" y="12631"/>
                </a:lnTo>
                <a:lnTo>
                  <a:pt x="16078" y="12613"/>
                </a:lnTo>
                <a:lnTo>
                  <a:pt x="16068" y="12595"/>
                </a:lnTo>
                <a:lnTo>
                  <a:pt x="16056" y="12578"/>
                </a:lnTo>
                <a:lnTo>
                  <a:pt x="16045" y="12562"/>
                </a:lnTo>
                <a:lnTo>
                  <a:pt x="16033" y="12547"/>
                </a:lnTo>
                <a:lnTo>
                  <a:pt x="16020" y="12532"/>
                </a:lnTo>
                <a:lnTo>
                  <a:pt x="16006" y="12517"/>
                </a:lnTo>
                <a:lnTo>
                  <a:pt x="15992" y="12503"/>
                </a:lnTo>
                <a:lnTo>
                  <a:pt x="15977" y="12490"/>
                </a:lnTo>
                <a:lnTo>
                  <a:pt x="15961" y="12477"/>
                </a:lnTo>
                <a:lnTo>
                  <a:pt x="15945" y="12466"/>
                </a:lnTo>
                <a:lnTo>
                  <a:pt x="15927" y="12455"/>
                </a:lnTo>
                <a:lnTo>
                  <a:pt x="15910" y="12445"/>
                </a:lnTo>
                <a:lnTo>
                  <a:pt x="15892" y="12436"/>
                </a:lnTo>
                <a:lnTo>
                  <a:pt x="15874" y="12428"/>
                </a:lnTo>
                <a:lnTo>
                  <a:pt x="15855" y="12420"/>
                </a:lnTo>
                <a:lnTo>
                  <a:pt x="15836" y="12414"/>
                </a:lnTo>
                <a:lnTo>
                  <a:pt x="15816" y="12408"/>
                </a:lnTo>
                <a:lnTo>
                  <a:pt x="15795" y="12404"/>
                </a:lnTo>
                <a:lnTo>
                  <a:pt x="15775" y="12399"/>
                </a:lnTo>
                <a:lnTo>
                  <a:pt x="15754" y="12396"/>
                </a:lnTo>
                <a:lnTo>
                  <a:pt x="15733" y="12395"/>
                </a:lnTo>
                <a:lnTo>
                  <a:pt x="15712" y="12394"/>
                </a:lnTo>
                <a:lnTo>
                  <a:pt x="14652" y="12394"/>
                </a:lnTo>
                <a:lnTo>
                  <a:pt x="14652" y="9064"/>
                </a:lnTo>
                <a:lnTo>
                  <a:pt x="13065" y="9064"/>
                </a:lnTo>
                <a:lnTo>
                  <a:pt x="13065" y="2972"/>
                </a:lnTo>
                <a:lnTo>
                  <a:pt x="11610" y="2972"/>
                </a:lnTo>
                <a:lnTo>
                  <a:pt x="11610" y="9064"/>
                </a:lnTo>
                <a:lnTo>
                  <a:pt x="9536" y="9064"/>
                </a:lnTo>
                <a:lnTo>
                  <a:pt x="9536" y="7017"/>
                </a:lnTo>
                <a:lnTo>
                  <a:pt x="9532" y="6955"/>
                </a:lnTo>
                <a:lnTo>
                  <a:pt x="9532" y="417"/>
                </a:lnTo>
                <a:lnTo>
                  <a:pt x="9531" y="396"/>
                </a:lnTo>
                <a:lnTo>
                  <a:pt x="9530" y="375"/>
                </a:lnTo>
                <a:lnTo>
                  <a:pt x="9527" y="353"/>
                </a:lnTo>
                <a:lnTo>
                  <a:pt x="9524" y="333"/>
                </a:lnTo>
                <a:lnTo>
                  <a:pt x="9519" y="313"/>
                </a:lnTo>
                <a:lnTo>
                  <a:pt x="9512" y="293"/>
                </a:lnTo>
                <a:lnTo>
                  <a:pt x="9506" y="274"/>
                </a:lnTo>
                <a:lnTo>
                  <a:pt x="9498" y="254"/>
                </a:lnTo>
                <a:lnTo>
                  <a:pt x="9490" y="236"/>
                </a:lnTo>
                <a:lnTo>
                  <a:pt x="9481" y="218"/>
                </a:lnTo>
                <a:lnTo>
                  <a:pt x="9471" y="201"/>
                </a:lnTo>
                <a:lnTo>
                  <a:pt x="9460" y="184"/>
                </a:lnTo>
                <a:lnTo>
                  <a:pt x="9449" y="168"/>
                </a:lnTo>
                <a:lnTo>
                  <a:pt x="9437" y="151"/>
                </a:lnTo>
                <a:lnTo>
                  <a:pt x="9424" y="136"/>
                </a:lnTo>
                <a:lnTo>
                  <a:pt x="9410" y="122"/>
                </a:lnTo>
                <a:lnTo>
                  <a:pt x="9396" y="108"/>
                </a:lnTo>
                <a:lnTo>
                  <a:pt x="9380" y="95"/>
                </a:lnTo>
                <a:lnTo>
                  <a:pt x="9364" y="83"/>
                </a:lnTo>
                <a:lnTo>
                  <a:pt x="9348" y="72"/>
                </a:lnTo>
                <a:lnTo>
                  <a:pt x="9331" y="61"/>
                </a:lnTo>
                <a:lnTo>
                  <a:pt x="9314" y="50"/>
                </a:lnTo>
                <a:lnTo>
                  <a:pt x="9296" y="41"/>
                </a:lnTo>
                <a:lnTo>
                  <a:pt x="9278" y="32"/>
                </a:lnTo>
                <a:lnTo>
                  <a:pt x="9258" y="25"/>
                </a:lnTo>
                <a:lnTo>
                  <a:pt x="9239" y="19"/>
                </a:lnTo>
                <a:lnTo>
                  <a:pt x="9219" y="13"/>
                </a:lnTo>
                <a:lnTo>
                  <a:pt x="9199" y="8"/>
                </a:lnTo>
                <a:lnTo>
                  <a:pt x="9179" y="5"/>
                </a:lnTo>
                <a:lnTo>
                  <a:pt x="9158" y="2"/>
                </a:lnTo>
                <a:lnTo>
                  <a:pt x="9137" y="1"/>
                </a:lnTo>
                <a:lnTo>
                  <a:pt x="9115" y="0"/>
                </a:lnTo>
                <a:lnTo>
                  <a:pt x="7022" y="0"/>
                </a:lnTo>
                <a:lnTo>
                  <a:pt x="7001" y="1"/>
                </a:lnTo>
                <a:lnTo>
                  <a:pt x="6979" y="2"/>
                </a:lnTo>
                <a:lnTo>
                  <a:pt x="6958" y="5"/>
                </a:lnTo>
                <a:lnTo>
                  <a:pt x="6938" y="8"/>
                </a:lnTo>
                <a:lnTo>
                  <a:pt x="6918" y="13"/>
                </a:lnTo>
                <a:lnTo>
                  <a:pt x="6898" y="19"/>
                </a:lnTo>
                <a:lnTo>
                  <a:pt x="6879" y="25"/>
                </a:lnTo>
                <a:lnTo>
                  <a:pt x="6859" y="32"/>
                </a:lnTo>
                <a:lnTo>
                  <a:pt x="6841" y="41"/>
                </a:lnTo>
                <a:lnTo>
                  <a:pt x="6823" y="50"/>
                </a:lnTo>
                <a:lnTo>
                  <a:pt x="6806" y="61"/>
                </a:lnTo>
                <a:lnTo>
                  <a:pt x="6789" y="72"/>
                </a:lnTo>
                <a:lnTo>
                  <a:pt x="6773" y="83"/>
                </a:lnTo>
                <a:lnTo>
                  <a:pt x="6757" y="95"/>
                </a:lnTo>
                <a:lnTo>
                  <a:pt x="6742" y="108"/>
                </a:lnTo>
                <a:lnTo>
                  <a:pt x="6727" y="122"/>
                </a:lnTo>
                <a:lnTo>
                  <a:pt x="6713" y="136"/>
                </a:lnTo>
                <a:lnTo>
                  <a:pt x="6700" y="151"/>
                </a:lnTo>
                <a:lnTo>
                  <a:pt x="6688" y="168"/>
                </a:lnTo>
                <a:lnTo>
                  <a:pt x="6676" y="184"/>
                </a:lnTo>
                <a:lnTo>
                  <a:pt x="6665" y="201"/>
                </a:lnTo>
                <a:lnTo>
                  <a:pt x="6656" y="218"/>
                </a:lnTo>
                <a:lnTo>
                  <a:pt x="6646" y="236"/>
                </a:lnTo>
                <a:lnTo>
                  <a:pt x="6638" y="254"/>
                </a:lnTo>
                <a:lnTo>
                  <a:pt x="6631" y="274"/>
                </a:lnTo>
                <a:lnTo>
                  <a:pt x="6624" y="293"/>
                </a:lnTo>
                <a:lnTo>
                  <a:pt x="6619" y="313"/>
                </a:lnTo>
                <a:lnTo>
                  <a:pt x="6613" y="333"/>
                </a:lnTo>
                <a:lnTo>
                  <a:pt x="6609" y="353"/>
                </a:lnTo>
                <a:lnTo>
                  <a:pt x="6607" y="375"/>
                </a:lnTo>
                <a:lnTo>
                  <a:pt x="6605" y="396"/>
                </a:lnTo>
                <a:lnTo>
                  <a:pt x="6605" y="417"/>
                </a:lnTo>
                <a:lnTo>
                  <a:pt x="6605" y="6957"/>
                </a:lnTo>
                <a:lnTo>
                  <a:pt x="6600" y="7017"/>
                </a:lnTo>
                <a:lnTo>
                  <a:pt x="6600" y="9064"/>
                </a:lnTo>
                <a:lnTo>
                  <a:pt x="5131" y="9064"/>
                </a:lnTo>
                <a:lnTo>
                  <a:pt x="5131" y="12394"/>
                </a:lnTo>
                <a:lnTo>
                  <a:pt x="4432" y="12394"/>
                </a:lnTo>
                <a:close/>
                <a:moveTo>
                  <a:pt x="7544" y="5400"/>
                </a:moveTo>
                <a:lnTo>
                  <a:pt x="7080" y="5400"/>
                </a:lnTo>
                <a:lnTo>
                  <a:pt x="7080" y="2000"/>
                </a:lnTo>
                <a:lnTo>
                  <a:pt x="7544" y="2000"/>
                </a:lnTo>
                <a:lnTo>
                  <a:pt x="7544" y="5400"/>
                </a:lnTo>
                <a:close/>
                <a:moveTo>
                  <a:pt x="9451" y="12619"/>
                </a:moveTo>
                <a:lnTo>
                  <a:pt x="9451" y="9881"/>
                </a:lnTo>
                <a:lnTo>
                  <a:pt x="9914" y="9881"/>
                </a:lnTo>
                <a:lnTo>
                  <a:pt x="9914" y="12619"/>
                </a:lnTo>
                <a:lnTo>
                  <a:pt x="9451" y="12619"/>
                </a:lnTo>
                <a:close/>
                <a:moveTo>
                  <a:pt x="10432" y="12619"/>
                </a:moveTo>
                <a:lnTo>
                  <a:pt x="10432" y="9881"/>
                </a:lnTo>
                <a:lnTo>
                  <a:pt x="10894" y="9881"/>
                </a:lnTo>
                <a:lnTo>
                  <a:pt x="10894" y="12619"/>
                </a:lnTo>
                <a:lnTo>
                  <a:pt x="10432" y="12619"/>
                </a:lnTo>
                <a:close/>
                <a:moveTo>
                  <a:pt x="11413" y="12619"/>
                </a:moveTo>
                <a:lnTo>
                  <a:pt x="11413" y="9881"/>
                </a:lnTo>
                <a:lnTo>
                  <a:pt x="11875" y="9881"/>
                </a:lnTo>
                <a:lnTo>
                  <a:pt x="11875" y="12619"/>
                </a:lnTo>
                <a:lnTo>
                  <a:pt x="11413" y="12619"/>
                </a:lnTo>
                <a:close/>
                <a:moveTo>
                  <a:pt x="12393" y="12619"/>
                </a:moveTo>
                <a:lnTo>
                  <a:pt x="12393" y="9881"/>
                </a:lnTo>
                <a:lnTo>
                  <a:pt x="12856" y="9881"/>
                </a:lnTo>
                <a:lnTo>
                  <a:pt x="12856" y="12619"/>
                </a:lnTo>
                <a:lnTo>
                  <a:pt x="12393" y="12619"/>
                </a:lnTo>
                <a:close/>
                <a:moveTo>
                  <a:pt x="13374" y="12619"/>
                </a:moveTo>
                <a:lnTo>
                  <a:pt x="13374" y="9881"/>
                </a:lnTo>
                <a:lnTo>
                  <a:pt x="13837" y="9881"/>
                </a:lnTo>
                <a:lnTo>
                  <a:pt x="13837" y="12619"/>
                </a:lnTo>
                <a:lnTo>
                  <a:pt x="13374" y="12619"/>
                </a:lnTo>
                <a:close/>
                <a:moveTo>
                  <a:pt x="2442" y="5400"/>
                </a:moveTo>
                <a:lnTo>
                  <a:pt x="1980" y="5400"/>
                </a:lnTo>
                <a:lnTo>
                  <a:pt x="1980" y="2000"/>
                </a:lnTo>
                <a:lnTo>
                  <a:pt x="2442" y="2000"/>
                </a:lnTo>
                <a:lnTo>
                  <a:pt x="2442" y="540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Picture120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88974" y="2728947"/>
            <a:ext cx="452007" cy="421200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proiz_pvb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1837331" y="3256807"/>
            <a:ext cx="551498" cy="408623"/>
          </a:xfrm>
          <a:custGeom>
            <a:avLst/>
            <a:gdLst>
              <a:gd name="T0" fmla="*/ 7387 w 16212"/>
              <a:gd name="T1" fmla="*/ 11610 h 12012"/>
              <a:gd name="T2" fmla="*/ 7660 w 16212"/>
              <a:gd name="T3" fmla="*/ 11137 h 12012"/>
              <a:gd name="T4" fmla="*/ 7836 w 16212"/>
              <a:gd name="T5" fmla="*/ 10533 h 12012"/>
              <a:gd name="T6" fmla="*/ 7836 w 16212"/>
              <a:gd name="T7" fmla="*/ 9522 h 12012"/>
              <a:gd name="T8" fmla="*/ 7676 w 16212"/>
              <a:gd name="T9" fmla="*/ 8959 h 12012"/>
              <a:gd name="T10" fmla="*/ 7480 w 16212"/>
              <a:gd name="T11" fmla="*/ 8560 h 12012"/>
              <a:gd name="T12" fmla="*/ 7144 w 16212"/>
              <a:gd name="T13" fmla="*/ 8238 h 12012"/>
              <a:gd name="T14" fmla="*/ 6878 w 16212"/>
              <a:gd name="T15" fmla="*/ 8148 h 12012"/>
              <a:gd name="T16" fmla="*/ 6633 w 16212"/>
              <a:gd name="T17" fmla="*/ 7980 h 12012"/>
              <a:gd name="T18" fmla="*/ 6492 w 16212"/>
              <a:gd name="T19" fmla="*/ 7732 h 12012"/>
              <a:gd name="T20" fmla="*/ 4741 w 16212"/>
              <a:gd name="T21" fmla="*/ 7641 h 12012"/>
              <a:gd name="T22" fmla="*/ 4471 w 16212"/>
              <a:gd name="T23" fmla="*/ 7745 h 12012"/>
              <a:gd name="T24" fmla="*/ 4343 w 16212"/>
              <a:gd name="T25" fmla="*/ 8000 h 12012"/>
              <a:gd name="T26" fmla="*/ 3599 w 16212"/>
              <a:gd name="T27" fmla="*/ 7852 h 12012"/>
              <a:gd name="T28" fmla="*/ 3388 w 16212"/>
              <a:gd name="T29" fmla="*/ 7668 h 12012"/>
              <a:gd name="T30" fmla="*/ 5479 w 16212"/>
              <a:gd name="T31" fmla="*/ 2932 h 12012"/>
              <a:gd name="T32" fmla="*/ 12925 w 16212"/>
              <a:gd name="T33" fmla="*/ 7643 h 12012"/>
              <a:gd name="T34" fmla="*/ 12670 w 16212"/>
              <a:gd name="T35" fmla="*/ 7772 h 12012"/>
              <a:gd name="T36" fmla="*/ 12565 w 16212"/>
              <a:gd name="T37" fmla="*/ 8040 h 12012"/>
              <a:gd name="T38" fmla="*/ 11803 w 16212"/>
              <a:gd name="T39" fmla="*/ 7817 h 12012"/>
              <a:gd name="T40" fmla="*/ 11571 w 16212"/>
              <a:gd name="T41" fmla="*/ 7654 h 12012"/>
              <a:gd name="T42" fmla="*/ 9802 w 16212"/>
              <a:gd name="T43" fmla="*/ 7681 h 12012"/>
              <a:gd name="T44" fmla="*/ 9607 w 16212"/>
              <a:gd name="T45" fmla="*/ 7885 h 12012"/>
              <a:gd name="T46" fmla="*/ 9383 w 16212"/>
              <a:gd name="T47" fmla="*/ 8139 h 12012"/>
              <a:gd name="T48" fmla="*/ 9176 w 16212"/>
              <a:gd name="T49" fmla="*/ 8189 h 12012"/>
              <a:gd name="T50" fmla="*/ 8836 w 16212"/>
              <a:gd name="T51" fmla="*/ 8428 h 12012"/>
              <a:gd name="T52" fmla="*/ 8596 w 16212"/>
              <a:gd name="T53" fmla="*/ 8801 h 12012"/>
              <a:gd name="T54" fmla="*/ 8409 w 16212"/>
              <a:gd name="T55" fmla="*/ 9362 h 12012"/>
              <a:gd name="T56" fmla="*/ 8327 w 16212"/>
              <a:gd name="T57" fmla="*/ 10049 h 12012"/>
              <a:gd name="T58" fmla="*/ 8490 w 16212"/>
              <a:gd name="T59" fmla="*/ 10971 h 12012"/>
              <a:gd name="T60" fmla="*/ 8672 w 16212"/>
              <a:gd name="T61" fmla="*/ 11398 h 12012"/>
              <a:gd name="T62" fmla="*/ 8984 w 16212"/>
              <a:gd name="T63" fmla="*/ 11761 h 12012"/>
              <a:gd name="T64" fmla="*/ 5586 w 16212"/>
              <a:gd name="T65" fmla="*/ 11021 h 12012"/>
              <a:gd name="T66" fmla="*/ 3245 w 16212"/>
              <a:gd name="T67" fmla="*/ 8040 h 12012"/>
              <a:gd name="T68" fmla="*/ 502 w 16212"/>
              <a:gd name="T69" fmla="*/ 8531 h 12012"/>
              <a:gd name="T70" fmla="*/ 6800 w 16212"/>
              <a:gd name="T71" fmla="*/ 8540 h 12012"/>
              <a:gd name="T72" fmla="*/ 7486 w 16212"/>
              <a:gd name="T73" fmla="*/ 10022 h 12012"/>
              <a:gd name="T74" fmla="*/ 6843 w 16212"/>
              <a:gd name="T75" fmla="*/ 11503 h 12012"/>
              <a:gd name="T76" fmla="*/ 1064 w 16212"/>
              <a:gd name="T77" fmla="*/ 11478 h 12012"/>
              <a:gd name="T78" fmla="*/ 79 w 16212"/>
              <a:gd name="T79" fmla="*/ 10828 h 12012"/>
              <a:gd name="T80" fmla="*/ 6237 w 16212"/>
              <a:gd name="T81" fmla="*/ 9276 h 12012"/>
              <a:gd name="T82" fmla="*/ 7231 w 16212"/>
              <a:gd name="T83" fmla="*/ 9776 h 12012"/>
              <a:gd name="T84" fmla="*/ 1099 w 16212"/>
              <a:gd name="T85" fmla="*/ 9023 h 12012"/>
              <a:gd name="T86" fmla="*/ 703 w 16212"/>
              <a:gd name="T87" fmla="*/ 11021 h 12012"/>
              <a:gd name="T88" fmla="*/ 502 w 16212"/>
              <a:gd name="T89" fmla="*/ 10022 h 12012"/>
              <a:gd name="T90" fmla="*/ 10979 w 16212"/>
              <a:gd name="T91" fmla="*/ 12012 h 12012"/>
              <a:gd name="T92" fmla="*/ 14215 w 16212"/>
              <a:gd name="T93" fmla="*/ 8286 h 12012"/>
              <a:gd name="T94" fmla="*/ 14110 w 16212"/>
              <a:gd name="T95" fmla="*/ 11021 h 12012"/>
              <a:gd name="T96" fmla="*/ 14989 w 16212"/>
              <a:gd name="T97" fmla="*/ 8531 h 12012"/>
              <a:gd name="T98" fmla="*/ 8796 w 16212"/>
              <a:gd name="T99" fmla="*/ 9461 h 12012"/>
              <a:gd name="T100" fmla="*/ 9201 w 16212"/>
              <a:gd name="T101" fmla="*/ 11424 h 12012"/>
              <a:gd name="T102" fmla="*/ 14989 w 16212"/>
              <a:gd name="T103" fmla="*/ 11521 h 12012"/>
              <a:gd name="T104" fmla="*/ 16001 w 16212"/>
              <a:gd name="T105" fmla="*/ 11390 h 12012"/>
              <a:gd name="T106" fmla="*/ 16001 w 16212"/>
              <a:gd name="T107" fmla="*/ 8663 h 12012"/>
              <a:gd name="T108" fmla="*/ 9070 w 16212"/>
              <a:gd name="T109" fmla="*/ 9628 h 12012"/>
              <a:gd name="T110" fmla="*/ 9483 w 16212"/>
              <a:gd name="T111" fmla="*/ 9031 h 12012"/>
              <a:gd name="T112" fmla="*/ 15508 w 16212"/>
              <a:gd name="T113" fmla="*/ 9031 h 12012"/>
              <a:gd name="T114" fmla="*/ 15693 w 16212"/>
              <a:gd name="T115" fmla="*/ 10276 h 12012"/>
              <a:gd name="T116" fmla="*/ 4986 w 16212"/>
              <a:gd name="T117" fmla="*/ 4862 h 12012"/>
              <a:gd name="T118" fmla="*/ 4986 w 16212"/>
              <a:gd name="T119" fmla="*/ 6891 h 12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212" h="12012">
                <a:moveTo>
                  <a:pt x="9148" y="11852"/>
                </a:moveTo>
                <a:lnTo>
                  <a:pt x="7065" y="11852"/>
                </a:lnTo>
                <a:lnTo>
                  <a:pt x="7089" y="11843"/>
                </a:lnTo>
                <a:lnTo>
                  <a:pt x="7111" y="11833"/>
                </a:lnTo>
                <a:lnTo>
                  <a:pt x="7132" y="11821"/>
                </a:lnTo>
                <a:lnTo>
                  <a:pt x="7154" y="11808"/>
                </a:lnTo>
                <a:lnTo>
                  <a:pt x="7204" y="11775"/>
                </a:lnTo>
                <a:lnTo>
                  <a:pt x="7229" y="11761"/>
                </a:lnTo>
                <a:lnTo>
                  <a:pt x="7251" y="11744"/>
                </a:lnTo>
                <a:lnTo>
                  <a:pt x="7273" y="11726"/>
                </a:lnTo>
                <a:lnTo>
                  <a:pt x="7294" y="11707"/>
                </a:lnTo>
                <a:lnTo>
                  <a:pt x="7364" y="11637"/>
                </a:lnTo>
                <a:lnTo>
                  <a:pt x="7363" y="11635"/>
                </a:lnTo>
                <a:lnTo>
                  <a:pt x="7375" y="11623"/>
                </a:lnTo>
                <a:lnTo>
                  <a:pt x="7387" y="11610"/>
                </a:lnTo>
                <a:lnTo>
                  <a:pt x="7398" y="11597"/>
                </a:lnTo>
                <a:lnTo>
                  <a:pt x="7408" y="11582"/>
                </a:lnTo>
                <a:lnTo>
                  <a:pt x="7470" y="11495"/>
                </a:lnTo>
                <a:lnTo>
                  <a:pt x="7512" y="11434"/>
                </a:lnTo>
                <a:lnTo>
                  <a:pt x="7526" y="11416"/>
                </a:lnTo>
                <a:lnTo>
                  <a:pt x="7540" y="11398"/>
                </a:lnTo>
                <a:lnTo>
                  <a:pt x="7552" y="11378"/>
                </a:lnTo>
                <a:lnTo>
                  <a:pt x="7563" y="11357"/>
                </a:lnTo>
                <a:lnTo>
                  <a:pt x="7616" y="11252"/>
                </a:lnTo>
                <a:lnTo>
                  <a:pt x="7614" y="11251"/>
                </a:lnTo>
                <a:lnTo>
                  <a:pt x="7619" y="11243"/>
                </a:lnTo>
                <a:lnTo>
                  <a:pt x="7623" y="11233"/>
                </a:lnTo>
                <a:lnTo>
                  <a:pt x="7626" y="11225"/>
                </a:lnTo>
                <a:lnTo>
                  <a:pt x="7630" y="11216"/>
                </a:lnTo>
                <a:lnTo>
                  <a:pt x="7660" y="11137"/>
                </a:lnTo>
                <a:lnTo>
                  <a:pt x="7665" y="11127"/>
                </a:lnTo>
                <a:lnTo>
                  <a:pt x="7669" y="11116"/>
                </a:lnTo>
                <a:lnTo>
                  <a:pt x="7674" y="11105"/>
                </a:lnTo>
                <a:lnTo>
                  <a:pt x="7678" y="11094"/>
                </a:lnTo>
                <a:lnTo>
                  <a:pt x="7722" y="10972"/>
                </a:lnTo>
                <a:lnTo>
                  <a:pt x="7722" y="10971"/>
                </a:lnTo>
                <a:lnTo>
                  <a:pt x="7730" y="10947"/>
                </a:lnTo>
                <a:lnTo>
                  <a:pt x="7766" y="10823"/>
                </a:lnTo>
                <a:lnTo>
                  <a:pt x="7800" y="10701"/>
                </a:lnTo>
                <a:lnTo>
                  <a:pt x="7800" y="10701"/>
                </a:lnTo>
                <a:lnTo>
                  <a:pt x="7807" y="10675"/>
                </a:lnTo>
                <a:lnTo>
                  <a:pt x="7833" y="10552"/>
                </a:lnTo>
                <a:lnTo>
                  <a:pt x="7832" y="10552"/>
                </a:lnTo>
                <a:lnTo>
                  <a:pt x="7834" y="10543"/>
                </a:lnTo>
                <a:lnTo>
                  <a:pt x="7836" y="10533"/>
                </a:lnTo>
                <a:lnTo>
                  <a:pt x="7839" y="10522"/>
                </a:lnTo>
                <a:lnTo>
                  <a:pt x="7840" y="10512"/>
                </a:lnTo>
                <a:lnTo>
                  <a:pt x="7863" y="10297"/>
                </a:lnTo>
                <a:lnTo>
                  <a:pt x="7867" y="10265"/>
                </a:lnTo>
                <a:lnTo>
                  <a:pt x="7884" y="10069"/>
                </a:lnTo>
                <a:lnTo>
                  <a:pt x="7885" y="10049"/>
                </a:lnTo>
                <a:lnTo>
                  <a:pt x="7886" y="10029"/>
                </a:lnTo>
                <a:lnTo>
                  <a:pt x="7886" y="10008"/>
                </a:lnTo>
                <a:lnTo>
                  <a:pt x="7885" y="9987"/>
                </a:lnTo>
                <a:lnTo>
                  <a:pt x="7867" y="9786"/>
                </a:lnTo>
                <a:lnTo>
                  <a:pt x="7867" y="9786"/>
                </a:lnTo>
                <a:lnTo>
                  <a:pt x="7866" y="9776"/>
                </a:lnTo>
                <a:lnTo>
                  <a:pt x="7840" y="9543"/>
                </a:lnTo>
                <a:lnTo>
                  <a:pt x="7839" y="9533"/>
                </a:lnTo>
                <a:lnTo>
                  <a:pt x="7836" y="9522"/>
                </a:lnTo>
                <a:lnTo>
                  <a:pt x="7835" y="9512"/>
                </a:lnTo>
                <a:lnTo>
                  <a:pt x="7833" y="9501"/>
                </a:lnTo>
                <a:lnTo>
                  <a:pt x="7810" y="9392"/>
                </a:lnTo>
                <a:lnTo>
                  <a:pt x="7808" y="9382"/>
                </a:lnTo>
                <a:lnTo>
                  <a:pt x="7806" y="9372"/>
                </a:lnTo>
                <a:lnTo>
                  <a:pt x="7803" y="9362"/>
                </a:lnTo>
                <a:lnTo>
                  <a:pt x="7800" y="9351"/>
                </a:lnTo>
                <a:lnTo>
                  <a:pt x="7766" y="9229"/>
                </a:lnTo>
                <a:lnTo>
                  <a:pt x="7735" y="9122"/>
                </a:lnTo>
                <a:lnTo>
                  <a:pt x="7732" y="9112"/>
                </a:lnTo>
                <a:lnTo>
                  <a:pt x="7729" y="9102"/>
                </a:lnTo>
                <a:lnTo>
                  <a:pt x="7726" y="9092"/>
                </a:lnTo>
                <a:lnTo>
                  <a:pt x="7722" y="9081"/>
                </a:lnTo>
                <a:lnTo>
                  <a:pt x="7678" y="8958"/>
                </a:lnTo>
                <a:lnTo>
                  <a:pt x="7676" y="8959"/>
                </a:lnTo>
                <a:lnTo>
                  <a:pt x="7673" y="8950"/>
                </a:lnTo>
                <a:lnTo>
                  <a:pt x="7642" y="8869"/>
                </a:lnTo>
                <a:lnTo>
                  <a:pt x="7637" y="8852"/>
                </a:lnTo>
                <a:lnTo>
                  <a:pt x="7631" y="8835"/>
                </a:lnTo>
                <a:lnTo>
                  <a:pt x="7624" y="8818"/>
                </a:lnTo>
                <a:lnTo>
                  <a:pt x="7616" y="8801"/>
                </a:lnTo>
                <a:lnTo>
                  <a:pt x="7563" y="8696"/>
                </a:lnTo>
                <a:lnTo>
                  <a:pt x="7562" y="8696"/>
                </a:lnTo>
                <a:lnTo>
                  <a:pt x="7557" y="8687"/>
                </a:lnTo>
                <a:lnTo>
                  <a:pt x="7552" y="8678"/>
                </a:lnTo>
                <a:lnTo>
                  <a:pt x="7547" y="8668"/>
                </a:lnTo>
                <a:lnTo>
                  <a:pt x="7541" y="8659"/>
                </a:lnTo>
                <a:lnTo>
                  <a:pt x="7497" y="8591"/>
                </a:lnTo>
                <a:lnTo>
                  <a:pt x="7489" y="8576"/>
                </a:lnTo>
                <a:lnTo>
                  <a:pt x="7480" y="8560"/>
                </a:lnTo>
                <a:lnTo>
                  <a:pt x="7470" y="8546"/>
                </a:lnTo>
                <a:lnTo>
                  <a:pt x="7459" y="8532"/>
                </a:lnTo>
                <a:lnTo>
                  <a:pt x="7407" y="8465"/>
                </a:lnTo>
                <a:lnTo>
                  <a:pt x="7397" y="8452"/>
                </a:lnTo>
                <a:lnTo>
                  <a:pt x="7387" y="8440"/>
                </a:lnTo>
                <a:lnTo>
                  <a:pt x="7375" y="8428"/>
                </a:lnTo>
                <a:lnTo>
                  <a:pt x="7364" y="8416"/>
                </a:lnTo>
                <a:lnTo>
                  <a:pt x="7294" y="8345"/>
                </a:lnTo>
                <a:lnTo>
                  <a:pt x="7293" y="8346"/>
                </a:lnTo>
                <a:lnTo>
                  <a:pt x="7279" y="8333"/>
                </a:lnTo>
                <a:lnTo>
                  <a:pt x="7265" y="8321"/>
                </a:lnTo>
                <a:lnTo>
                  <a:pt x="7249" y="8309"/>
                </a:lnTo>
                <a:lnTo>
                  <a:pt x="7233" y="8298"/>
                </a:lnTo>
                <a:lnTo>
                  <a:pt x="7165" y="8251"/>
                </a:lnTo>
                <a:lnTo>
                  <a:pt x="7144" y="8238"/>
                </a:lnTo>
                <a:lnTo>
                  <a:pt x="7124" y="8226"/>
                </a:lnTo>
                <a:lnTo>
                  <a:pt x="7103" y="8215"/>
                </a:lnTo>
                <a:lnTo>
                  <a:pt x="7081" y="8206"/>
                </a:lnTo>
                <a:lnTo>
                  <a:pt x="7036" y="8188"/>
                </a:lnTo>
                <a:lnTo>
                  <a:pt x="7036" y="8189"/>
                </a:lnTo>
                <a:lnTo>
                  <a:pt x="7019" y="8183"/>
                </a:lnTo>
                <a:lnTo>
                  <a:pt x="7002" y="8177"/>
                </a:lnTo>
                <a:lnTo>
                  <a:pt x="6984" y="8172"/>
                </a:lnTo>
                <a:lnTo>
                  <a:pt x="6966" y="8168"/>
                </a:lnTo>
                <a:lnTo>
                  <a:pt x="6957" y="8167"/>
                </a:lnTo>
                <a:lnTo>
                  <a:pt x="6949" y="8164"/>
                </a:lnTo>
                <a:lnTo>
                  <a:pt x="6940" y="8161"/>
                </a:lnTo>
                <a:lnTo>
                  <a:pt x="6931" y="8159"/>
                </a:lnTo>
                <a:lnTo>
                  <a:pt x="6922" y="8157"/>
                </a:lnTo>
                <a:lnTo>
                  <a:pt x="6878" y="8148"/>
                </a:lnTo>
                <a:lnTo>
                  <a:pt x="6878" y="8150"/>
                </a:lnTo>
                <a:lnTo>
                  <a:pt x="6872" y="8149"/>
                </a:lnTo>
                <a:lnTo>
                  <a:pt x="6858" y="8145"/>
                </a:lnTo>
                <a:lnTo>
                  <a:pt x="6843" y="8141"/>
                </a:lnTo>
                <a:lnTo>
                  <a:pt x="6829" y="8139"/>
                </a:lnTo>
                <a:lnTo>
                  <a:pt x="6815" y="8136"/>
                </a:lnTo>
                <a:lnTo>
                  <a:pt x="6800" y="8134"/>
                </a:lnTo>
                <a:lnTo>
                  <a:pt x="6786" y="8133"/>
                </a:lnTo>
                <a:lnTo>
                  <a:pt x="6771" y="8132"/>
                </a:lnTo>
                <a:lnTo>
                  <a:pt x="6755" y="8132"/>
                </a:lnTo>
                <a:lnTo>
                  <a:pt x="6638" y="8132"/>
                </a:lnTo>
                <a:lnTo>
                  <a:pt x="6638" y="8040"/>
                </a:lnTo>
                <a:lnTo>
                  <a:pt x="6637" y="8020"/>
                </a:lnTo>
                <a:lnTo>
                  <a:pt x="6636" y="8000"/>
                </a:lnTo>
                <a:lnTo>
                  <a:pt x="6633" y="7980"/>
                </a:lnTo>
                <a:lnTo>
                  <a:pt x="6630" y="7961"/>
                </a:lnTo>
                <a:lnTo>
                  <a:pt x="6625" y="7940"/>
                </a:lnTo>
                <a:lnTo>
                  <a:pt x="6620" y="7922"/>
                </a:lnTo>
                <a:lnTo>
                  <a:pt x="6613" y="7903"/>
                </a:lnTo>
                <a:lnTo>
                  <a:pt x="6605" y="7885"/>
                </a:lnTo>
                <a:lnTo>
                  <a:pt x="6598" y="7868"/>
                </a:lnTo>
                <a:lnTo>
                  <a:pt x="6589" y="7850"/>
                </a:lnTo>
                <a:lnTo>
                  <a:pt x="6579" y="7833"/>
                </a:lnTo>
                <a:lnTo>
                  <a:pt x="6569" y="7817"/>
                </a:lnTo>
                <a:lnTo>
                  <a:pt x="6558" y="7802"/>
                </a:lnTo>
                <a:lnTo>
                  <a:pt x="6546" y="7787"/>
                </a:lnTo>
                <a:lnTo>
                  <a:pt x="6533" y="7772"/>
                </a:lnTo>
                <a:lnTo>
                  <a:pt x="6520" y="7759"/>
                </a:lnTo>
                <a:lnTo>
                  <a:pt x="6506" y="7745"/>
                </a:lnTo>
                <a:lnTo>
                  <a:pt x="6492" y="7732"/>
                </a:lnTo>
                <a:lnTo>
                  <a:pt x="6477" y="7720"/>
                </a:lnTo>
                <a:lnTo>
                  <a:pt x="6460" y="7709"/>
                </a:lnTo>
                <a:lnTo>
                  <a:pt x="6444" y="7699"/>
                </a:lnTo>
                <a:lnTo>
                  <a:pt x="6428" y="7690"/>
                </a:lnTo>
                <a:lnTo>
                  <a:pt x="6410" y="7681"/>
                </a:lnTo>
                <a:lnTo>
                  <a:pt x="6393" y="7673"/>
                </a:lnTo>
                <a:lnTo>
                  <a:pt x="6374" y="7666"/>
                </a:lnTo>
                <a:lnTo>
                  <a:pt x="6356" y="7660"/>
                </a:lnTo>
                <a:lnTo>
                  <a:pt x="6337" y="7654"/>
                </a:lnTo>
                <a:lnTo>
                  <a:pt x="6318" y="7650"/>
                </a:lnTo>
                <a:lnTo>
                  <a:pt x="6297" y="7645"/>
                </a:lnTo>
                <a:lnTo>
                  <a:pt x="6278" y="7643"/>
                </a:lnTo>
                <a:lnTo>
                  <a:pt x="6257" y="7641"/>
                </a:lnTo>
                <a:lnTo>
                  <a:pt x="6237" y="7641"/>
                </a:lnTo>
                <a:lnTo>
                  <a:pt x="4741" y="7641"/>
                </a:lnTo>
                <a:lnTo>
                  <a:pt x="4721" y="7641"/>
                </a:lnTo>
                <a:lnTo>
                  <a:pt x="4700" y="7643"/>
                </a:lnTo>
                <a:lnTo>
                  <a:pt x="4680" y="7645"/>
                </a:lnTo>
                <a:lnTo>
                  <a:pt x="4661" y="7650"/>
                </a:lnTo>
                <a:lnTo>
                  <a:pt x="4641" y="7654"/>
                </a:lnTo>
                <a:lnTo>
                  <a:pt x="4622" y="7660"/>
                </a:lnTo>
                <a:lnTo>
                  <a:pt x="4603" y="7666"/>
                </a:lnTo>
                <a:lnTo>
                  <a:pt x="4585" y="7673"/>
                </a:lnTo>
                <a:lnTo>
                  <a:pt x="4568" y="7681"/>
                </a:lnTo>
                <a:lnTo>
                  <a:pt x="4551" y="7690"/>
                </a:lnTo>
                <a:lnTo>
                  <a:pt x="4533" y="7699"/>
                </a:lnTo>
                <a:lnTo>
                  <a:pt x="4517" y="7709"/>
                </a:lnTo>
                <a:lnTo>
                  <a:pt x="4502" y="7720"/>
                </a:lnTo>
                <a:lnTo>
                  <a:pt x="4487" y="7732"/>
                </a:lnTo>
                <a:lnTo>
                  <a:pt x="4471" y="7745"/>
                </a:lnTo>
                <a:lnTo>
                  <a:pt x="4458" y="7759"/>
                </a:lnTo>
                <a:lnTo>
                  <a:pt x="4445" y="7772"/>
                </a:lnTo>
                <a:lnTo>
                  <a:pt x="4432" y="7787"/>
                </a:lnTo>
                <a:lnTo>
                  <a:pt x="4420" y="7802"/>
                </a:lnTo>
                <a:lnTo>
                  <a:pt x="4409" y="7817"/>
                </a:lnTo>
                <a:lnTo>
                  <a:pt x="4399" y="7833"/>
                </a:lnTo>
                <a:lnTo>
                  <a:pt x="4388" y="7850"/>
                </a:lnTo>
                <a:lnTo>
                  <a:pt x="4380" y="7868"/>
                </a:lnTo>
                <a:lnTo>
                  <a:pt x="4372" y="7885"/>
                </a:lnTo>
                <a:lnTo>
                  <a:pt x="4365" y="7903"/>
                </a:lnTo>
                <a:lnTo>
                  <a:pt x="4359" y="7922"/>
                </a:lnTo>
                <a:lnTo>
                  <a:pt x="4353" y="7940"/>
                </a:lnTo>
                <a:lnTo>
                  <a:pt x="4349" y="7961"/>
                </a:lnTo>
                <a:lnTo>
                  <a:pt x="4345" y="7980"/>
                </a:lnTo>
                <a:lnTo>
                  <a:pt x="4343" y="8000"/>
                </a:lnTo>
                <a:lnTo>
                  <a:pt x="4341" y="8020"/>
                </a:lnTo>
                <a:lnTo>
                  <a:pt x="4341" y="8040"/>
                </a:lnTo>
                <a:lnTo>
                  <a:pt x="4341" y="8132"/>
                </a:lnTo>
                <a:lnTo>
                  <a:pt x="3647" y="8132"/>
                </a:lnTo>
                <a:lnTo>
                  <a:pt x="3647" y="8040"/>
                </a:lnTo>
                <a:lnTo>
                  <a:pt x="3646" y="8020"/>
                </a:lnTo>
                <a:lnTo>
                  <a:pt x="3645" y="8000"/>
                </a:lnTo>
                <a:lnTo>
                  <a:pt x="3642" y="7981"/>
                </a:lnTo>
                <a:lnTo>
                  <a:pt x="3639" y="7961"/>
                </a:lnTo>
                <a:lnTo>
                  <a:pt x="3635" y="7941"/>
                </a:lnTo>
                <a:lnTo>
                  <a:pt x="3628" y="7923"/>
                </a:lnTo>
                <a:lnTo>
                  <a:pt x="3622" y="7905"/>
                </a:lnTo>
                <a:lnTo>
                  <a:pt x="3615" y="7887"/>
                </a:lnTo>
                <a:lnTo>
                  <a:pt x="3608" y="7869"/>
                </a:lnTo>
                <a:lnTo>
                  <a:pt x="3599" y="7852"/>
                </a:lnTo>
                <a:lnTo>
                  <a:pt x="3590" y="7835"/>
                </a:lnTo>
                <a:lnTo>
                  <a:pt x="3580" y="7819"/>
                </a:lnTo>
                <a:lnTo>
                  <a:pt x="3569" y="7804"/>
                </a:lnTo>
                <a:lnTo>
                  <a:pt x="3557" y="7789"/>
                </a:lnTo>
                <a:lnTo>
                  <a:pt x="3544" y="7775"/>
                </a:lnTo>
                <a:lnTo>
                  <a:pt x="3531" y="7761"/>
                </a:lnTo>
                <a:lnTo>
                  <a:pt x="3518" y="7747"/>
                </a:lnTo>
                <a:lnTo>
                  <a:pt x="3504" y="7734"/>
                </a:lnTo>
                <a:lnTo>
                  <a:pt x="3489" y="7723"/>
                </a:lnTo>
                <a:lnTo>
                  <a:pt x="3473" y="7712"/>
                </a:lnTo>
                <a:lnTo>
                  <a:pt x="3457" y="7701"/>
                </a:lnTo>
                <a:lnTo>
                  <a:pt x="3440" y="7692"/>
                </a:lnTo>
                <a:lnTo>
                  <a:pt x="3424" y="7683"/>
                </a:lnTo>
                <a:lnTo>
                  <a:pt x="3407" y="7675"/>
                </a:lnTo>
                <a:lnTo>
                  <a:pt x="3388" y="7668"/>
                </a:lnTo>
                <a:lnTo>
                  <a:pt x="3370" y="7661"/>
                </a:lnTo>
                <a:lnTo>
                  <a:pt x="3351" y="7656"/>
                </a:lnTo>
                <a:lnTo>
                  <a:pt x="3332" y="7651"/>
                </a:lnTo>
                <a:lnTo>
                  <a:pt x="3312" y="7646"/>
                </a:lnTo>
                <a:lnTo>
                  <a:pt x="3293" y="7644"/>
                </a:lnTo>
                <a:lnTo>
                  <a:pt x="3273" y="7642"/>
                </a:lnTo>
                <a:lnTo>
                  <a:pt x="3253" y="7641"/>
                </a:lnTo>
                <a:lnTo>
                  <a:pt x="3254" y="2933"/>
                </a:lnTo>
                <a:lnTo>
                  <a:pt x="3522" y="2933"/>
                </a:lnTo>
                <a:lnTo>
                  <a:pt x="3813" y="2933"/>
                </a:lnTo>
                <a:lnTo>
                  <a:pt x="4122" y="2933"/>
                </a:lnTo>
                <a:lnTo>
                  <a:pt x="4446" y="2933"/>
                </a:lnTo>
                <a:lnTo>
                  <a:pt x="4783" y="2933"/>
                </a:lnTo>
                <a:lnTo>
                  <a:pt x="5127" y="2933"/>
                </a:lnTo>
                <a:lnTo>
                  <a:pt x="5479" y="2932"/>
                </a:lnTo>
                <a:lnTo>
                  <a:pt x="5833" y="2932"/>
                </a:lnTo>
                <a:lnTo>
                  <a:pt x="6188" y="2932"/>
                </a:lnTo>
                <a:lnTo>
                  <a:pt x="6540" y="2932"/>
                </a:lnTo>
                <a:lnTo>
                  <a:pt x="6885" y="2931"/>
                </a:lnTo>
                <a:lnTo>
                  <a:pt x="7221" y="2931"/>
                </a:lnTo>
                <a:lnTo>
                  <a:pt x="7546" y="2931"/>
                </a:lnTo>
                <a:lnTo>
                  <a:pt x="7855" y="2930"/>
                </a:lnTo>
                <a:lnTo>
                  <a:pt x="8145" y="2930"/>
                </a:lnTo>
                <a:lnTo>
                  <a:pt x="8414" y="2930"/>
                </a:lnTo>
                <a:lnTo>
                  <a:pt x="8414" y="0"/>
                </a:lnTo>
                <a:lnTo>
                  <a:pt x="13004" y="6"/>
                </a:lnTo>
                <a:lnTo>
                  <a:pt x="12973" y="7641"/>
                </a:lnTo>
                <a:lnTo>
                  <a:pt x="12967" y="7641"/>
                </a:lnTo>
                <a:lnTo>
                  <a:pt x="12945" y="7641"/>
                </a:lnTo>
                <a:lnTo>
                  <a:pt x="12925" y="7643"/>
                </a:lnTo>
                <a:lnTo>
                  <a:pt x="12905" y="7645"/>
                </a:lnTo>
                <a:lnTo>
                  <a:pt x="12886" y="7650"/>
                </a:lnTo>
                <a:lnTo>
                  <a:pt x="12866" y="7654"/>
                </a:lnTo>
                <a:lnTo>
                  <a:pt x="12847" y="7660"/>
                </a:lnTo>
                <a:lnTo>
                  <a:pt x="12829" y="7666"/>
                </a:lnTo>
                <a:lnTo>
                  <a:pt x="12811" y="7673"/>
                </a:lnTo>
                <a:lnTo>
                  <a:pt x="12792" y="7681"/>
                </a:lnTo>
                <a:lnTo>
                  <a:pt x="12775" y="7690"/>
                </a:lnTo>
                <a:lnTo>
                  <a:pt x="12759" y="7699"/>
                </a:lnTo>
                <a:lnTo>
                  <a:pt x="12743" y="7709"/>
                </a:lnTo>
                <a:lnTo>
                  <a:pt x="12726" y="7720"/>
                </a:lnTo>
                <a:lnTo>
                  <a:pt x="12711" y="7732"/>
                </a:lnTo>
                <a:lnTo>
                  <a:pt x="12697" y="7745"/>
                </a:lnTo>
                <a:lnTo>
                  <a:pt x="12683" y="7759"/>
                </a:lnTo>
                <a:lnTo>
                  <a:pt x="12670" y="7772"/>
                </a:lnTo>
                <a:lnTo>
                  <a:pt x="12657" y="7787"/>
                </a:lnTo>
                <a:lnTo>
                  <a:pt x="12645" y="7802"/>
                </a:lnTo>
                <a:lnTo>
                  <a:pt x="12634" y="7817"/>
                </a:lnTo>
                <a:lnTo>
                  <a:pt x="12623" y="7833"/>
                </a:lnTo>
                <a:lnTo>
                  <a:pt x="12614" y="7850"/>
                </a:lnTo>
                <a:lnTo>
                  <a:pt x="12605" y="7868"/>
                </a:lnTo>
                <a:lnTo>
                  <a:pt x="12597" y="7885"/>
                </a:lnTo>
                <a:lnTo>
                  <a:pt x="12590" y="7903"/>
                </a:lnTo>
                <a:lnTo>
                  <a:pt x="12584" y="7922"/>
                </a:lnTo>
                <a:lnTo>
                  <a:pt x="12578" y="7940"/>
                </a:lnTo>
                <a:lnTo>
                  <a:pt x="12573" y="7961"/>
                </a:lnTo>
                <a:lnTo>
                  <a:pt x="12570" y="7980"/>
                </a:lnTo>
                <a:lnTo>
                  <a:pt x="12567" y="8000"/>
                </a:lnTo>
                <a:lnTo>
                  <a:pt x="12566" y="8020"/>
                </a:lnTo>
                <a:lnTo>
                  <a:pt x="12565" y="8040"/>
                </a:lnTo>
                <a:lnTo>
                  <a:pt x="12565" y="8132"/>
                </a:lnTo>
                <a:lnTo>
                  <a:pt x="11871" y="8132"/>
                </a:lnTo>
                <a:lnTo>
                  <a:pt x="11871" y="8040"/>
                </a:lnTo>
                <a:lnTo>
                  <a:pt x="11871" y="8020"/>
                </a:lnTo>
                <a:lnTo>
                  <a:pt x="11869" y="8000"/>
                </a:lnTo>
                <a:lnTo>
                  <a:pt x="11867" y="7980"/>
                </a:lnTo>
                <a:lnTo>
                  <a:pt x="11863" y="7961"/>
                </a:lnTo>
                <a:lnTo>
                  <a:pt x="11859" y="7940"/>
                </a:lnTo>
                <a:lnTo>
                  <a:pt x="11853" y="7922"/>
                </a:lnTo>
                <a:lnTo>
                  <a:pt x="11847" y="7903"/>
                </a:lnTo>
                <a:lnTo>
                  <a:pt x="11840" y="7885"/>
                </a:lnTo>
                <a:lnTo>
                  <a:pt x="11832" y="7868"/>
                </a:lnTo>
                <a:lnTo>
                  <a:pt x="11823" y="7850"/>
                </a:lnTo>
                <a:lnTo>
                  <a:pt x="11813" y="7833"/>
                </a:lnTo>
                <a:lnTo>
                  <a:pt x="11803" y="7817"/>
                </a:lnTo>
                <a:lnTo>
                  <a:pt x="11792" y="7802"/>
                </a:lnTo>
                <a:lnTo>
                  <a:pt x="11780" y="7787"/>
                </a:lnTo>
                <a:lnTo>
                  <a:pt x="11767" y="7772"/>
                </a:lnTo>
                <a:lnTo>
                  <a:pt x="11754" y="7759"/>
                </a:lnTo>
                <a:lnTo>
                  <a:pt x="11741" y="7745"/>
                </a:lnTo>
                <a:lnTo>
                  <a:pt x="11725" y="7732"/>
                </a:lnTo>
                <a:lnTo>
                  <a:pt x="11710" y="7720"/>
                </a:lnTo>
                <a:lnTo>
                  <a:pt x="11695" y="7709"/>
                </a:lnTo>
                <a:lnTo>
                  <a:pt x="11679" y="7699"/>
                </a:lnTo>
                <a:lnTo>
                  <a:pt x="11661" y="7690"/>
                </a:lnTo>
                <a:lnTo>
                  <a:pt x="11644" y="7681"/>
                </a:lnTo>
                <a:lnTo>
                  <a:pt x="11627" y="7673"/>
                </a:lnTo>
                <a:lnTo>
                  <a:pt x="11609" y="7666"/>
                </a:lnTo>
                <a:lnTo>
                  <a:pt x="11590" y="7660"/>
                </a:lnTo>
                <a:lnTo>
                  <a:pt x="11571" y="7654"/>
                </a:lnTo>
                <a:lnTo>
                  <a:pt x="11551" y="7650"/>
                </a:lnTo>
                <a:lnTo>
                  <a:pt x="11532" y="7645"/>
                </a:lnTo>
                <a:lnTo>
                  <a:pt x="11512" y="7643"/>
                </a:lnTo>
                <a:lnTo>
                  <a:pt x="11491" y="7641"/>
                </a:lnTo>
                <a:lnTo>
                  <a:pt x="11471" y="7641"/>
                </a:lnTo>
                <a:lnTo>
                  <a:pt x="9975" y="7641"/>
                </a:lnTo>
                <a:lnTo>
                  <a:pt x="9955" y="7641"/>
                </a:lnTo>
                <a:lnTo>
                  <a:pt x="9934" y="7643"/>
                </a:lnTo>
                <a:lnTo>
                  <a:pt x="9915" y="7645"/>
                </a:lnTo>
                <a:lnTo>
                  <a:pt x="9894" y="7650"/>
                </a:lnTo>
                <a:lnTo>
                  <a:pt x="9875" y="7654"/>
                </a:lnTo>
                <a:lnTo>
                  <a:pt x="9856" y="7660"/>
                </a:lnTo>
                <a:lnTo>
                  <a:pt x="9838" y="7666"/>
                </a:lnTo>
                <a:lnTo>
                  <a:pt x="9819" y="7673"/>
                </a:lnTo>
                <a:lnTo>
                  <a:pt x="9802" y="7681"/>
                </a:lnTo>
                <a:lnTo>
                  <a:pt x="9784" y="7690"/>
                </a:lnTo>
                <a:lnTo>
                  <a:pt x="9768" y="7699"/>
                </a:lnTo>
                <a:lnTo>
                  <a:pt x="9752" y="7709"/>
                </a:lnTo>
                <a:lnTo>
                  <a:pt x="9735" y="7720"/>
                </a:lnTo>
                <a:lnTo>
                  <a:pt x="9720" y="7732"/>
                </a:lnTo>
                <a:lnTo>
                  <a:pt x="9706" y="7745"/>
                </a:lnTo>
                <a:lnTo>
                  <a:pt x="9692" y="7759"/>
                </a:lnTo>
                <a:lnTo>
                  <a:pt x="9679" y="7772"/>
                </a:lnTo>
                <a:lnTo>
                  <a:pt x="9666" y="7787"/>
                </a:lnTo>
                <a:lnTo>
                  <a:pt x="9654" y="7802"/>
                </a:lnTo>
                <a:lnTo>
                  <a:pt x="9643" y="7817"/>
                </a:lnTo>
                <a:lnTo>
                  <a:pt x="9633" y="7833"/>
                </a:lnTo>
                <a:lnTo>
                  <a:pt x="9623" y="7850"/>
                </a:lnTo>
                <a:lnTo>
                  <a:pt x="9614" y="7868"/>
                </a:lnTo>
                <a:lnTo>
                  <a:pt x="9607" y="7885"/>
                </a:lnTo>
                <a:lnTo>
                  <a:pt x="9599" y="7903"/>
                </a:lnTo>
                <a:lnTo>
                  <a:pt x="9592" y="7922"/>
                </a:lnTo>
                <a:lnTo>
                  <a:pt x="9587" y="7940"/>
                </a:lnTo>
                <a:lnTo>
                  <a:pt x="9582" y="7961"/>
                </a:lnTo>
                <a:lnTo>
                  <a:pt x="9579" y="7980"/>
                </a:lnTo>
                <a:lnTo>
                  <a:pt x="9576" y="8000"/>
                </a:lnTo>
                <a:lnTo>
                  <a:pt x="9575" y="8020"/>
                </a:lnTo>
                <a:lnTo>
                  <a:pt x="9574" y="8040"/>
                </a:lnTo>
                <a:lnTo>
                  <a:pt x="9574" y="8132"/>
                </a:lnTo>
                <a:lnTo>
                  <a:pt x="9457" y="8132"/>
                </a:lnTo>
                <a:lnTo>
                  <a:pt x="9441" y="8132"/>
                </a:lnTo>
                <a:lnTo>
                  <a:pt x="9426" y="8133"/>
                </a:lnTo>
                <a:lnTo>
                  <a:pt x="9412" y="8134"/>
                </a:lnTo>
                <a:lnTo>
                  <a:pt x="9397" y="8136"/>
                </a:lnTo>
                <a:lnTo>
                  <a:pt x="9383" y="8139"/>
                </a:lnTo>
                <a:lnTo>
                  <a:pt x="9369" y="8141"/>
                </a:lnTo>
                <a:lnTo>
                  <a:pt x="9354" y="8145"/>
                </a:lnTo>
                <a:lnTo>
                  <a:pt x="9340" y="8149"/>
                </a:lnTo>
                <a:lnTo>
                  <a:pt x="9334" y="8150"/>
                </a:lnTo>
                <a:lnTo>
                  <a:pt x="9334" y="8148"/>
                </a:lnTo>
                <a:lnTo>
                  <a:pt x="9290" y="8157"/>
                </a:lnTo>
                <a:lnTo>
                  <a:pt x="9281" y="8159"/>
                </a:lnTo>
                <a:lnTo>
                  <a:pt x="9272" y="8161"/>
                </a:lnTo>
                <a:lnTo>
                  <a:pt x="9263" y="8164"/>
                </a:lnTo>
                <a:lnTo>
                  <a:pt x="9255" y="8167"/>
                </a:lnTo>
                <a:lnTo>
                  <a:pt x="9246" y="8168"/>
                </a:lnTo>
                <a:lnTo>
                  <a:pt x="9228" y="8172"/>
                </a:lnTo>
                <a:lnTo>
                  <a:pt x="9210" y="8177"/>
                </a:lnTo>
                <a:lnTo>
                  <a:pt x="9193" y="8183"/>
                </a:lnTo>
                <a:lnTo>
                  <a:pt x="9176" y="8189"/>
                </a:lnTo>
                <a:lnTo>
                  <a:pt x="9176" y="8188"/>
                </a:lnTo>
                <a:lnTo>
                  <a:pt x="9131" y="8206"/>
                </a:lnTo>
                <a:lnTo>
                  <a:pt x="9113" y="8214"/>
                </a:lnTo>
                <a:lnTo>
                  <a:pt x="9095" y="8223"/>
                </a:lnTo>
                <a:lnTo>
                  <a:pt x="9077" y="8233"/>
                </a:lnTo>
                <a:lnTo>
                  <a:pt x="9059" y="8243"/>
                </a:lnTo>
                <a:lnTo>
                  <a:pt x="9059" y="8243"/>
                </a:lnTo>
                <a:lnTo>
                  <a:pt x="8980" y="8296"/>
                </a:lnTo>
                <a:lnTo>
                  <a:pt x="8964" y="8307"/>
                </a:lnTo>
                <a:lnTo>
                  <a:pt x="8948" y="8320"/>
                </a:lnTo>
                <a:lnTo>
                  <a:pt x="8933" y="8332"/>
                </a:lnTo>
                <a:lnTo>
                  <a:pt x="8919" y="8346"/>
                </a:lnTo>
                <a:lnTo>
                  <a:pt x="8918" y="8345"/>
                </a:lnTo>
                <a:lnTo>
                  <a:pt x="8848" y="8416"/>
                </a:lnTo>
                <a:lnTo>
                  <a:pt x="8836" y="8428"/>
                </a:lnTo>
                <a:lnTo>
                  <a:pt x="8825" y="8440"/>
                </a:lnTo>
                <a:lnTo>
                  <a:pt x="8815" y="8452"/>
                </a:lnTo>
                <a:lnTo>
                  <a:pt x="8805" y="8465"/>
                </a:lnTo>
                <a:lnTo>
                  <a:pt x="8753" y="8532"/>
                </a:lnTo>
                <a:lnTo>
                  <a:pt x="8742" y="8546"/>
                </a:lnTo>
                <a:lnTo>
                  <a:pt x="8732" y="8560"/>
                </a:lnTo>
                <a:lnTo>
                  <a:pt x="8723" y="8576"/>
                </a:lnTo>
                <a:lnTo>
                  <a:pt x="8715" y="8591"/>
                </a:lnTo>
                <a:lnTo>
                  <a:pt x="8671" y="8659"/>
                </a:lnTo>
                <a:lnTo>
                  <a:pt x="8665" y="8668"/>
                </a:lnTo>
                <a:lnTo>
                  <a:pt x="8660" y="8678"/>
                </a:lnTo>
                <a:lnTo>
                  <a:pt x="8655" y="8687"/>
                </a:lnTo>
                <a:lnTo>
                  <a:pt x="8650" y="8696"/>
                </a:lnTo>
                <a:lnTo>
                  <a:pt x="8649" y="8696"/>
                </a:lnTo>
                <a:lnTo>
                  <a:pt x="8596" y="8801"/>
                </a:lnTo>
                <a:lnTo>
                  <a:pt x="8588" y="8818"/>
                </a:lnTo>
                <a:lnTo>
                  <a:pt x="8581" y="8835"/>
                </a:lnTo>
                <a:lnTo>
                  <a:pt x="8575" y="8852"/>
                </a:lnTo>
                <a:lnTo>
                  <a:pt x="8570" y="8869"/>
                </a:lnTo>
                <a:lnTo>
                  <a:pt x="8539" y="8950"/>
                </a:lnTo>
                <a:lnTo>
                  <a:pt x="8536" y="8959"/>
                </a:lnTo>
                <a:lnTo>
                  <a:pt x="8534" y="8958"/>
                </a:lnTo>
                <a:lnTo>
                  <a:pt x="8490" y="9081"/>
                </a:lnTo>
                <a:lnTo>
                  <a:pt x="8486" y="9092"/>
                </a:lnTo>
                <a:lnTo>
                  <a:pt x="8483" y="9102"/>
                </a:lnTo>
                <a:lnTo>
                  <a:pt x="8480" y="9112"/>
                </a:lnTo>
                <a:lnTo>
                  <a:pt x="8477" y="9122"/>
                </a:lnTo>
                <a:lnTo>
                  <a:pt x="8446" y="9229"/>
                </a:lnTo>
                <a:lnTo>
                  <a:pt x="8412" y="9351"/>
                </a:lnTo>
                <a:lnTo>
                  <a:pt x="8409" y="9362"/>
                </a:lnTo>
                <a:lnTo>
                  <a:pt x="8406" y="9372"/>
                </a:lnTo>
                <a:lnTo>
                  <a:pt x="8404" y="9382"/>
                </a:lnTo>
                <a:lnTo>
                  <a:pt x="8402" y="9392"/>
                </a:lnTo>
                <a:lnTo>
                  <a:pt x="8379" y="9501"/>
                </a:lnTo>
                <a:lnTo>
                  <a:pt x="8377" y="9512"/>
                </a:lnTo>
                <a:lnTo>
                  <a:pt x="8376" y="9522"/>
                </a:lnTo>
                <a:lnTo>
                  <a:pt x="8373" y="9533"/>
                </a:lnTo>
                <a:lnTo>
                  <a:pt x="8372" y="9543"/>
                </a:lnTo>
                <a:lnTo>
                  <a:pt x="8346" y="9776"/>
                </a:lnTo>
                <a:lnTo>
                  <a:pt x="8345" y="9786"/>
                </a:lnTo>
                <a:lnTo>
                  <a:pt x="8345" y="9786"/>
                </a:lnTo>
                <a:lnTo>
                  <a:pt x="8327" y="9987"/>
                </a:lnTo>
                <a:lnTo>
                  <a:pt x="8326" y="10008"/>
                </a:lnTo>
                <a:lnTo>
                  <a:pt x="8326" y="10029"/>
                </a:lnTo>
                <a:lnTo>
                  <a:pt x="8327" y="10049"/>
                </a:lnTo>
                <a:lnTo>
                  <a:pt x="8328" y="10069"/>
                </a:lnTo>
                <a:lnTo>
                  <a:pt x="8345" y="10265"/>
                </a:lnTo>
                <a:lnTo>
                  <a:pt x="8349" y="10297"/>
                </a:lnTo>
                <a:lnTo>
                  <a:pt x="8372" y="10512"/>
                </a:lnTo>
                <a:lnTo>
                  <a:pt x="8373" y="10522"/>
                </a:lnTo>
                <a:lnTo>
                  <a:pt x="8376" y="10533"/>
                </a:lnTo>
                <a:lnTo>
                  <a:pt x="8378" y="10543"/>
                </a:lnTo>
                <a:lnTo>
                  <a:pt x="8380" y="10552"/>
                </a:lnTo>
                <a:lnTo>
                  <a:pt x="8379" y="10552"/>
                </a:lnTo>
                <a:lnTo>
                  <a:pt x="8405" y="10675"/>
                </a:lnTo>
                <a:lnTo>
                  <a:pt x="8412" y="10701"/>
                </a:lnTo>
                <a:lnTo>
                  <a:pt x="8412" y="10701"/>
                </a:lnTo>
                <a:lnTo>
                  <a:pt x="8446" y="10823"/>
                </a:lnTo>
                <a:lnTo>
                  <a:pt x="8482" y="10947"/>
                </a:lnTo>
                <a:lnTo>
                  <a:pt x="8490" y="10971"/>
                </a:lnTo>
                <a:lnTo>
                  <a:pt x="8490" y="10972"/>
                </a:lnTo>
                <a:lnTo>
                  <a:pt x="8534" y="11094"/>
                </a:lnTo>
                <a:lnTo>
                  <a:pt x="8538" y="11105"/>
                </a:lnTo>
                <a:lnTo>
                  <a:pt x="8543" y="11116"/>
                </a:lnTo>
                <a:lnTo>
                  <a:pt x="8547" y="11127"/>
                </a:lnTo>
                <a:lnTo>
                  <a:pt x="8552" y="11137"/>
                </a:lnTo>
                <a:lnTo>
                  <a:pt x="8582" y="11216"/>
                </a:lnTo>
                <a:lnTo>
                  <a:pt x="8586" y="11225"/>
                </a:lnTo>
                <a:lnTo>
                  <a:pt x="8589" y="11233"/>
                </a:lnTo>
                <a:lnTo>
                  <a:pt x="8593" y="11243"/>
                </a:lnTo>
                <a:lnTo>
                  <a:pt x="8597" y="11251"/>
                </a:lnTo>
                <a:lnTo>
                  <a:pt x="8596" y="11252"/>
                </a:lnTo>
                <a:lnTo>
                  <a:pt x="8649" y="11357"/>
                </a:lnTo>
                <a:lnTo>
                  <a:pt x="8660" y="11378"/>
                </a:lnTo>
                <a:lnTo>
                  <a:pt x="8672" y="11398"/>
                </a:lnTo>
                <a:lnTo>
                  <a:pt x="8686" y="11416"/>
                </a:lnTo>
                <a:lnTo>
                  <a:pt x="8700" y="11434"/>
                </a:lnTo>
                <a:lnTo>
                  <a:pt x="8742" y="11495"/>
                </a:lnTo>
                <a:lnTo>
                  <a:pt x="8804" y="11582"/>
                </a:lnTo>
                <a:lnTo>
                  <a:pt x="8814" y="11597"/>
                </a:lnTo>
                <a:lnTo>
                  <a:pt x="8825" y="11610"/>
                </a:lnTo>
                <a:lnTo>
                  <a:pt x="8837" y="11623"/>
                </a:lnTo>
                <a:lnTo>
                  <a:pt x="8849" y="11635"/>
                </a:lnTo>
                <a:lnTo>
                  <a:pt x="8848" y="11637"/>
                </a:lnTo>
                <a:lnTo>
                  <a:pt x="8918" y="11707"/>
                </a:lnTo>
                <a:lnTo>
                  <a:pt x="8929" y="11717"/>
                </a:lnTo>
                <a:lnTo>
                  <a:pt x="8939" y="11726"/>
                </a:lnTo>
                <a:lnTo>
                  <a:pt x="8950" y="11735"/>
                </a:lnTo>
                <a:lnTo>
                  <a:pt x="8961" y="11744"/>
                </a:lnTo>
                <a:lnTo>
                  <a:pt x="8984" y="11761"/>
                </a:lnTo>
                <a:lnTo>
                  <a:pt x="9008" y="11775"/>
                </a:lnTo>
                <a:lnTo>
                  <a:pt x="9058" y="11808"/>
                </a:lnTo>
                <a:lnTo>
                  <a:pt x="9080" y="11821"/>
                </a:lnTo>
                <a:lnTo>
                  <a:pt x="9102" y="11833"/>
                </a:lnTo>
                <a:lnTo>
                  <a:pt x="9124" y="11843"/>
                </a:lnTo>
                <a:lnTo>
                  <a:pt x="9148" y="11852"/>
                </a:lnTo>
                <a:close/>
                <a:moveTo>
                  <a:pt x="5586" y="11021"/>
                </a:moveTo>
                <a:lnTo>
                  <a:pt x="5885" y="11021"/>
                </a:lnTo>
                <a:lnTo>
                  <a:pt x="5964" y="11767"/>
                </a:lnTo>
                <a:lnTo>
                  <a:pt x="6237" y="11767"/>
                </a:lnTo>
                <a:lnTo>
                  <a:pt x="6237" y="12012"/>
                </a:lnTo>
                <a:lnTo>
                  <a:pt x="5233" y="12012"/>
                </a:lnTo>
                <a:lnTo>
                  <a:pt x="5233" y="11767"/>
                </a:lnTo>
                <a:lnTo>
                  <a:pt x="5515" y="11767"/>
                </a:lnTo>
                <a:lnTo>
                  <a:pt x="5586" y="11021"/>
                </a:lnTo>
                <a:close/>
                <a:moveTo>
                  <a:pt x="5981" y="8531"/>
                </a:moveTo>
                <a:lnTo>
                  <a:pt x="4987" y="8531"/>
                </a:lnTo>
                <a:lnTo>
                  <a:pt x="4987" y="8286"/>
                </a:lnTo>
                <a:lnTo>
                  <a:pt x="4741" y="8286"/>
                </a:lnTo>
                <a:lnTo>
                  <a:pt x="4741" y="8040"/>
                </a:lnTo>
                <a:lnTo>
                  <a:pt x="6237" y="8040"/>
                </a:lnTo>
                <a:lnTo>
                  <a:pt x="6237" y="8286"/>
                </a:lnTo>
                <a:lnTo>
                  <a:pt x="5981" y="8286"/>
                </a:lnTo>
                <a:lnTo>
                  <a:pt x="5981" y="8531"/>
                </a:lnTo>
                <a:close/>
                <a:moveTo>
                  <a:pt x="2991" y="8531"/>
                </a:moveTo>
                <a:lnTo>
                  <a:pt x="1997" y="8531"/>
                </a:lnTo>
                <a:lnTo>
                  <a:pt x="1997" y="8286"/>
                </a:lnTo>
                <a:lnTo>
                  <a:pt x="1751" y="8286"/>
                </a:lnTo>
                <a:lnTo>
                  <a:pt x="1751" y="8040"/>
                </a:lnTo>
                <a:lnTo>
                  <a:pt x="3245" y="8040"/>
                </a:lnTo>
                <a:lnTo>
                  <a:pt x="3245" y="8286"/>
                </a:lnTo>
                <a:lnTo>
                  <a:pt x="2991" y="8286"/>
                </a:lnTo>
                <a:lnTo>
                  <a:pt x="2991" y="8531"/>
                </a:lnTo>
                <a:close/>
                <a:moveTo>
                  <a:pt x="2102" y="11021"/>
                </a:moveTo>
                <a:lnTo>
                  <a:pt x="2392" y="11021"/>
                </a:lnTo>
                <a:lnTo>
                  <a:pt x="2471" y="11767"/>
                </a:lnTo>
                <a:lnTo>
                  <a:pt x="2745" y="11767"/>
                </a:lnTo>
                <a:lnTo>
                  <a:pt x="2745" y="12012"/>
                </a:lnTo>
                <a:lnTo>
                  <a:pt x="1751" y="12012"/>
                </a:lnTo>
                <a:lnTo>
                  <a:pt x="1751" y="11767"/>
                </a:lnTo>
                <a:lnTo>
                  <a:pt x="2023" y="11767"/>
                </a:lnTo>
                <a:lnTo>
                  <a:pt x="2102" y="11021"/>
                </a:lnTo>
                <a:close/>
                <a:moveTo>
                  <a:pt x="246" y="8531"/>
                </a:moveTo>
                <a:lnTo>
                  <a:pt x="502" y="8531"/>
                </a:lnTo>
                <a:lnTo>
                  <a:pt x="502" y="8531"/>
                </a:lnTo>
                <a:lnTo>
                  <a:pt x="475" y="8602"/>
                </a:lnTo>
                <a:lnTo>
                  <a:pt x="431" y="8786"/>
                </a:lnTo>
                <a:lnTo>
                  <a:pt x="836" y="8786"/>
                </a:lnTo>
                <a:lnTo>
                  <a:pt x="836" y="8786"/>
                </a:lnTo>
                <a:lnTo>
                  <a:pt x="880" y="8733"/>
                </a:lnTo>
                <a:lnTo>
                  <a:pt x="915" y="8681"/>
                </a:lnTo>
                <a:lnTo>
                  <a:pt x="968" y="8637"/>
                </a:lnTo>
                <a:lnTo>
                  <a:pt x="1011" y="8602"/>
                </a:lnTo>
                <a:lnTo>
                  <a:pt x="1064" y="8576"/>
                </a:lnTo>
                <a:lnTo>
                  <a:pt x="1108" y="8549"/>
                </a:lnTo>
                <a:lnTo>
                  <a:pt x="1170" y="8540"/>
                </a:lnTo>
                <a:lnTo>
                  <a:pt x="1223" y="8531"/>
                </a:lnTo>
                <a:lnTo>
                  <a:pt x="6755" y="8531"/>
                </a:lnTo>
                <a:lnTo>
                  <a:pt x="6755" y="8531"/>
                </a:lnTo>
                <a:lnTo>
                  <a:pt x="6800" y="8540"/>
                </a:lnTo>
                <a:lnTo>
                  <a:pt x="6843" y="8549"/>
                </a:lnTo>
                <a:lnTo>
                  <a:pt x="6888" y="8558"/>
                </a:lnTo>
                <a:lnTo>
                  <a:pt x="6932" y="8576"/>
                </a:lnTo>
                <a:lnTo>
                  <a:pt x="7011" y="8628"/>
                </a:lnTo>
                <a:lnTo>
                  <a:pt x="7081" y="8698"/>
                </a:lnTo>
                <a:lnTo>
                  <a:pt x="7142" y="8777"/>
                </a:lnTo>
                <a:lnTo>
                  <a:pt x="7204" y="8873"/>
                </a:lnTo>
                <a:lnTo>
                  <a:pt x="7257" y="8978"/>
                </a:lnTo>
                <a:lnTo>
                  <a:pt x="7301" y="9093"/>
                </a:lnTo>
                <a:lnTo>
                  <a:pt x="7345" y="9216"/>
                </a:lnTo>
                <a:lnTo>
                  <a:pt x="7381" y="9338"/>
                </a:lnTo>
                <a:lnTo>
                  <a:pt x="7415" y="9461"/>
                </a:lnTo>
                <a:lnTo>
                  <a:pt x="7441" y="9583"/>
                </a:lnTo>
                <a:lnTo>
                  <a:pt x="7469" y="9821"/>
                </a:lnTo>
                <a:lnTo>
                  <a:pt x="7486" y="10022"/>
                </a:lnTo>
                <a:lnTo>
                  <a:pt x="7486" y="10022"/>
                </a:lnTo>
                <a:lnTo>
                  <a:pt x="7469" y="10233"/>
                </a:lnTo>
                <a:lnTo>
                  <a:pt x="7441" y="10469"/>
                </a:lnTo>
                <a:lnTo>
                  <a:pt x="7415" y="10592"/>
                </a:lnTo>
                <a:lnTo>
                  <a:pt x="7381" y="10714"/>
                </a:lnTo>
                <a:lnTo>
                  <a:pt x="7345" y="10838"/>
                </a:lnTo>
                <a:lnTo>
                  <a:pt x="7301" y="10960"/>
                </a:lnTo>
                <a:lnTo>
                  <a:pt x="7257" y="11074"/>
                </a:lnTo>
                <a:lnTo>
                  <a:pt x="7204" y="11179"/>
                </a:lnTo>
                <a:lnTo>
                  <a:pt x="7142" y="11267"/>
                </a:lnTo>
                <a:lnTo>
                  <a:pt x="7081" y="11355"/>
                </a:lnTo>
                <a:lnTo>
                  <a:pt x="7011" y="11424"/>
                </a:lnTo>
                <a:lnTo>
                  <a:pt x="6932" y="11478"/>
                </a:lnTo>
                <a:lnTo>
                  <a:pt x="6888" y="11495"/>
                </a:lnTo>
                <a:lnTo>
                  <a:pt x="6843" y="11503"/>
                </a:lnTo>
                <a:lnTo>
                  <a:pt x="6800" y="11512"/>
                </a:lnTo>
                <a:lnTo>
                  <a:pt x="6755" y="11521"/>
                </a:lnTo>
                <a:lnTo>
                  <a:pt x="6184" y="11521"/>
                </a:lnTo>
                <a:lnTo>
                  <a:pt x="6026" y="10776"/>
                </a:lnTo>
                <a:lnTo>
                  <a:pt x="5445" y="10776"/>
                </a:lnTo>
                <a:lnTo>
                  <a:pt x="5287" y="11521"/>
                </a:lnTo>
                <a:lnTo>
                  <a:pt x="2692" y="11521"/>
                </a:lnTo>
                <a:lnTo>
                  <a:pt x="2542" y="10776"/>
                </a:lnTo>
                <a:lnTo>
                  <a:pt x="1953" y="10776"/>
                </a:lnTo>
                <a:lnTo>
                  <a:pt x="1794" y="11521"/>
                </a:lnTo>
                <a:lnTo>
                  <a:pt x="1223" y="11521"/>
                </a:lnTo>
                <a:lnTo>
                  <a:pt x="1223" y="11521"/>
                </a:lnTo>
                <a:lnTo>
                  <a:pt x="1170" y="11512"/>
                </a:lnTo>
                <a:lnTo>
                  <a:pt x="1108" y="11495"/>
                </a:lnTo>
                <a:lnTo>
                  <a:pt x="1064" y="11478"/>
                </a:lnTo>
                <a:lnTo>
                  <a:pt x="1011" y="11451"/>
                </a:lnTo>
                <a:lnTo>
                  <a:pt x="968" y="11416"/>
                </a:lnTo>
                <a:lnTo>
                  <a:pt x="915" y="11372"/>
                </a:lnTo>
                <a:lnTo>
                  <a:pt x="880" y="11319"/>
                </a:lnTo>
                <a:lnTo>
                  <a:pt x="836" y="11267"/>
                </a:lnTo>
                <a:lnTo>
                  <a:pt x="431" y="11267"/>
                </a:lnTo>
                <a:lnTo>
                  <a:pt x="431" y="11267"/>
                </a:lnTo>
                <a:lnTo>
                  <a:pt x="475" y="11451"/>
                </a:lnTo>
                <a:lnTo>
                  <a:pt x="502" y="11521"/>
                </a:lnTo>
                <a:lnTo>
                  <a:pt x="246" y="11521"/>
                </a:lnTo>
                <a:lnTo>
                  <a:pt x="246" y="11521"/>
                </a:lnTo>
                <a:lnTo>
                  <a:pt x="211" y="11390"/>
                </a:lnTo>
                <a:lnTo>
                  <a:pt x="176" y="11240"/>
                </a:lnTo>
                <a:lnTo>
                  <a:pt x="123" y="11048"/>
                </a:lnTo>
                <a:lnTo>
                  <a:pt x="79" y="10828"/>
                </a:lnTo>
                <a:lnTo>
                  <a:pt x="44" y="10574"/>
                </a:lnTo>
                <a:lnTo>
                  <a:pt x="9" y="10302"/>
                </a:lnTo>
                <a:lnTo>
                  <a:pt x="0" y="10162"/>
                </a:lnTo>
                <a:lnTo>
                  <a:pt x="0" y="10022"/>
                </a:lnTo>
                <a:lnTo>
                  <a:pt x="0" y="10022"/>
                </a:lnTo>
                <a:lnTo>
                  <a:pt x="0" y="9881"/>
                </a:lnTo>
                <a:lnTo>
                  <a:pt x="9" y="9750"/>
                </a:lnTo>
                <a:lnTo>
                  <a:pt x="44" y="9478"/>
                </a:lnTo>
                <a:lnTo>
                  <a:pt x="79" y="9224"/>
                </a:lnTo>
                <a:lnTo>
                  <a:pt x="123" y="8997"/>
                </a:lnTo>
                <a:lnTo>
                  <a:pt x="176" y="8812"/>
                </a:lnTo>
                <a:lnTo>
                  <a:pt x="211" y="8663"/>
                </a:lnTo>
                <a:lnTo>
                  <a:pt x="246" y="8531"/>
                </a:lnTo>
                <a:lnTo>
                  <a:pt x="246" y="8531"/>
                </a:lnTo>
                <a:close/>
                <a:moveTo>
                  <a:pt x="6237" y="9276"/>
                </a:moveTo>
                <a:lnTo>
                  <a:pt x="6237" y="9276"/>
                </a:lnTo>
                <a:lnTo>
                  <a:pt x="6483" y="9276"/>
                </a:lnTo>
                <a:lnTo>
                  <a:pt x="6483" y="9276"/>
                </a:lnTo>
                <a:lnTo>
                  <a:pt x="6562" y="9285"/>
                </a:lnTo>
                <a:lnTo>
                  <a:pt x="6642" y="9295"/>
                </a:lnTo>
                <a:lnTo>
                  <a:pt x="6712" y="9312"/>
                </a:lnTo>
                <a:lnTo>
                  <a:pt x="6774" y="9338"/>
                </a:lnTo>
                <a:lnTo>
                  <a:pt x="6834" y="9364"/>
                </a:lnTo>
                <a:lnTo>
                  <a:pt x="6888" y="9390"/>
                </a:lnTo>
                <a:lnTo>
                  <a:pt x="6984" y="9461"/>
                </a:lnTo>
                <a:lnTo>
                  <a:pt x="7072" y="9549"/>
                </a:lnTo>
                <a:lnTo>
                  <a:pt x="7142" y="9628"/>
                </a:lnTo>
                <a:lnTo>
                  <a:pt x="7195" y="9707"/>
                </a:lnTo>
                <a:lnTo>
                  <a:pt x="7231" y="9776"/>
                </a:lnTo>
                <a:lnTo>
                  <a:pt x="7231" y="9776"/>
                </a:lnTo>
                <a:lnTo>
                  <a:pt x="7213" y="9662"/>
                </a:lnTo>
                <a:lnTo>
                  <a:pt x="7187" y="9549"/>
                </a:lnTo>
                <a:lnTo>
                  <a:pt x="7152" y="9417"/>
                </a:lnTo>
                <a:lnTo>
                  <a:pt x="7099" y="9303"/>
                </a:lnTo>
                <a:lnTo>
                  <a:pt x="7072" y="9242"/>
                </a:lnTo>
                <a:lnTo>
                  <a:pt x="7037" y="9198"/>
                </a:lnTo>
                <a:lnTo>
                  <a:pt x="6993" y="9145"/>
                </a:lnTo>
                <a:lnTo>
                  <a:pt x="6949" y="9110"/>
                </a:lnTo>
                <a:lnTo>
                  <a:pt x="6905" y="9075"/>
                </a:lnTo>
                <a:lnTo>
                  <a:pt x="6853" y="9049"/>
                </a:lnTo>
                <a:lnTo>
                  <a:pt x="6800" y="9040"/>
                </a:lnTo>
                <a:lnTo>
                  <a:pt x="6729" y="9031"/>
                </a:lnTo>
                <a:lnTo>
                  <a:pt x="6729" y="9031"/>
                </a:lnTo>
                <a:lnTo>
                  <a:pt x="6237" y="9031"/>
                </a:lnTo>
                <a:lnTo>
                  <a:pt x="1099" y="9023"/>
                </a:lnTo>
                <a:lnTo>
                  <a:pt x="1003" y="9276"/>
                </a:lnTo>
                <a:lnTo>
                  <a:pt x="6237" y="9276"/>
                </a:lnTo>
                <a:close/>
                <a:moveTo>
                  <a:pt x="370" y="9031"/>
                </a:moveTo>
                <a:lnTo>
                  <a:pt x="370" y="9031"/>
                </a:lnTo>
                <a:lnTo>
                  <a:pt x="325" y="9268"/>
                </a:lnTo>
                <a:lnTo>
                  <a:pt x="282" y="9531"/>
                </a:lnTo>
                <a:lnTo>
                  <a:pt x="554" y="9531"/>
                </a:lnTo>
                <a:lnTo>
                  <a:pt x="554" y="9531"/>
                </a:lnTo>
                <a:lnTo>
                  <a:pt x="581" y="9400"/>
                </a:lnTo>
                <a:lnTo>
                  <a:pt x="616" y="9276"/>
                </a:lnTo>
                <a:lnTo>
                  <a:pt x="660" y="9154"/>
                </a:lnTo>
                <a:lnTo>
                  <a:pt x="703" y="9031"/>
                </a:lnTo>
                <a:lnTo>
                  <a:pt x="370" y="9031"/>
                </a:lnTo>
                <a:close/>
                <a:moveTo>
                  <a:pt x="370" y="11021"/>
                </a:moveTo>
                <a:lnTo>
                  <a:pt x="703" y="11021"/>
                </a:lnTo>
                <a:lnTo>
                  <a:pt x="703" y="11021"/>
                </a:lnTo>
                <a:lnTo>
                  <a:pt x="660" y="10899"/>
                </a:lnTo>
                <a:lnTo>
                  <a:pt x="616" y="10776"/>
                </a:lnTo>
                <a:lnTo>
                  <a:pt x="581" y="10653"/>
                </a:lnTo>
                <a:lnTo>
                  <a:pt x="554" y="10521"/>
                </a:lnTo>
                <a:lnTo>
                  <a:pt x="282" y="10521"/>
                </a:lnTo>
                <a:lnTo>
                  <a:pt x="282" y="10521"/>
                </a:lnTo>
                <a:lnTo>
                  <a:pt x="325" y="10785"/>
                </a:lnTo>
                <a:lnTo>
                  <a:pt x="370" y="11021"/>
                </a:lnTo>
                <a:lnTo>
                  <a:pt x="370" y="11021"/>
                </a:lnTo>
                <a:close/>
                <a:moveTo>
                  <a:pt x="255" y="10276"/>
                </a:moveTo>
                <a:lnTo>
                  <a:pt x="519" y="10276"/>
                </a:lnTo>
                <a:lnTo>
                  <a:pt x="519" y="10276"/>
                </a:lnTo>
                <a:lnTo>
                  <a:pt x="502" y="10145"/>
                </a:lnTo>
                <a:lnTo>
                  <a:pt x="502" y="10022"/>
                </a:lnTo>
                <a:lnTo>
                  <a:pt x="502" y="10022"/>
                </a:lnTo>
                <a:lnTo>
                  <a:pt x="502" y="9908"/>
                </a:lnTo>
                <a:lnTo>
                  <a:pt x="519" y="9776"/>
                </a:lnTo>
                <a:lnTo>
                  <a:pt x="255" y="9776"/>
                </a:lnTo>
                <a:lnTo>
                  <a:pt x="255" y="9776"/>
                </a:lnTo>
                <a:lnTo>
                  <a:pt x="246" y="10022"/>
                </a:lnTo>
                <a:lnTo>
                  <a:pt x="246" y="10022"/>
                </a:lnTo>
                <a:lnTo>
                  <a:pt x="255" y="10276"/>
                </a:lnTo>
                <a:lnTo>
                  <a:pt x="255" y="10276"/>
                </a:lnTo>
                <a:close/>
                <a:moveTo>
                  <a:pt x="10626" y="11021"/>
                </a:moveTo>
                <a:lnTo>
                  <a:pt x="10327" y="11021"/>
                </a:lnTo>
                <a:lnTo>
                  <a:pt x="10248" y="11767"/>
                </a:lnTo>
                <a:lnTo>
                  <a:pt x="9975" y="11767"/>
                </a:lnTo>
                <a:lnTo>
                  <a:pt x="9975" y="12012"/>
                </a:lnTo>
                <a:lnTo>
                  <a:pt x="10979" y="12012"/>
                </a:lnTo>
                <a:lnTo>
                  <a:pt x="10979" y="11767"/>
                </a:lnTo>
                <a:lnTo>
                  <a:pt x="10697" y="11767"/>
                </a:lnTo>
                <a:lnTo>
                  <a:pt x="10626" y="11021"/>
                </a:lnTo>
                <a:close/>
                <a:moveTo>
                  <a:pt x="10231" y="8531"/>
                </a:moveTo>
                <a:lnTo>
                  <a:pt x="11225" y="8531"/>
                </a:lnTo>
                <a:lnTo>
                  <a:pt x="11225" y="8286"/>
                </a:lnTo>
                <a:lnTo>
                  <a:pt x="11471" y="8286"/>
                </a:lnTo>
                <a:lnTo>
                  <a:pt x="11471" y="8040"/>
                </a:lnTo>
                <a:lnTo>
                  <a:pt x="9975" y="8040"/>
                </a:lnTo>
                <a:lnTo>
                  <a:pt x="9975" y="8286"/>
                </a:lnTo>
                <a:lnTo>
                  <a:pt x="10231" y="8286"/>
                </a:lnTo>
                <a:lnTo>
                  <a:pt x="10231" y="8531"/>
                </a:lnTo>
                <a:close/>
                <a:moveTo>
                  <a:pt x="13221" y="8531"/>
                </a:moveTo>
                <a:lnTo>
                  <a:pt x="14215" y="8531"/>
                </a:lnTo>
                <a:lnTo>
                  <a:pt x="14215" y="8286"/>
                </a:lnTo>
                <a:lnTo>
                  <a:pt x="14461" y="8286"/>
                </a:lnTo>
                <a:lnTo>
                  <a:pt x="14461" y="8040"/>
                </a:lnTo>
                <a:lnTo>
                  <a:pt x="12967" y="8040"/>
                </a:lnTo>
                <a:lnTo>
                  <a:pt x="12967" y="8286"/>
                </a:lnTo>
                <a:lnTo>
                  <a:pt x="13221" y="8286"/>
                </a:lnTo>
                <a:lnTo>
                  <a:pt x="13221" y="8531"/>
                </a:lnTo>
                <a:close/>
                <a:moveTo>
                  <a:pt x="14110" y="11021"/>
                </a:moveTo>
                <a:lnTo>
                  <a:pt x="13820" y="11021"/>
                </a:lnTo>
                <a:lnTo>
                  <a:pt x="13741" y="11767"/>
                </a:lnTo>
                <a:lnTo>
                  <a:pt x="13467" y="11767"/>
                </a:lnTo>
                <a:lnTo>
                  <a:pt x="13467" y="12012"/>
                </a:lnTo>
                <a:lnTo>
                  <a:pt x="14461" y="12012"/>
                </a:lnTo>
                <a:lnTo>
                  <a:pt x="14461" y="11767"/>
                </a:lnTo>
                <a:lnTo>
                  <a:pt x="14189" y="11767"/>
                </a:lnTo>
                <a:lnTo>
                  <a:pt x="14110" y="11021"/>
                </a:lnTo>
                <a:close/>
                <a:moveTo>
                  <a:pt x="15966" y="8531"/>
                </a:moveTo>
                <a:lnTo>
                  <a:pt x="15710" y="8531"/>
                </a:lnTo>
                <a:lnTo>
                  <a:pt x="15710" y="8531"/>
                </a:lnTo>
                <a:lnTo>
                  <a:pt x="15737" y="8602"/>
                </a:lnTo>
                <a:lnTo>
                  <a:pt x="15781" y="8786"/>
                </a:lnTo>
                <a:lnTo>
                  <a:pt x="15376" y="8786"/>
                </a:lnTo>
                <a:lnTo>
                  <a:pt x="15376" y="8786"/>
                </a:lnTo>
                <a:lnTo>
                  <a:pt x="15332" y="8733"/>
                </a:lnTo>
                <a:lnTo>
                  <a:pt x="15297" y="8681"/>
                </a:lnTo>
                <a:lnTo>
                  <a:pt x="15244" y="8637"/>
                </a:lnTo>
                <a:lnTo>
                  <a:pt x="15201" y="8602"/>
                </a:lnTo>
                <a:lnTo>
                  <a:pt x="15148" y="8576"/>
                </a:lnTo>
                <a:lnTo>
                  <a:pt x="15104" y="8549"/>
                </a:lnTo>
                <a:lnTo>
                  <a:pt x="15042" y="8540"/>
                </a:lnTo>
                <a:lnTo>
                  <a:pt x="14989" y="8531"/>
                </a:lnTo>
                <a:lnTo>
                  <a:pt x="9457" y="8531"/>
                </a:lnTo>
                <a:lnTo>
                  <a:pt x="9457" y="8531"/>
                </a:lnTo>
                <a:lnTo>
                  <a:pt x="9412" y="8540"/>
                </a:lnTo>
                <a:lnTo>
                  <a:pt x="9369" y="8549"/>
                </a:lnTo>
                <a:lnTo>
                  <a:pt x="9324" y="8558"/>
                </a:lnTo>
                <a:lnTo>
                  <a:pt x="9280" y="8576"/>
                </a:lnTo>
                <a:lnTo>
                  <a:pt x="9201" y="8628"/>
                </a:lnTo>
                <a:lnTo>
                  <a:pt x="9131" y="8698"/>
                </a:lnTo>
                <a:lnTo>
                  <a:pt x="9070" y="8777"/>
                </a:lnTo>
                <a:lnTo>
                  <a:pt x="9008" y="8873"/>
                </a:lnTo>
                <a:lnTo>
                  <a:pt x="8955" y="8978"/>
                </a:lnTo>
                <a:lnTo>
                  <a:pt x="8911" y="9093"/>
                </a:lnTo>
                <a:lnTo>
                  <a:pt x="8867" y="9216"/>
                </a:lnTo>
                <a:lnTo>
                  <a:pt x="8831" y="9338"/>
                </a:lnTo>
                <a:lnTo>
                  <a:pt x="8796" y="9461"/>
                </a:lnTo>
                <a:lnTo>
                  <a:pt x="8771" y="9583"/>
                </a:lnTo>
                <a:lnTo>
                  <a:pt x="8743" y="9821"/>
                </a:lnTo>
                <a:lnTo>
                  <a:pt x="8726" y="10022"/>
                </a:lnTo>
                <a:lnTo>
                  <a:pt x="8726" y="10022"/>
                </a:lnTo>
                <a:lnTo>
                  <a:pt x="8743" y="10233"/>
                </a:lnTo>
                <a:lnTo>
                  <a:pt x="8771" y="10469"/>
                </a:lnTo>
                <a:lnTo>
                  <a:pt x="8796" y="10592"/>
                </a:lnTo>
                <a:lnTo>
                  <a:pt x="8831" y="10714"/>
                </a:lnTo>
                <a:lnTo>
                  <a:pt x="8867" y="10838"/>
                </a:lnTo>
                <a:lnTo>
                  <a:pt x="8911" y="10960"/>
                </a:lnTo>
                <a:lnTo>
                  <a:pt x="8955" y="11074"/>
                </a:lnTo>
                <a:lnTo>
                  <a:pt x="9008" y="11179"/>
                </a:lnTo>
                <a:lnTo>
                  <a:pt x="9070" y="11267"/>
                </a:lnTo>
                <a:lnTo>
                  <a:pt x="9131" y="11355"/>
                </a:lnTo>
                <a:lnTo>
                  <a:pt x="9201" y="11424"/>
                </a:lnTo>
                <a:lnTo>
                  <a:pt x="9280" y="11478"/>
                </a:lnTo>
                <a:lnTo>
                  <a:pt x="9324" y="11495"/>
                </a:lnTo>
                <a:lnTo>
                  <a:pt x="9369" y="11503"/>
                </a:lnTo>
                <a:lnTo>
                  <a:pt x="9412" y="11512"/>
                </a:lnTo>
                <a:lnTo>
                  <a:pt x="9457" y="11521"/>
                </a:lnTo>
                <a:lnTo>
                  <a:pt x="10028" y="11521"/>
                </a:lnTo>
                <a:lnTo>
                  <a:pt x="10186" y="10776"/>
                </a:lnTo>
                <a:lnTo>
                  <a:pt x="10767" y="10776"/>
                </a:lnTo>
                <a:lnTo>
                  <a:pt x="10925" y="11521"/>
                </a:lnTo>
                <a:lnTo>
                  <a:pt x="13520" y="11521"/>
                </a:lnTo>
                <a:lnTo>
                  <a:pt x="13670" y="10776"/>
                </a:lnTo>
                <a:lnTo>
                  <a:pt x="14259" y="10776"/>
                </a:lnTo>
                <a:lnTo>
                  <a:pt x="14418" y="11521"/>
                </a:lnTo>
                <a:lnTo>
                  <a:pt x="14989" y="11521"/>
                </a:lnTo>
                <a:lnTo>
                  <a:pt x="14989" y="11521"/>
                </a:lnTo>
                <a:lnTo>
                  <a:pt x="15042" y="11512"/>
                </a:lnTo>
                <a:lnTo>
                  <a:pt x="15104" y="11495"/>
                </a:lnTo>
                <a:lnTo>
                  <a:pt x="15148" y="11478"/>
                </a:lnTo>
                <a:lnTo>
                  <a:pt x="15201" y="11451"/>
                </a:lnTo>
                <a:lnTo>
                  <a:pt x="15244" y="11416"/>
                </a:lnTo>
                <a:lnTo>
                  <a:pt x="15297" y="11372"/>
                </a:lnTo>
                <a:lnTo>
                  <a:pt x="15332" y="11319"/>
                </a:lnTo>
                <a:lnTo>
                  <a:pt x="15376" y="11267"/>
                </a:lnTo>
                <a:lnTo>
                  <a:pt x="15781" y="11267"/>
                </a:lnTo>
                <a:lnTo>
                  <a:pt x="15781" y="11267"/>
                </a:lnTo>
                <a:lnTo>
                  <a:pt x="15737" y="11451"/>
                </a:lnTo>
                <a:lnTo>
                  <a:pt x="15710" y="11521"/>
                </a:lnTo>
                <a:lnTo>
                  <a:pt x="15966" y="11521"/>
                </a:lnTo>
                <a:lnTo>
                  <a:pt x="15966" y="11521"/>
                </a:lnTo>
                <a:lnTo>
                  <a:pt x="16001" y="11390"/>
                </a:lnTo>
                <a:lnTo>
                  <a:pt x="16036" y="11240"/>
                </a:lnTo>
                <a:lnTo>
                  <a:pt x="16088" y="11048"/>
                </a:lnTo>
                <a:lnTo>
                  <a:pt x="16133" y="10828"/>
                </a:lnTo>
                <a:lnTo>
                  <a:pt x="16168" y="10574"/>
                </a:lnTo>
                <a:lnTo>
                  <a:pt x="16203" y="10302"/>
                </a:lnTo>
                <a:lnTo>
                  <a:pt x="16212" y="10162"/>
                </a:lnTo>
                <a:lnTo>
                  <a:pt x="16212" y="10022"/>
                </a:lnTo>
                <a:lnTo>
                  <a:pt x="16212" y="10022"/>
                </a:lnTo>
                <a:lnTo>
                  <a:pt x="16212" y="9881"/>
                </a:lnTo>
                <a:lnTo>
                  <a:pt x="16203" y="9750"/>
                </a:lnTo>
                <a:lnTo>
                  <a:pt x="16168" y="9478"/>
                </a:lnTo>
                <a:lnTo>
                  <a:pt x="16133" y="9224"/>
                </a:lnTo>
                <a:lnTo>
                  <a:pt x="16088" y="8997"/>
                </a:lnTo>
                <a:lnTo>
                  <a:pt x="16036" y="8812"/>
                </a:lnTo>
                <a:lnTo>
                  <a:pt x="16001" y="8663"/>
                </a:lnTo>
                <a:lnTo>
                  <a:pt x="15966" y="8531"/>
                </a:lnTo>
                <a:lnTo>
                  <a:pt x="15966" y="8531"/>
                </a:lnTo>
                <a:close/>
                <a:moveTo>
                  <a:pt x="9975" y="9276"/>
                </a:moveTo>
                <a:lnTo>
                  <a:pt x="9975" y="9276"/>
                </a:lnTo>
                <a:lnTo>
                  <a:pt x="9729" y="9276"/>
                </a:lnTo>
                <a:lnTo>
                  <a:pt x="9729" y="9276"/>
                </a:lnTo>
                <a:lnTo>
                  <a:pt x="9650" y="9285"/>
                </a:lnTo>
                <a:lnTo>
                  <a:pt x="9571" y="9295"/>
                </a:lnTo>
                <a:lnTo>
                  <a:pt x="9500" y="9312"/>
                </a:lnTo>
                <a:lnTo>
                  <a:pt x="9438" y="9338"/>
                </a:lnTo>
                <a:lnTo>
                  <a:pt x="9377" y="9364"/>
                </a:lnTo>
                <a:lnTo>
                  <a:pt x="9324" y="9390"/>
                </a:lnTo>
                <a:lnTo>
                  <a:pt x="9228" y="9461"/>
                </a:lnTo>
                <a:lnTo>
                  <a:pt x="9140" y="9549"/>
                </a:lnTo>
                <a:lnTo>
                  <a:pt x="9070" y="9628"/>
                </a:lnTo>
                <a:lnTo>
                  <a:pt x="9017" y="9707"/>
                </a:lnTo>
                <a:lnTo>
                  <a:pt x="8981" y="9776"/>
                </a:lnTo>
                <a:lnTo>
                  <a:pt x="8981" y="9776"/>
                </a:lnTo>
                <a:lnTo>
                  <a:pt x="8999" y="9662"/>
                </a:lnTo>
                <a:lnTo>
                  <a:pt x="9025" y="9549"/>
                </a:lnTo>
                <a:lnTo>
                  <a:pt x="9060" y="9417"/>
                </a:lnTo>
                <a:lnTo>
                  <a:pt x="9113" y="9303"/>
                </a:lnTo>
                <a:lnTo>
                  <a:pt x="9140" y="9242"/>
                </a:lnTo>
                <a:lnTo>
                  <a:pt x="9175" y="9198"/>
                </a:lnTo>
                <a:lnTo>
                  <a:pt x="9219" y="9145"/>
                </a:lnTo>
                <a:lnTo>
                  <a:pt x="9263" y="9110"/>
                </a:lnTo>
                <a:lnTo>
                  <a:pt x="9307" y="9075"/>
                </a:lnTo>
                <a:lnTo>
                  <a:pt x="9359" y="9049"/>
                </a:lnTo>
                <a:lnTo>
                  <a:pt x="9412" y="9040"/>
                </a:lnTo>
                <a:lnTo>
                  <a:pt x="9483" y="9031"/>
                </a:lnTo>
                <a:lnTo>
                  <a:pt x="9483" y="9031"/>
                </a:lnTo>
                <a:lnTo>
                  <a:pt x="9975" y="9031"/>
                </a:lnTo>
                <a:lnTo>
                  <a:pt x="15113" y="9023"/>
                </a:lnTo>
                <a:lnTo>
                  <a:pt x="15209" y="9276"/>
                </a:lnTo>
                <a:lnTo>
                  <a:pt x="9975" y="9276"/>
                </a:lnTo>
                <a:close/>
                <a:moveTo>
                  <a:pt x="15842" y="9031"/>
                </a:moveTo>
                <a:lnTo>
                  <a:pt x="15842" y="9031"/>
                </a:lnTo>
                <a:lnTo>
                  <a:pt x="15887" y="9268"/>
                </a:lnTo>
                <a:lnTo>
                  <a:pt x="15930" y="9531"/>
                </a:lnTo>
                <a:lnTo>
                  <a:pt x="15658" y="9531"/>
                </a:lnTo>
                <a:lnTo>
                  <a:pt x="15658" y="9531"/>
                </a:lnTo>
                <a:lnTo>
                  <a:pt x="15631" y="9400"/>
                </a:lnTo>
                <a:lnTo>
                  <a:pt x="15596" y="9276"/>
                </a:lnTo>
                <a:lnTo>
                  <a:pt x="15552" y="9154"/>
                </a:lnTo>
                <a:lnTo>
                  <a:pt x="15508" y="9031"/>
                </a:lnTo>
                <a:lnTo>
                  <a:pt x="15842" y="9031"/>
                </a:lnTo>
                <a:close/>
                <a:moveTo>
                  <a:pt x="15842" y="11021"/>
                </a:moveTo>
                <a:lnTo>
                  <a:pt x="15508" y="11021"/>
                </a:lnTo>
                <a:lnTo>
                  <a:pt x="15508" y="11021"/>
                </a:lnTo>
                <a:lnTo>
                  <a:pt x="15552" y="10899"/>
                </a:lnTo>
                <a:lnTo>
                  <a:pt x="15596" y="10776"/>
                </a:lnTo>
                <a:lnTo>
                  <a:pt x="15631" y="10653"/>
                </a:lnTo>
                <a:lnTo>
                  <a:pt x="15658" y="10521"/>
                </a:lnTo>
                <a:lnTo>
                  <a:pt x="15930" y="10521"/>
                </a:lnTo>
                <a:lnTo>
                  <a:pt x="15930" y="10521"/>
                </a:lnTo>
                <a:lnTo>
                  <a:pt x="15887" y="10785"/>
                </a:lnTo>
                <a:lnTo>
                  <a:pt x="15842" y="11021"/>
                </a:lnTo>
                <a:lnTo>
                  <a:pt x="15842" y="11021"/>
                </a:lnTo>
                <a:close/>
                <a:moveTo>
                  <a:pt x="15957" y="10276"/>
                </a:moveTo>
                <a:lnTo>
                  <a:pt x="15693" y="10276"/>
                </a:lnTo>
                <a:lnTo>
                  <a:pt x="15693" y="10276"/>
                </a:lnTo>
                <a:lnTo>
                  <a:pt x="15710" y="10145"/>
                </a:lnTo>
                <a:lnTo>
                  <a:pt x="15710" y="10022"/>
                </a:lnTo>
                <a:lnTo>
                  <a:pt x="15710" y="10022"/>
                </a:lnTo>
                <a:lnTo>
                  <a:pt x="15710" y="9908"/>
                </a:lnTo>
                <a:lnTo>
                  <a:pt x="15693" y="9776"/>
                </a:lnTo>
                <a:lnTo>
                  <a:pt x="15957" y="9776"/>
                </a:lnTo>
                <a:lnTo>
                  <a:pt x="15957" y="9776"/>
                </a:lnTo>
                <a:lnTo>
                  <a:pt x="15966" y="10022"/>
                </a:lnTo>
                <a:lnTo>
                  <a:pt x="15966" y="10022"/>
                </a:lnTo>
                <a:lnTo>
                  <a:pt x="15957" y="10276"/>
                </a:lnTo>
                <a:lnTo>
                  <a:pt x="15957" y="10276"/>
                </a:lnTo>
                <a:close/>
                <a:moveTo>
                  <a:pt x="3714" y="3447"/>
                </a:moveTo>
                <a:lnTo>
                  <a:pt x="4986" y="3447"/>
                </a:lnTo>
                <a:lnTo>
                  <a:pt x="4986" y="4862"/>
                </a:lnTo>
                <a:lnTo>
                  <a:pt x="3714" y="4862"/>
                </a:lnTo>
                <a:lnTo>
                  <a:pt x="3714" y="3447"/>
                </a:lnTo>
                <a:close/>
                <a:moveTo>
                  <a:pt x="7171" y="5475"/>
                </a:moveTo>
                <a:lnTo>
                  <a:pt x="8443" y="5475"/>
                </a:lnTo>
                <a:lnTo>
                  <a:pt x="8443" y="6891"/>
                </a:lnTo>
                <a:lnTo>
                  <a:pt x="7171" y="6891"/>
                </a:lnTo>
                <a:lnTo>
                  <a:pt x="7171" y="5475"/>
                </a:lnTo>
                <a:close/>
                <a:moveTo>
                  <a:pt x="5442" y="5475"/>
                </a:moveTo>
                <a:lnTo>
                  <a:pt x="6715" y="5475"/>
                </a:lnTo>
                <a:lnTo>
                  <a:pt x="6715" y="6891"/>
                </a:lnTo>
                <a:lnTo>
                  <a:pt x="5442" y="6891"/>
                </a:lnTo>
                <a:lnTo>
                  <a:pt x="5442" y="5475"/>
                </a:lnTo>
                <a:close/>
                <a:moveTo>
                  <a:pt x="3714" y="5475"/>
                </a:moveTo>
                <a:lnTo>
                  <a:pt x="4986" y="5475"/>
                </a:lnTo>
                <a:lnTo>
                  <a:pt x="4986" y="6891"/>
                </a:lnTo>
                <a:lnTo>
                  <a:pt x="3714" y="6891"/>
                </a:lnTo>
                <a:lnTo>
                  <a:pt x="3714" y="5475"/>
                </a:lnTo>
                <a:close/>
                <a:moveTo>
                  <a:pt x="7171" y="3447"/>
                </a:moveTo>
                <a:lnTo>
                  <a:pt x="8443" y="3447"/>
                </a:lnTo>
                <a:lnTo>
                  <a:pt x="8443" y="4862"/>
                </a:lnTo>
                <a:lnTo>
                  <a:pt x="7171" y="4862"/>
                </a:lnTo>
                <a:lnTo>
                  <a:pt x="7171" y="3447"/>
                </a:lnTo>
                <a:close/>
                <a:moveTo>
                  <a:pt x="5442" y="3447"/>
                </a:moveTo>
                <a:lnTo>
                  <a:pt x="6715" y="3447"/>
                </a:lnTo>
                <a:lnTo>
                  <a:pt x="6715" y="4862"/>
                </a:lnTo>
                <a:lnTo>
                  <a:pt x="5442" y="4862"/>
                </a:lnTo>
                <a:lnTo>
                  <a:pt x="5442" y="3447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Picture118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2665423" y="2771450"/>
            <a:ext cx="518400" cy="376297"/>
          </a:xfrm>
          <a:custGeom>
            <a:avLst/>
            <a:gdLst>
              <a:gd name="T0" fmla="*/ 1644 w 1700"/>
              <a:gd name="T1" fmla="*/ 610 h 1234"/>
              <a:gd name="T2" fmla="*/ 1586 w 1700"/>
              <a:gd name="T3" fmla="*/ 270 h 1234"/>
              <a:gd name="T4" fmla="*/ 1512 w 1700"/>
              <a:gd name="T5" fmla="*/ 214 h 1234"/>
              <a:gd name="T6" fmla="*/ 1474 w 1700"/>
              <a:gd name="T7" fmla="*/ 198 h 1234"/>
              <a:gd name="T8" fmla="*/ 1494 w 1700"/>
              <a:gd name="T9" fmla="*/ 150 h 1234"/>
              <a:gd name="T10" fmla="*/ 1512 w 1700"/>
              <a:gd name="T11" fmla="*/ 100 h 1234"/>
              <a:gd name="T12" fmla="*/ 1428 w 1700"/>
              <a:gd name="T13" fmla="*/ 72 h 1234"/>
              <a:gd name="T14" fmla="*/ 1304 w 1700"/>
              <a:gd name="T15" fmla="*/ 44 h 1234"/>
              <a:gd name="T16" fmla="*/ 1238 w 1700"/>
              <a:gd name="T17" fmla="*/ 34 h 1234"/>
              <a:gd name="T18" fmla="*/ 992 w 1700"/>
              <a:gd name="T19" fmla="*/ 8 h 1234"/>
              <a:gd name="T20" fmla="*/ 812 w 1700"/>
              <a:gd name="T21" fmla="*/ 0 h 1234"/>
              <a:gd name="T22" fmla="*/ 612 w 1700"/>
              <a:gd name="T23" fmla="*/ 10 h 1234"/>
              <a:gd name="T24" fmla="*/ 312 w 1700"/>
              <a:gd name="T25" fmla="*/ 48 h 1234"/>
              <a:gd name="T26" fmla="*/ 162 w 1700"/>
              <a:gd name="T27" fmla="*/ 82 h 1234"/>
              <a:gd name="T28" fmla="*/ 112 w 1700"/>
              <a:gd name="T29" fmla="*/ 158 h 1234"/>
              <a:gd name="T30" fmla="*/ 170 w 1700"/>
              <a:gd name="T31" fmla="*/ 136 h 1234"/>
              <a:gd name="T32" fmla="*/ 138 w 1700"/>
              <a:gd name="T33" fmla="*/ 204 h 1234"/>
              <a:gd name="T34" fmla="*/ 112 w 1700"/>
              <a:gd name="T35" fmla="*/ 270 h 1234"/>
              <a:gd name="T36" fmla="*/ 0 w 1700"/>
              <a:gd name="T37" fmla="*/ 1234 h 1234"/>
              <a:gd name="T38" fmla="*/ 1644 w 1700"/>
              <a:gd name="T39" fmla="*/ 1122 h 1234"/>
              <a:gd name="T40" fmla="*/ 396 w 1700"/>
              <a:gd name="T41" fmla="*/ 204 h 1234"/>
              <a:gd name="T42" fmla="*/ 510 w 1700"/>
              <a:gd name="T43" fmla="*/ 1122 h 1234"/>
              <a:gd name="T44" fmla="*/ 1076 w 1700"/>
              <a:gd name="T45" fmla="*/ 72 h 1234"/>
              <a:gd name="T46" fmla="*/ 1246 w 1700"/>
              <a:gd name="T47" fmla="*/ 92 h 1234"/>
              <a:gd name="T48" fmla="*/ 1164 w 1700"/>
              <a:gd name="T49" fmla="*/ 138 h 1234"/>
              <a:gd name="T50" fmla="*/ 1020 w 1700"/>
              <a:gd name="T51" fmla="*/ 124 h 1234"/>
              <a:gd name="T52" fmla="*/ 850 w 1700"/>
              <a:gd name="T53" fmla="*/ 114 h 1234"/>
              <a:gd name="T54" fmla="*/ 934 w 1700"/>
              <a:gd name="T55" fmla="*/ 60 h 1234"/>
              <a:gd name="T56" fmla="*/ 794 w 1700"/>
              <a:gd name="T57" fmla="*/ 114 h 1234"/>
              <a:gd name="T58" fmla="*/ 624 w 1700"/>
              <a:gd name="T59" fmla="*/ 122 h 1234"/>
              <a:gd name="T60" fmla="*/ 710 w 1700"/>
              <a:gd name="T61" fmla="*/ 60 h 1234"/>
              <a:gd name="T62" fmla="*/ 566 w 1700"/>
              <a:gd name="T63" fmla="*/ 126 h 1234"/>
              <a:gd name="T64" fmla="*/ 396 w 1700"/>
              <a:gd name="T65" fmla="*/ 146 h 1234"/>
              <a:gd name="T66" fmla="*/ 480 w 1700"/>
              <a:gd name="T67" fmla="*/ 80 h 1234"/>
              <a:gd name="T68" fmla="*/ 1512 w 1700"/>
              <a:gd name="T69" fmla="*/ 838 h 1234"/>
              <a:gd name="T70" fmla="*/ 1512 w 1700"/>
              <a:gd name="T71" fmla="*/ 952 h 1234"/>
              <a:gd name="T72" fmla="*/ 1512 w 1700"/>
              <a:gd name="T73" fmla="*/ 780 h 1234"/>
              <a:gd name="T74" fmla="*/ 1586 w 1700"/>
              <a:gd name="T75" fmla="*/ 780 h 1234"/>
              <a:gd name="T76" fmla="*/ 1586 w 1700"/>
              <a:gd name="T77" fmla="*/ 498 h 1234"/>
              <a:gd name="T78" fmla="*/ 1586 w 1700"/>
              <a:gd name="T79" fmla="*/ 328 h 1234"/>
              <a:gd name="T80" fmla="*/ 1512 w 1700"/>
              <a:gd name="T81" fmla="*/ 328 h 1234"/>
              <a:gd name="T82" fmla="*/ 1416 w 1700"/>
              <a:gd name="T83" fmla="*/ 182 h 1234"/>
              <a:gd name="T84" fmla="*/ 1304 w 1700"/>
              <a:gd name="T85" fmla="*/ 158 h 1234"/>
              <a:gd name="T86" fmla="*/ 1364 w 1700"/>
              <a:gd name="T87" fmla="*/ 114 h 1234"/>
              <a:gd name="T88" fmla="*/ 226 w 1700"/>
              <a:gd name="T89" fmla="*/ 122 h 1234"/>
              <a:gd name="T90" fmla="*/ 340 w 1700"/>
              <a:gd name="T91" fmla="*/ 98 h 1234"/>
              <a:gd name="T92" fmla="*/ 280 w 1700"/>
              <a:gd name="T93" fmla="*/ 166 h 1234"/>
              <a:gd name="T94" fmla="*/ 226 w 1700"/>
              <a:gd name="T95" fmla="*/ 328 h 1234"/>
              <a:gd name="T96" fmla="*/ 226 w 1700"/>
              <a:gd name="T97" fmla="*/ 234 h 1234"/>
              <a:gd name="T98" fmla="*/ 226 w 1700"/>
              <a:gd name="T99" fmla="*/ 1122 h 1234"/>
              <a:gd name="T100" fmla="*/ 1512 w 1700"/>
              <a:gd name="T101" fmla="*/ 1008 h 1234"/>
              <a:gd name="T102" fmla="*/ 1512 w 1700"/>
              <a:gd name="T103" fmla="*/ 1122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00" h="1234">
                <a:moveTo>
                  <a:pt x="1644" y="1122"/>
                </a:moveTo>
                <a:lnTo>
                  <a:pt x="1644" y="668"/>
                </a:lnTo>
                <a:lnTo>
                  <a:pt x="1644" y="610"/>
                </a:lnTo>
                <a:lnTo>
                  <a:pt x="1644" y="214"/>
                </a:lnTo>
                <a:lnTo>
                  <a:pt x="1586" y="214"/>
                </a:lnTo>
                <a:lnTo>
                  <a:pt x="1586" y="270"/>
                </a:lnTo>
                <a:lnTo>
                  <a:pt x="1512" y="270"/>
                </a:lnTo>
                <a:lnTo>
                  <a:pt x="1512" y="228"/>
                </a:lnTo>
                <a:lnTo>
                  <a:pt x="1512" y="214"/>
                </a:lnTo>
                <a:lnTo>
                  <a:pt x="1512" y="214"/>
                </a:lnTo>
                <a:lnTo>
                  <a:pt x="1494" y="206"/>
                </a:lnTo>
                <a:lnTo>
                  <a:pt x="1474" y="198"/>
                </a:lnTo>
                <a:lnTo>
                  <a:pt x="1474" y="142"/>
                </a:lnTo>
                <a:lnTo>
                  <a:pt x="1474" y="142"/>
                </a:lnTo>
                <a:lnTo>
                  <a:pt x="1494" y="150"/>
                </a:lnTo>
                <a:lnTo>
                  <a:pt x="1512" y="158"/>
                </a:lnTo>
                <a:lnTo>
                  <a:pt x="1512" y="100"/>
                </a:lnTo>
                <a:lnTo>
                  <a:pt x="1512" y="100"/>
                </a:lnTo>
                <a:lnTo>
                  <a:pt x="1496" y="94"/>
                </a:lnTo>
                <a:lnTo>
                  <a:pt x="1476" y="86"/>
                </a:lnTo>
                <a:lnTo>
                  <a:pt x="1428" y="72"/>
                </a:lnTo>
                <a:lnTo>
                  <a:pt x="1370" y="58"/>
                </a:lnTo>
                <a:lnTo>
                  <a:pt x="1304" y="46"/>
                </a:lnTo>
                <a:lnTo>
                  <a:pt x="1304" y="44"/>
                </a:lnTo>
                <a:lnTo>
                  <a:pt x="1294" y="44"/>
                </a:lnTo>
                <a:lnTo>
                  <a:pt x="1294" y="44"/>
                </a:lnTo>
                <a:lnTo>
                  <a:pt x="1238" y="34"/>
                </a:lnTo>
                <a:lnTo>
                  <a:pt x="1178" y="26"/>
                </a:lnTo>
                <a:lnTo>
                  <a:pt x="1054" y="12"/>
                </a:lnTo>
                <a:lnTo>
                  <a:pt x="992" y="8"/>
                </a:lnTo>
                <a:lnTo>
                  <a:pt x="930" y="4"/>
                </a:lnTo>
                <a:lnTo>
                  <a:pt x="870" y="2"/>
                </a:lnTo>
                <a:lnTo>
                  <a:pt x="812" y="0"/>
                </a:lnTo>
                <a:lnTo>
                  <a:pt x="812" y="0"/>
                </a:lnTo>
                <a:lnTo>
                  <a:pt x="714" y="2"/>
                </a:lnTo>
                <a:lnTo>
                  <a:pt x="612" y="10"/>
                </a:lnTo>
                <a:lnTo>
                  <a:pt x="508" y="20"/>
                </a:lnTo>
                <a:lnTo>
                  <a:pt x="406" y="32"/>
                </a:lnTo>
                <a:lnTo>
                  <a:pt x="312" y="48"/>
                </a:lnTo>
                <a:lnTo>
                  <a:pt x="230" y="64"/>
                </a:lnTo>
                <a:lnTo>
                  <a:pt x="192" y="72"/>
                </a:lnTo>
                <a:lnTo>
                  <a:pt x="162" y="82"/>
                </a:lnTo>
                <a:lnTo>
                  <a:pt x="134" y="92"/>
                </a:lnTo>
                <a:lnTo>
                  <a:pt x="112" y="100"/>
                </a:lnTo>
                <a:lnTo>
                  <a:pt x="112" y="158"/>
                </a:lnTo>
                <a:lnTo>
                  <a:pt x="112" y="158"/>
                </a:lnTo>
                <a:lnTo>
                  <a:pt x="138" y="146"/>
                </a:lnTo>
                <a:lnTo>
                  <a:pt x="170" y="136"/>
                </a:lnTo>
                <a:lnTo>
                  <a:pt x="170" y="192"/>
                </a:lnTo>
                <a:lnTo>
                  <a:pt x="170" y="192"/>
                </a:lnTo>
                <a:lnTo>
                  <a:pt x="138" y="204"/>
                </a:lnTo>
                <a:lnTo>
                  <a:pt x="112" y="214"/>
                </a:lnTo>
                <a:lnTo>
                  <a:pt x="112" y="228"/>
                </a:lnTo>
                <a:lnTo>
                  <a:pt x="112" y="270"/>
                </a:lnTo>
                <a:lnTo>
                  <a:pt x="112" y="1122"/>
                </a:lnTo>
                <a:lnTo>
                  <a:pt x="0" y="1122"/>
                </a:lnTo>
                <a:lnTo>
                  <a:pt x="0" y="1234"/>
                </a:lnTo>
                <a:lnTo>
                  <a:pt x="1700" y="1234"/>
                </a:lnTo>
                <a:lnTo>
                  <a:pt x="1700" y="1122"/>
                </a:lnTo>
                <a:lnTo>
                  <a:pt x="1644" y="1122"/>
                </a:lnTo>
                <a:close/>
                <a:moveTo>
                  <a:pt x="396" y="1122"/>
                </a:moveTo>
                <a:lnTo>
                  <a:pt x="396" y="270"/>
                </a:lnTo>
                <a:lnTo>
                  <a:pt x="396" y="204"/>
                </a:lnTo>
                <a:lnTo>
                  <a:pt x="396" y="204"/>
                </a:lnTo>
                <a:lnTo>
                  <a:pt x="510" y="190"/>
                </a:lnTo>
                <a:lnTo>
                  <a:pt x="510" y="1122"/>
                </a:lnTo>
                <a:lnTo>
                  <a:pt x="396" y="1122"/>
                </a:lnTo>
                <a:close/>
                <a:moveTo>
                  <a:pt x="1076" y="128"/>
                </a:moveTo>
                <a:lnTo>
                  <a:pt x="1076" y="72"/>
                </a:lnTo>
                <a:lnTo>
                  <a:pt x="1076" y="72"/>
                </a:lnTo>
                <a:lnTo>
                  <a:pt x="1164" y="82"/>
                </a:lnTo>
                <a:lnTo>
                  <a:pt x="1246" y="92"/>
                </a:lnTo>
                <a:lnTo>
                  <a:pt x="1246" y="150"/>
                </a:lnTo>
                <a:lnTo>
                  <a:pt x="1246" y="150"/>
                </a:lnTo>
                <a:lnTo>
                  <a:pt x="1164" y="138"/>
                </a:lnTo>
                <a:lnTo>
                  <a:pt x="1076" y="128"/>
                </a:lnTo>
                <a:lnTo>
                  <a:pt x="1076" y="128"/>
                </a:lnTo>
                <a:close/>
                <a:moveTo>
                  <a:pt x="1020" y="124"/>
                </a:moveTo>
                <a:lnTo>
                  <a:pt x="1020" y="124"/>
                </a:lnTo>
                <a:lnTo>
                  <a:pt x="934" y="118"/>
                </a:lnTo>
                <a:lnTo>
                  <a:pt x="850" y="114"/>
                </a:lnTo>
                <a:lnTo>
                  <a:pt x="850" y="58"/>
                </a:lnTo>
                <a:lnTo>
                  <a:pt x="850" y="58"/>
                </a:lnTo>
                <a:lnTo>
                  <a:pt x="934" y="60"/>
                </a:lnTo>
                <a:lnTo>
                  <a:pt x="1020" y="66"/>
                </a:lnTo>
                <a:lnTo>
                  <a:pt x="1020" y="124"/>
                </a:lnTo>
                <a:close/>
                <a:moveTo>
                  <a:pt x="794" y="114"/>
                </a:moveTo>
                <a:lnTo>
                  <a:pt x="794" y="114"/>
                </a:lnTo>
                <a:lnTo>
                  <a:pt x="710" y="116"/>
                </a:lnTo>
                <a:lnTo>
                  <a:pt x="624" y="122"/>
                </a:lnTo>
                <a:lnTo>
                  <a:pt x="624" y="66"/>
                </a:lnTo>
                <a:lnTo>
                  <a:pt x="624" y="66"/>
                </a:lnTo>
                <a:lnTo>
                  <a:pt x="710" y="60"/>
                </a:lnTo>
                <a:lnTo>
                  <a:pt x="794" y="58"/>
                </a:lnTo>
                <a:lnTo>
                  <a:pt x="794" y="114"/>
                </a:lnTo>
                <a:close/>
                <a:moveTo>
                  <a:pt x="566" y="126"/>
                </a:moveTo>
                <a:lnTo>
                  <a:pt x="566" y="126"/>
                </a:lnTo>
                <a:lnTo>
                  <a:pt x="480" y="136"/>
                </a:lnTo>
                <a:lnTo>
                  <a:pt x="396" y="146"/>
                </a:lnTo>
                <a:lnTo>
                  <a:pt x="396" y="90"/>
                </a:lnTo>
                <a:lnTo>
                  <a:pt x="396" y="90"/>
                </a:lnTo>
                <a:lnTo>
                  <a:pt x="480" y="80"/>
                </a:lnTo>
                <a:lnTo>
                  <a:pt x="566" y="70"/>
                </a:lnTo>
                <a:lnTo>
                  <a:pt x="566" y="126"/>
                </a:lnTo>
                <a:close/>
                <a:moveTo>
                  <a:pt x="1512" y="838"/>
                </a:moveTo>
                <a:lnTo>
                  <a:pt x="1586" y="838"/>
                </a:lnTo>
                <a:lnTo>
                  <a:pt x="1586" y="952"/>
                </a:lnTo>
                <a:lnTo>
                  <a:pt x="1512" y="952"/>
                </a:lnTo>
                <a:lnTo>
                  <a:pt x="1512" y="838"/>
                </a:lnTo>
                <a:close/>
                <a:moveTo>
                  <a:pt x="1586" y="780"/>
                </a:moveTo>
                <a:lnTo>
                  <a:pt x="1512" y="780"/>
                </a:lnTo>
                <a:lnTo>
                  <a:pt x="1512" y="668"/>
                </a:lnTo>
                <a:lnTo>
                  <a:pt x="1586" y="668"/>
                </a:lnTo>
                <a:lnTo>
                  <a:pt x="1586" y="780"/>
                </a:lnTo>
                <a:close/>
                <a:moveTo>
                  <a:pt x="1512" y="610"/>
                </a:moveTo>
                <a:lnTo>
                  <a:pt x="1512" y="498"/>
                </a:lnTo>
                <a:lnTo>
                  <a:pt x="1586" y="498"/>
                </a:lnTo>
                <a:lnTo>
                  <a:pt x="1586" y="610"/>
                </a:lnTo>
                <a:lnTo>
                  <a:pt x="1512" y="610"/>
                </a:lnTo>
                <a:close/>
                <a:moveTo>
                  <a:pt x="1586" y="328"/>
                </a:moveTo>
                <a:lnTo>
                  <a:pt x="1586" y="440"/>
                </a:lnTo>
                <a:lnTo>
                  <a:pt x="1512" y="440"/>
                </a:lnTo>
                <a:lnTo>
                  <a:pt x="1512" y="328"/>
                </a:lnTo>
                <a:lnTo>
                  <a:pt x="1586" y="328"/>
                </a:lnTo>
                <a:close/>
                <a:moveTo>
                  <a:pt x="1416" y="126"/>
                </a:moveTo>
                <a:lnTo>
                  <a:pt x="1416" y="182"/>
                </a:lnTo>
                <a:lnTo>
                  <a:pt x="1416" y="182"/>
                </a:lnTo>
                <a:lnTo>
                  <a:pt x="1364" y="170"/>
                </a:lnTo>
                <a:lnTo>
                  <a:pt x="1304" y="158"/>
                </a:lnTo>
                <a:lnTo>
                  <a:pt x="1304" y="102"/>
                </a:lnTo>
                <a:lnTo>
                  <a:pt x="1304" y="102"/>
                </a:lnTo>
                <a:lnTo>
                  <a:pt x="1364" y="114"/>
                </a:lnTo>
                <a:lnTo>
                  <a:pt x="1416" y="126"/>
                </a:lnTo>
                <a:lnTo>
                  <a:pt x="1416" y="126"/>
                </a:lnTo>
                <a:close/>
                <a:moveTo>
                  <a:pt x="226" y="122"/>
                </a:moveTo>
                <a:lnTo>
                  <a:pt x="226" y="122"/>
                </a:lnTo>
                <a:lnTo>
                  <a:pt x="280" y="110"/>
                </a:lnTo>
                <a:lnTo>
                  <a:pt x="340" y="98"/>
                </a:lnTo>
                <a:lnTo>
                  <a:pt x="340" y="156"/>
                </a:lnTo>
                <a:lnTo>
                  <a:pt x="340" y="156"/>
                </a:lnTo>
                <a:lnTo>
                  <a:pt x="280" y="166"/>
                </a:lnTo>
                <a:lnTo>
                  <a:pt x="226" y="178"/>
                </a:lnTo>
                <a:lnTo>
                  <a:pt x="226" y="122"/>
                </a:lnTo>
                <a:close/>
                <a:moveTo>
                  <a:pt x="226" y="328"/>
                </a:moveTo>
                <a:lnTo>
                  <a:pt x="226" y="328"/>
                </a:lnTo>
                <a:lnTo>
                  <a:pt x="226" y="234"/>
                </a:lnTo>
                <a:lnTo>
                  <a:pt x="226" y="234"/>
                </a:lnTo>
                <a:lnTo>
                  <a:pt x="282" y="222"/>
                </a:lnTo>
                <a:lnTo>
                  <a:pt x="282" y="1122"/>
                </a:lnTo>
                <a:lnTo>
                  <a:pt x="226" y="1122"/>
                </a:lnTo>
                <a:lnTo>
                  <a:pt x="226" y="328"/>
                </a:lnTo>
                <a:close/>
                <a:moveTo>
                  <a:pt x="1512" y="1122"/>
                </a:moveTo>
                <a:lnTo>
                  <a:pt x="1512" y="1008"/>
                </a:lnTo>
                <a:lnTo>
                  <a:pt x="1586" y="1008"/>
                </a:lnTo>
                <a:lnTo>
                  <a:pt x="1586" y="1122"/>
                </a:lnTo>
                <a:lnTo>
                  <a:pt x="1512" y="1122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bitumovoz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3462360" y="2922976"/>
            <a:ext cx="607219" cy="227171"/>
          </a:xfrm>
          <a:custGeom>
            <a:avLst/>
            <a:gdLst>
              <a:gd name="T0" fmla="*/ 1894 w 16150"/>
              <a:gd name="T1" fmla="*/ 4653 h 6042"/>
              <a:gd name="T2" fmla="*/ 2038 w 16150"/>
              <a:gd name="T3" fmla="*/ 5988 h 6042"/>
              <a:gd name="T4" fmla="*/ 3088 w 16150"/>
              <a:gd name="T5" fmla="*/ 5122 h 6042"/>
              <a:gd name="T6" fmla="*/ 2286 w 16150"/>
              <a:gd name="T7" fmla="*/ 2894 h 6042"/>
              <a:gd name="T8" fmla="*/ 2467 w 16150"/>
              <a:gd name="T9" fmla="*/ 2754 h 6042"/>
              <a:gd name="T10" fmla="*/ 2476 w 16150"/>
              <a:gd name="T11" fmla="*/ 2434 h 6042"/>
              <a:gd name="T12" fmla="*/ 2306 w 16150"/>
              <a:gd name="T13" fmla="*/ 2282 h 6042"/>
              <a:gd name="T14" fmla="*/ 194 w 16150"/>
              <a:gd name="T15" fmla="*/ 849 h 6042"/>
              <a:gd name="T16" fmla="*/ 135 w 16150"/>
              <a:gd name="T17" fmla="*/ 3307 h 6042"/>
              <a:gd name="T18" fmla="*/ 1112 w 16150"/>
              <a:gd name="T19" fmla="*/ 3751 h 6042"/>
              <a:gd name="T20" fmla="*/ 10028 w 16150"/>
              <a:gd name="T21" fmla="*/ 3645 h 6042"/>
              <a:gd name="T22" fmla="*/ 10453 w 16150"/>
              <a:gd name="T23" fmla="*/ 1957 h 6042"/>
              <a:gd name="T24" fmla="*/ 9864 w 16150"/>
              <a:gd name="T25" fmla="*/ 588 h 6042"/>
              <a:gd name="T26" fmla="*/ 4846 w 16150"/>
              <a:gd name="T27" fmla="*/ 328 h 6042"/>
              <a:gd name="T28" fmla="*/ 473 w 16150"/>
              <a:gd name="T29" fmla="*/ 819 h 6042"/>
              <a:gd name="T30" fmla="*/ 609 w 16150"/>
              <a:gd name="T31" fmla="*/ 1639 h 6042"/>
              <a:gd name="T32" fmla="*/ 310 w 16150"/>
              <a:gd name="T33" fmla="*/ 2729 h 6042"/>
              <a:gd name="T34" fmla="*/ 1536 w 16150"/>
              <a:gd name="T35" fmla="*/ 3233 h 6042"/>
              <a:gd name="T36" fmla="*/ 2214 w 16150"/>
              <a:gd name="T37" fmla="*/ 1944 h 6042"/>
              <a:gd name="T38" fmla="*/ 2625 w 16150"/>
              <a:gd name="T39" fmla="*/ 2055 h 6042"/>
              <a:gd name="T40" fmla="*/ 2846 w 16150"/>
              <a:gd name="T41" fmla="*/ 2453 h 6042"/>
              <a:gd name="T42" fmla="*/ 2703 w 16150"/>
              <a:gd name="T43" fmla="*/ 3045 h 6042"/>
              <a:gd name="T44" fmla="*/ 2223 w 16150"/>
              <a:gd name="T45" fmla="*/ 3233 h 6042"/>
              <a:gd name="T46" fmla="*/ 3464 w 16150"/>
              <a:gd name="T47" fmla="*/ 1089 h 6042"/>
              <a:gd name="T48" fmla="*/ 5190 w 16150"/>
              <a:gd name="T49" fmla="*/ 3233 h 6042"/>
              <a:gd name="T50" fmla="*/ 6436 w 16150"/>
              <a:gd name="T51" fmla="*/ 1092 h 6042"/>
              <a:gd name="T52" fmla="*/ 7198 w 16150"/>
              <a:gd name="T53" fmla="*/ 2054 h 6042"/>
              <a:gd name="T54" fmla="*/ 6876 w 16150"/>
              <a:gd name="T55" fmla="*/ 2940 h 6042"/>
              <a:gd name="T56" fmla="*/ 6432 w 16150"/>
              <a:gd name="T57" fmla="*/ 2952 h 6042"/>
              <a:gd name="T58" fmla="*/ 6537 w 16150"/>
              <a:gd name="T59" fmla="*/ 2894 h 6042"/>
              <a:gd name="T60" fmla="*/ 8557 w 16150"/>
              <a:gd name="T61" fmla="*/ 2309 h 6042"/>
              <a:gd name="T62" fmla="*/ 8060 w 16150"/>
              <a:gd name="T63" fmla="*/ 1979 h 6042"/>
              <a:gd name="T64" fmla="*/ 2508 w 16150"/>
              <a:gd name="T65" fmla="*/ 5465 h 6042"/>
              <a:gd name="T66" fmla="*/ 4951 w 16150"/>
              <a:gd name="T67" fmla="*/ 4851 h 6042"/>
              <a:gd name="T68" fmla="*/ 3613 w 16150"/>
              <a:gd name="T69" fmla="*/ 4978 h 6042"/>
              <a:gd name="T70" fmla="*/ 4462 w 16150"/>
              <a:gd name="T71" fmla="*/ 6024 h 6042"/>
              <a:gd name="T72" fmla="*/ 4571 w 16150"/>
              <a:gd name="T73" fmla="*/ 5284 h 6042"/>
              <a:gd name="T74" fmla="*/ 4209 w 16150"/>
              <a:gd name="T75" fmla="*/ 5049 h 6042"/>
              <a:gd name="T76" fmla="*/ 9148 w 16150"/>
              <a:gd name="T77" fmla="*/ 4527 h 6042"/>
              <a:gd name="T78" fmla="*/ 8280 w 16150"/>
              <a:gd name="T79" fmla="*/ 5573 h 6042"/>
              <a:gd name="T80" fmla="*/ 9638 w 16150"/>
              <a:gd name="T81" fmla="*/ 5717 h 6042"/>
              <a:gd name="T82" fmla="*/ 8896 w 16150"/>
              <a:gd name="T83" fmla="*/ 5519 h 6042"/>
              <a:gd name="T84" fmla="*/ 13599 w 16150"/>
              <a:gd name="T85" fmla="*/ 5429 h 6042"/>
              <a:gd name="T86" fmla="*/ 14883 w 16150"/>
              <a:gd name="T87" fmla="*/ 5826 h 6042"/>
              <a:gd name="T88" fmla="*/ 14504 w 16150"/>
              <a:gd name="T89" fmla="*/ 4527 h 6042"/>
              <a:gd name="T90" fmla="*/ 14160 w 16150"/>
              <a:gd name="T91" fmla="*/ 5465 h 6042"/>
              <a:gd name="T92" fmla="*/ 14576 w 16150"/>
              <a:gd name="T93" fmla="*/ 5375 h 6042"/>
              <a:gd name="T94" fmla="*/ 3396 w 16150"/>
              <a:gd name="T95" fmla="*/ 4780 h 6042"/>
              <a:gd name="T96" fmla="*/ 1279 w 16150"/>
              <a:gd name="T97" fmla="*/ 5320 h 6042"/>
              <a:gd name="T98" fmla="*/ 9746 w 16150"/>
              <a:gd name="T99" fmla="*/ 4527 h 6042"/>
              <a:gd name="T100" fmla="*/ 13291 w 16150"/>
              <a:gd name="T101" fmla="*/ 5176 h 6042"/>
              <a:gd name="T102" fmla="*/ 14558 w 16150"/>
              <a:gd name="T103" fmla="*/ 4238 h 6042"/>
              <a:gd name="T104" fmla="*/ 15842 w 16150"/>
              <a:gd name="T105" fmla="*/ 5302 h 6042"/>
              <a:gd name="T106" fmla="*/ 16059 w 16150"/>
              <a:gd name="T107" fmla="*/ 4238 h 6042"/>
              <a:gd name="T108" fmla="*/ 15408 w 16150"/>
              <a:gd name="T109" fmla="*/ 2776 h 6042"/>
              <a:gd name="T110" fmla="*/ 13154 w 16150"/>
              <a:gd name="T111" fmla="*/ 1062 h 6042"/>
              <a:gd name="T112" fmla="*/ 11600 w 16150"/>
              <a:gd name="T113" fmla="*/ 1062 h 6042"/>
              <a:gd name="T114" fmla="*/ 11257 w 16150"/>
              <a:gd name="T115" fmla="*/ 1081 h 6042"/>
              <a:gd name="T116" fmla="*/ 11229 w 16150"/>
              <a:gd name="T117" fmla="*/ 1223 h 6042"/>
              <a:gd name="T118" fmla="*/ 13744 w 16150"/>
              <a:gd name="T119" fmla="*/ 1640 h 6042"/>
              <a:gd name="T120" fmla="*/ 7937 w 16150"/>
              <a:gd name="T121" fmla="*/ 5320 h 6042"/>
              <a:gd name="T122" fmla="*/ 4734 w 16150"/>
              <a:gd name="T123" fmla="*/ 4310 h 6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150" h="6042">
                <a:moveTo>
                  <a:pt x="3088" y="5122"/>
                </a:moveTo>
                <a:lnTo>
                  <a:pt x="3033" y="4978"/>
                </a:lnTo>
                <a:lnTo>
                  <a:pt x="2962" y="4851"/>
                </a:lnTo>
                <a:lnTo>
                  <a:pt x="2871" y="4743"/>
                </a:lnTo>
                <a:lnTo>
                  <a:pt x="2762" y="4653"/>
                </a:lnTo>
                <a:lnTo>
                  <a:pt x="2635" y="4580"/>
                </a:lnTo>
                <a:lnTo>
                  <a:pt x="2490" y="4527"/>
                </a:lnTo>
                <a:lnTo>
                  <a:pt x="2328" y="4509"/>
                </a:lnTo>
                <a:lnTo>
                  <a:pt x="2183" y="4527"/>
                </a:lnTo>
                <a:lnTo>
                  <a:pt x="2038" y="4580"/>
                </a:lnTo>
                <a:lnTo>
                  <a:pt x="1894" y="4653"/>
                </a:lnTo>
                <a:lnTo>
                  <a:pt x="1785" y="4743"/>
                </a:lnTo>
                <a:lnTo>
                  <a:pt x="1695" y="4851"/>
                </a:lnTo>
                <a:lnTo>
                  <a:pt x="1622" y="4978"/>
                </a:lnTo>
                <a:lnTo>
                  <a:pt x="1568" y="5122"/>
                </a:lnTo>
                <a:lnTo>
                  <a:pt x="1568" y="5284"/>
                </a:lnTo>
                <a:lnTo>
                  <a:pt x="1568" y="5429"/>
                </a:lnTo>
                <a:lnTo>
                  <a:pt x="1622" y="5573"/>
                </a:lnTo>
                <a:lnTo>
                  <a:pt x="1695" y="5717"/>
                </a:lnTo>
                <a:lnTo>
                  <a:pt x="1785" y="5826"/>
                </a:lnTo>
                <a:lnTo>
                  <a:pt x="1894" y="5916"/>
                </a:lnTo>
                <a:lnTo>
                  <a:pt x="2038" y="5988"/>
                </a:lnTo>
                <a:lnTo>
                  <a:pt x="2183" y="6024"/>
                </a:lnTo>
                <a:lnTo>
                  <a:pt x="2328" y="6042"/>
                </a:lnTo>
                <a:lnTo>
                  <a:pt x="2490" y="6024"/>
                </a:lnTo>
                <a:lnTo>
                  <a:pt x="2635" y="5988"/>
                </a:lnTo>
                <a:lnTo>
                  <a:pt x="2762" y="5916"/>
                </a:lnTo>
                <a:lnTo>
                  <a:pt x="2871" y="5826"/>
                </a:lnTo>
                <a:lnTo>
                  <a:pt x="2962" y="5717"/>
                </a:lnTo>
                <a:lnTo>
                  <a:pt x="3033" y="5573"/>
                </a:lnTo>
                <a:lnTo>
                  <a:pt x="3088" y="5429"/>
                </a:lnTo>
                <a:lnTo>
                  <a:pt x="3106" y="5284"/>
                </a:lnTo>
                <a:lnTo>
                  <a:pt x="3088" y="5122"/>
                </a:lnTo>
                <a:close/>
                <a:moveTo>
                  <a:pt x="1892" y="2266"/>
                </a:moveTo>
                <a:lnTo>
                  <a:pt x="1892" y="2906"/>
                </a:lnTo>
                <a:lnTo>
                  <a:pt x="2005" y="2908"/>
                </a:lnTo>
                <a:lnTo>
                  <a:pt x="2115" y="2910"/>
                </a:lnTo>
                <a:lnTo>
                  <a:pt x="2141" y="2909"/>
                </a:lnTo>
                <a:lnTo>
                  <a:pt x="2167" y="2909"/>
                </a:lnTo>
                <a:lnTo>
                  <a:pt x="2192" y="2907"/>
                </a:lnTo>
                <a:lnTo>
                  <a:pt x="2217" y="2905"/>
                </a:lnTo>
                <a:lnTo>
                  <a:pt x="2241" y="2902"/>
                </a:lnTo>
                <a:lnTo>
                  <a:pt x="2264" y="2899"/>
                </a:lnTo>
                <a:lnTo>
                  <a:pt x="2286" y="2894"/>
                </a:lnTo>
                <a:lnTo>
                  <a:pt x="2308" y="2889"/>
                </a:lnTo>
                <a:lnTo>
                  <a:pt x="2329" y="2882"/>
                </a:lnTo>
                <a:lnTo>
                  <a:pt x="2349" y="2874"/>
                </a:lnTo>
                <a:lnTo>
                  <a:pt x="2368" y="2865"/>
                </a:lnTo>
                <a:lnTo>
                  <a:pt x="2385" y="2854"/>
                </a:lnTo>
                <a:lnTo>
                  <a:pt x="2402" y="2842"/>
                </a:lnTo>
                <a:lnTo>
                  <a:pt x="2417" y="2828"/>
                </a:lnTo>
                <a:lnTo>
                  <a:pt x="2433" y="2812"/>
                </a:lnTo>
                <a:lnTo>
                  <a:pt x="2446" y="2795"/>
                </a:lnTo>
                <a:lnTo>
                  <a:pt x="2457" y="2775"/>
                </a:lnTo>
                <a:lnTo>
                  <a:pt x="2467" y="2754"/>
                </a:lnTo>
                <a:lnTo>
                  <a:pt x="2476" y="2731"/>
                </a:lnTo>
                <a:lnTo>
                  <a:pt x="2484" y="2706"/>
                </a:lnTo>
                <a:lnTo>
                  <a:pt x="2489" y="2678"/>
                </a:lnTo>
                <a:lnTo>
                  <a:pt x="2494" y="2648"/>
                </a:lnTo>
                <a:lnTo>
                  <a:pt x="2496" y="2615"/>
                </a:lnTo>
                <a:lnTo>
                  <a:pt x="2497" y="2580"/>
                </a:lnTo>
                <a:lnTo>
                  <a:pt x="2496" y="2546"/>
                </a:lnTo>
                <a:lnTo>
                  <a:pt x="2493" y="2515"/>
                </a:lnTo>
                <a:lnTo>
                  <a:pt x="2489" y="2485"/>
                </a:lnTo>
                <a:lnTo>
                  <a:pt x="2483" y="2459"/>
                </a:lnTo>
                <a:lnTo>
                  <a:pt x="2476" y="2434"/>
                </a:lnTo>
                <a:lnTo>
                  <a:pt x="2467" y="2412"/>
                </a:lnTo>
                <a:lnTo>
                  <a:pt x="2457" y="2392"/>
                </a:lnTo>
                <a:lnTo>
                  <a:pt x="2445" y="2373"/>
                </a:lnTo>
                <a:lnTo>
                  <a:pt x="2432" y="2357"/>
                </a:lnTo>
                <a:lnTo>
                  <a:pt x="2416" y="2342"/>
                </a:lnTo>
                <a:lnTo>
                  <a:pt x="2401" y="2328"/>
                </a:lnTo>
                <a:lnTo>
                  <a:pt x="2384" y="2316"/>
                </a:lnTo>
                <a:lnTo>
                  <a:pt x="2366" y="2306"/>
                </a:lnTo>
                <a:lnTo>
                  <a:pt x="2348" y="2297"/>
                </a:lnTo>
                <a:lnTo>
                  <a:pt x="2328" y="2289"/>
                </a:lnTo>
                <a:lnTo>
                  <a:pt x="2306" y="2282"/>
                </a:lnTo>
                <a:lnTo>
                  <a:pt x="2284" y="2277"/>
                </a:lnTo>
                <a:lnTo>
                  <a:pt x="2262" y="2273"/>
                </a:lnTo>
                <a:lnTo>
                  <a:pt x="2239" y="2269"/>
                </a:lnTo>
                <a:lnTo>
                  <a:pt x="2215" y="2267"/>
                </a:lnTo>
                <a:lnTo>
                  <a:pt x="2190" y="2265"/>
                </a:lnTo>
                <a:lnTo>
                  <a:pt x="2164" y="2263"/>
                </a:lnTo>
                <a:lnTo>
                  <a:pt x="2139" y="2263"/>
                </a:lnTo>
                <a:lnTo>
                  <a:pt x="2113" y="2262"/>
                </a:lnTo>
                <a:lnTo>
                  <a:pt x="2004" y="2264"/>
                </a:lnTo>
                <a:lnTo>
                  <a:pt x="1892" y="2266"/>
                </a:lnTo>
                <a:close/>
                <a:moveTo>
                  <a:pt x="194" y="849"/>
                </a:moveTo>
                <a:lnTo>
                  <a:pt x="135" y="1051"/>
                </a:lnTo>
                <a:lnTo>
                  <a:pt x="87" y="1302"/>
                </a:lnTo>
                <a:lnTo>
                  <a:pt x="48" y="1581"/>
                </a:lnTo>
                <a:lnTo>
                  <a:pt x="10" y="1880"/>
                </a:lnTo>
                <a:lnTo>
                  <a:pt x="0" y="2024"/>
                </a:lnTo>
                <a:lnTo>
                  <a:pt x="0" y="2179"/>
                </a:lnTo>
                <a:lnTo>
                  <a:pt x="0" y="2333"/>
                </a:lnTo>
                <a:lnTo>
                  <a:pt x="10" y="2487"/>
                </a:lnTo>
                <a:lnTo>
                  <a:pt x="48" y="2786"/>
                </a:lnTo>
                <a:lnTo>
                  <a:pt x="87" y="3066"/>
                </a:lnTo>
                <a:lnTo>
                  <a:pt x="135" y="3307"/>
                </a:lnTo>
                <a:lnTo>
                  <a:pt x="194" y="3519"/>
                </a:lnTo>
                <a:lnTo>
                  <a:pt x="232" y="3683"/>
                </a:lnTo>
                <a:lnTo>
                  <a:pt x="271" y="3827"/>
                </a:lnTo>
                <a:lnTo>
                  <a:pt x="551" y="3827"/>
                </a:lnTo>
                <a:lnTo>
                  <a:pt x="522" y="3751"/>
                </a:lnTo>
                <a:lnTo>
                  <a:pt x="473" y="3548"/>
                </a:lnTo>
                <a:lnTo>
                  <a:pt x="919" y="3548"/>
                </a:lnTo>
                <a:lnTo>
                  <a:pt x="967" y="3606"/>
                </a:lnTo>
                <a:lnTo>
                  <a:pt x="1005" y="3664"/>
                </a:lnTo>
                <a:lnTo>
                  <a:pt x="1064" y="3713"/>
                </a:lnTo>
                <a:lnTo>
                  <a:pt x="1112" y="3751"/>
                </a:lnTo>
                <a:lnTo>
                  <a:pt x="1170" y="3780"/>
                </a:lnTo>
                <a:lnTo>
                  <a:pt x="1218" y="3799"/>
                </a:lnTo>
                <a:lnTo>
                  <a:pt x="1286" y="3818"/>
                </a:lnTo>
                <a:lnTo>
                  <a:pt x="1343" y="3827"/>
                </a:lnTo>
                <a:lnTo>
                  <a:pt x="9671" y="3827"/>
                </a:lnTo>
                <a:lnTo>
                  <a:pt x="9718" y="3818"/>
                </a:lnTo>
                <a:lnTo>
                  <a:pt x="9767" y="3808"/>
                </a:lnTo>
                <a:lnTo>
                  <a:pt x="9815" y="3799"/>
                </a:lnTo>
                <a:lnTo>
                  <a:pt x="9864" y="3780"/>
                </a:lnTo>
                <a:lnTo>
                  <a:pt x="9950" y="3722"/>
                </a:lnTo>
                <a:lnTo>
                  <a:pt x="10028" y="3645"/>
                </a:lnTo>
                <a:lnTo>
                  <a:pt x="10096" y="3548"/>
                </a:lnTo>
                <a:lnTo>
                  <a:pt x="10163" y="3452"/>
                </a:lnTo>
                <a:lnTo>
                  <a:pt x="10222" y="3336"/>
                </a:lnTo>
                <a:lnTo>
                  <a:pt x="10269" y="3211"/>
                </a:lnTo>
                <a:lnTo>
                  <a:pt x="10318" y="3075"/>
                </a:lnTo>
                <a:lnTo>
                  <a:pt x="10357" y="2940"/>
                </a:lnTo>
                <a:lnTo>
                  <a:pt x="10396" y="2806"/>
                </a:lnTo>
                <a:lnTo>
                  <a:pt x="10425" y="2671"/>
                </a:lnTo>
                <a:lnTo>
                  <a:pt x="10453" y="2411"/>
                </a:lnTo>
                <a:lnTo>
                  <a:pt x="10473" y="2179"/>
                </a:lnTo>
                <a:lnTo>
                  <a:pt x="10453" y="1957"/>
                </a:lnTo>
                <a:lnTo>
                  <a:pt x="10425" y="1697"/>
                </a:lnTo>
                <a:lnTo>
                  <a:pt x="10396" y="1561"/>
                </a:lnTo>
                <a:lnTo>
                  <a:pt x="10357" y="1426"/>
                </a:lnTo>
                <a:lnTo>
                  <a:pt x="10318" y="1292"/>
                </a:lnTo>
                <a:lnTo>
                  <a:pt x="10269" y="1157"/>
                </a:lnTo>
                <a:lnTo>
                  <a:pt x="10222" y="1032"/>
                </a:lnTo>
                <a:lnTo>
                  <a:pt x="10163" y="916"/>
                </a:lnTo>
                <a:lnTo>
                  <a:pt x="10096" y="809"/>
                </a:lnTo>
                <a:lnTo>
                  <a:pt x="10028" y="723"/>
                </a:lnTo>
                <a:lnTo>
                  <a:pt x="9950" y="646"/>
                </a:lnTo>
                <a:lnTo>
                  <a:pt x="9864" y="588"/>
                </a:lnTo>
                <a:lnTo>
                  <a:pt x="9815" y="569"/>
                </a:lnTo>
                <a:lnTo>
                  <a:pt x="9767" y="559"/>
                </a:lnTo>
                <a:lnTo>
                  <a:pt x="9718" y="550"/>
                </a:lnTo>
                <a:lnTo>
                  <a:pt x="9671" y="540"/>
                </a:lnTo>
                <a:lnTo>
                  <a:pt x="5938" y="540"/>
                </a:lnTo>
                <a:lnTo>
                  <a:pt x="5938" y="328"/>
                </a:lnTo>
                <a:lnTo>
                  <a:pt x="6219" y="328"/>
                </a:lnTo>
                <a:lnTo>
                  <a:pt x="6219" y="0"/>
                </a:lnTo>
                <a:lnTo>
                  <a:pt x="4575" y="0"/>
                </a:lnTo>
                <a:lnTo>
                  <a:pt x="4575" y="328"/>
                </a:lnTo>
                <a:lnTo>
                  <a:pt x="4846" y="328"/>
                </a:lnTo>
                <a:lnTo>
                  <a:pt x="4846" y="540"/>
                </a:lnTo>
                <a:lnTo>
                  <a:pt x="1343" y="540"/>
                </a:lnTo>
                <a:lnTo>
                  <a:pt x="1286" y="550"/>
                </a:lnTo>
                <a:lnTo>
                  <a:pt x="1218" y="559"/>
                </a:lnTo>
                <a:lnTo>
                  <a:pt x="1170" y="588"/>
                </a:lnTo>
                <a:lnTo>
                  <a:pt x="1112" y="617"/>
                </a:lnTo>
                <a:lnTo>
                  <a:pt x="1064" y="655"/>
                </a:lnTo>
                <a:lnTo>
                  <a:pt x="1005" y="704"/>
                </a:lnTo>
                <a:lnTo>
                  <a:pt x="967" y="762"/>
                </a:lnTo>
                <a:lnTo>
                  <a:pt x="919" y="819"/>
                </a:lnTo>
                <a:lnTo>
                  <a:pt x="473" y="819"/>
                </a:lnTo>
                <a:lnTo>
                  <a:pt x="522" y="617"/>
                </a:lnTo>
                <a:lnTo>
                  <a:pt x="551" y="540"/>
                </a:lnTo>
                <a:lnTo>
                  <a:pt x="271" y="540"/>
                </a:lnTo>
                <a:lnTo>
                  <a:pt x="232" y="685"/>
                </a:lnTo>
                <a:lnTo>
                  <a:pt x="194" y="849"/>
                </a:lnTo>
                <a:close/>
                <a:moveTo>
                  <a:pt x="406" y="1089"/>
                </a:moveTo>
                <a:lnTo>
                  <a:pt x="773" y="1089"/>
                </a:lnTo>
                <a:lnTo>
                  <a:pt x="725" y="1224"/>
                </a:lnTo>
                <a:lnTo>
                  <a:pt x="677" y="1359"/>
                </a:lnTo>
                <a:lnTo>
                  <a:pt x="638" y="1495"/>
                </a:lnTo>
                <a:lnTo>
                  <a:pt x="609" y="1639"/>
                </a:lnTo>
                <a:lnTo>
                  <a:pt x="310" y="1639"/>
                </a:lnTo>
                <a:lnTo>
                  <a:pt x="357" y="1350"/>
                </a:lnTo>
                <a:lnTo>
                  <a:pt x="406" y="1089"/>
                </a:lnTo>
                <a:close/>
                <a:moveTo>
                  <a:pt x="609" y="2729"/>
                </a:moveTo>
                <a:lnTo>
                  <a:pt x="638" y="2873"/>
                </a:lnTo>
                <a:lnTo>
                  <a:pt x="677" y="3008"/>
                </a:lnTo>
                <a:lnTo>
                  <a:pt x="725" y="3143"/>
                </a:lnTo>
                <a:lnTo>
                  <a:pt x="773" y="3279"/>
                </a:lnTo>
                <a:lnTo>
                  <a:pt x="406" y="3279"/>
                </a:lnTo>
                <a:lnTo>
                  <a:pt x="357" y="3018"/>
                </a:lnTo>
                <a:lnTo>
                  <a:pt x="310" y="2729"/>
                </a:lnTo>
                <a:lnTo>
                  <a:pt x="609" y="2729"/>
                </a:lnTo>
                <a:close/>
                <a:moveTo>
                  <a:pt x="551" y="2314"/>
                </a:moveTo>
                <a:lnTo>
                  <a:pt x="570" y="2458"/>
                </a:lnTo>
                <a:lnTo>
                  <a:pt x="281" y="2458"/>
                </a:lnTo>
                <a:lnTo>
                  <a:pt x="271" y="2179"/>
                </a:lnTo>
                <a:lnTo>
                  <a:pt x="281" y="1909"/>
                </a:lnTo>
                <a:lnTo>
                  <a:pt x="570" y="1909"/>
                </a:lnTo>
                <a:lnTo>
                  <a:pt x="551" y="2054"/>
                </a:lnTo>
                <a:lnTo>
                  <a:pt x="551" y="2179"/>
                </a:lnTo>
                <a:lnTo>
                  <a:pt x="551" y="2314"/>
                </a:lnTo>
                <a:close/>
                <a:moveTo>
                  <a:pt x="1536" y="3233"/>
                </a:moveTo>
                <a:lnTo>
                  <a:pt x="1536" y="1089"/>
                </a:lnTo>
                <a:lnTo>
                  <a:pt x="2680" y="1089"/>
                </a:lnTo>
                <a:lnTo>
                  <a:pt x="2680" y="1415"/>
                </a:lnTo>
                <a:lnTo>
                  <a:pt x="1892" y="1415"/>
                </a:lnTo>
                <a:lnTo>
                  <a:pt x="1892" y="1939"/>
                </a:lnTo>
                <a:lnTo>
                  <a:pt x="1969" y="1939"/>
                </a:lnTo>
                <a:lnTo>
                  <a:pt x="2050" y="1939"/>
                </a:lnTo>
                <a:lnTo>
                  <a:pt x="2090" y="1939"/>
                </a:lnTo>
                <a:lnTo>
                  <a:pt x="2131" y="1940"/>
                </a:lnTo>
                <a:lnTo>
                  <a:pt x="2172" y="1942"/>
                </a:lnTo>
                <a:lnTo>
                  <a:pt x="2214" y="1944"/>
                </a:lnTo>
                <a:lnTo>
                  <a:pt x="2254" y="1947"/>
                </a:lnTo>
                <a:lnTo>
                  <a:pt x="2294" y="1951"/>
                </a:lnTo>
                <a:lnTo>
                  <a:pt x="2335" y="1956"/>
                </a:lnTo>
                <a:lnTo>
                  <a:pt x="2374" y="1962"/>
                </a:lnTo>
                <a:lnTo>
                  <a:pt x="2413" y="1970"/>
                </a:lnTo>
                <a:lnTo>
                  <a:pt x="2451" y="1979"/>
                </a:lnTo>
                <a:lnTo>
                  <a:pt x="2488" y="1991"/>
                </a:lnTo>
                <a:lnTo>
                  <a:pt x="2524" y="2003"/>
                </a:lnTo>
                <a:lnTo>
                  <a:pt x="2559" y="2018"/>
                </a:lnTo>
                <a:lnTo>
                  <a:pt x="2593" y="2035"/>
                </a:lnTo>
                <a:lnTo>
                  <a:pt x="2625" y="2055"/>
                </a:lnTo>
                <a:lnTo>
                  <a:pt x="2656" y="2077"/>
                </a:lnTo>
                <a:lnTo>
                  <a:pt x="2684" y="2101"/>
                </a:lnTo>
                <a:lnTo>
                  <a:pt x="2711" y="2127"/>
                </a:lnTo>
                <a:lnTo>
                  <a:pt x="2736" y="2157"/>
                </a:lnTo>
                <a:lnTo>
                  <a:pt x="2760" y="2189"/>
                </a:lnTo>
                <a:lnTo>
                  <a:pt x="2780" y="2225"/>
                </a:lnTo>
                <a:lnTo>
                  <a:pt x="2799" y="2264"/>
                </a:lnTo>
                <a:lnTo>
                  <a:pt x="2814" y="2305"/>
                </a:lnTo>
                <a:lnTo>
                  <a:pt x="2827" y="2352"/>
                </a:lnTo>
                <a:lnTo>
                  <a:pt x="2838" y="2400"/>
                </a:lnTo>
                <a:lnTo>
                  <a:pt x="2846" y="2453"/>
                </a:lnTo>
                <a:lnTo>
                  <a:pt x="2850" y="2510"/>
                </a:lnTo>
                <a:lnTo>
                  <a:pt x="2852" y="2571"/>
                </a:lnTo>
                <a:lnTo>
                  <a:pt x="2850" y="2642"/>
                </a:lnTo>
                <a:lnTo>
                  <a:pt x="2844" y="2709"/>
                </a:lnTo>
                <a:lnTo>
                  <a:pt x="2834" y="2770"/>
                </a:lnTo>
                <a:lnTo>
                  <a:pt x="2821" y="2828"/>
                </a:lnTo>
                <a:lnTo>
                  <a:pt x="2804" y="2879"/>
                </a:lnTo>
                <a:lnTo>
                  <a:pt x="2784" y="2927"/>
                </a:lnTo>
                <a:lnTo>
                  <a:pt x="2760" y="2971"/>
                </a:lnTo>
                <a:lnTo>
                  <a:pt x="2733" y="3010"/>
                </a:lnTo>
                <a:lnTo>
                  <a:pt x="2703" y="3045"/>
                </a:lnTo>
                <a:lnTo>
                  <a:pt x="2671" y="3076"/>
                </a:lnTo>
                <a:lnTo>
                  <a:pt x="2635" y="3105"/>
                </a:lnTo>
                <a:lnTo>
                  <a:pt x="2598" y="3130"/>
                </a:lnTo>
                <a:lnTo>
                  <a:pt x="2558" y="3152"/>
                </a:lnTo>
                <a:lnTo>
                  <a:pt x="2515" y="3170"/>
                </a:lnTo>
                <a:lnTo>
                  <a:pt x="2471" y="3186"/>
                </a:lnTo>
                <a:lnTo>
                  <a:pt x="2425" y="3200"/>
                </a:lnTo>
                <a:lnTo>
                  <a:pt x="2376" y="3211"/>
                </a:lnTo>
                <a:lnTo>
                  <a:pt x="2327" y="3220"/>
                </a:lnTo>
                <a:lnTo>
                  <a:pt x="2275" y="3227"/>
                </a:lnTo>
                <a:lnTo>
                  <a:pt x="2223" y="3233"/>
                </a:lnTo>
                <a:lnTo>
                  <a:pt x="2169" y="3237"/>
                </a:lnTo>
                <a:lnTo>
                  <a:pt x="2114" y="3239"/>
                </a:lnTo>
                <a:lnTo>
                  <a:pt x="2058" y="3241"/>
                </a:lnTo>
                <a:lnTo>
                  <a:pt x="2002" y="3241"/>
                </a:lnTo>
                <a:lnTo>
                  <a:pt x="1886" y="3240"/>
                </a:lnTo>
                <a:lnTo>
                  <a:pt x="1769" y="3237"/>
                </a:lnTo>
                <a:lnTo>
                  <a:pt x="1652" y="3234"/>
                </a:lnTo>
                <a:lnTo>
                  <a:pt x="1536" y="3233"/>
                </a:lnTo>
                <a:close/>
                <a:moveTo>
                  <a:pt x="3115" y="3233"/>
                </a:moveTo>
                <a:lnTo>
                  <a:pt x="3115" y="1089"/>
                </a:lnTo>
                <a:lnTo>
                  <a:pt x="3464" y="1089"/>
                </a:lnTo>
                <a:lnTo>
                  <a:pt x="3464" y="2525"/>
                </a:lnTo>
                <a:lnTo>
                  <a:pt x="3473" y="2528"/>
                </a:lnTo>
                <a:lnTo>
                  <a:pt x="4196" y="1089"/>
                </a:lnTo>
                <a:lnTo>
                  <a:pt x="4523" y="1089"/>
                </a:lnTo>
                <a:lnTo>
                  <a:pt x="4523" y="3233"/>
                </a:lnTo>
                <a:lnTo>
                  <a:pt x="4172" y="3233"/>
                </a:lnTo>
                <a:lnTo>
                  <a:pt x="4172" y="1834"/>
                </a:lnTo>
                <a:lnTo>
                  <a:pt x="4165" y="1834"/>
                </a:lnTo>
                <a:lnTo>
                  <a:pt x="3448" y="3233"/>
                </a:lnTo>
                <a:lnTo>
                  <a:pt x="3115" y="3233"/>
                </a:lnTo>
                <a:close/>
                <a:moveTo>
                  <a:pt x="5190" y="3233"/>
                </a:moveTo>
                <a:lnTo>
                  <a:pt x="5190" y="1409"/>
                </a:lnTo>
                <a:lnTo>
                  <a:pt x="4718" y="1409"/>
                </a:lnTo>
                <a:lnTo>
                  <a:pt x="4718" y="1089"/>
                </a:lnTo>
                <a:lnTo>
                  <a:pt x="6018" y="1089"/>
                </a:lnTo>
                <a:lnTo>
                  <a:pt x="6018" y="1409"/>
                </a:lnTo>
                <a:lnTo>
                  <a:pt x="5542" y="1409"/>
                </a:lnTo>
                <a:lnTo>
                  <a:pt x="5542" y="3233"/>
                </a:lnTo>
                <a:lnTo>
                  <a:pt x="5190" y="3233"/>
                </a:lnTo>
                <a:close/>
                <a:moveTo>
                  <a:pt x="6630" y="2706"/>
                </a:moveTo>
                <a:lnTo>
                  <a:pt x="6070" y="1092"/>
                </a:lnTo>
                <a:lnTo>
                  <a:pt x="6436" y="1092"/>
                </a:lnTo>
                <a:lnTo>
                  <a:pt x="6794" y="2260"/>
                </a:lnTo>
                <a:lnTo>
                  <a:pt x="6809" y="2260"/>
                </a:lnTo>
                <a:lnTo>
                  <a:pt x="7139" y="1092"/>
                </a:lnTo>
                <a:lnTo>
                  <a:pt x="7486" y="1092"/>
                </a:lnTo>
                <a:lnTo>
                  <a:pt x="7457" y="1185"/>
                </a:lnTo>
                <a:lnTo>
                  <a:pt x="7423" y="1298"/>
                </a:lnTo>
                <a:lnTo>
                  <a:pt x="7385" y="1427"/>
                </a:lnTo>
                <a:lnTo>
                  <a:pt x="7343" y="1571"/>
                </a:lnTo>
                <a:lnTo>
                  <a:pt x="7297" y="1726"/>
                </a:lnTo>
                <a:lnTo>
                  <a:pt x="7248" y="1889"/>
                </a:lnTo>
                <a:lnTo>
                  <a:pt x="7198" y="2054"/>
                </a:lnTo>
                <a:lnTo>
                  <a:pt x="7145" y="2220"/>
                </a:lnTo>
                <a:lnTo>
                  <a:pt x="7119" y="2302"/>
                </a:lnTo>
                <a:lnTo>
                  <a:pt x="7092" y="2384"/>
                </a:lnTo>
                <a:lnTo>
                  <a:pt x="7065" y="2463"/>
                </a:lnTo>
                <a:lnTo>
                  <a:pt x="7037" y="2541"/>
                </a:lnTo>
                <a:lnTo>
                  <a:pt x="7010" y="2615"/>
                </a:lnTo>
                <a:lnTo>
                  <a:pt x="6983" y="2688"/>
                </a:lnTo>
                <a:lnTo>
                  <a:pt x="6956" y="2757"/>
                </a:lnTo>
                <a:lnTo>
                  <a:pt x="6928" y="2823"/>
                </a:lnTo>
                <a:lnTo>
                  <a:pt x="6902" y="2884"/>
                </a:lnTo>
                <a:lnTo>
                  <a:pt x="6876" y="2940"/>
                </a:lnTo>
                <a:lnTo>
                  <a:pt x="6850" y="2993"/>
                </a:lnTo>
                <a:lnTo>
                  <a:pt x="6824" y="3039"/>
                </a:lnTo>
                <a:lnTo>
                  <a:pt x="6799" y="3080"/>
                </a:lnTo>
                <a:lnTo>
                  <a:pt x="6775" y="3115"/>
                </a:lnTo>
                <a:lnTo>
                  <a:pt x="6752" y="3143"/>
                </a:lnTo>
                <a:lnTo>
                  <a:pt x="6728" y="3164"/>
                </a:lnTo>
                <a:lnTo>
                  <a:pt x="6268" y="3245"/>
                </a:lnTo>
                <a:lnTo>
                  <a:pt x="6268" y="2956"/>
                </a:lnTo>
                <a:lnTo>
                  <a:pt x="6346" y="2956"/>
                </a:lnTo>
                <a:lnTo>
                  <a:pt x="6407" y="2955"/>
                </a:lnTo>
                <a:lnTo>
                  <a:pt x="6432" y="2952"/>
                </a:lnTo>
                <a:lnTo>
                  <a:pt x="6454" y="2948"/>
                </a:lnTo>
                <a:lnTo>
                  <a:pt x="6464" y="2946"/>
                </a:lnTo>
                <a:lnTo>
                  <a:pt x="6474" y="2942"/>
                </a:lnTo>
                <a:lnTo>
                  <a:pt x="6483" y="2938"/>
                </a:lnTo>
                <a:lnTo>
                  <a:pt x="6491" y="2934"/>
                </a:lnTo>
                <a:lnTo>
                  <a:pt x="6499" y="2929"/>
                </a:lnTo>
                <a:lnTo>
                  <a:pt x="6507" y="2923"/>
                </a:lnTo>
                <a:lnTo>
                  <a:pt x="6516" y="2917"/>
                </a:lnTo>
                <a:lnTo>
                  <a:pt x="6523" y="2910"/>
                </a:lnTo>
                <a:lnTo>
                  <a:pt x="6530" y="2902"/>
                </a:lnTo>
                <a:lnTo>
                  <a:pt x="6537" y="2894"/>
                </a:lnTo>
                <a:lnTo>
                  <a:pt x="6544" y="2884"/>
                </a:lnTo>
                <a:lnTo>
                  <a:pt x="6551" y="2874"/>
                </a:lnTo>
                <a:lnTo>
                  <a:pt x="6565" y="2850"/>
                </a:lnTo>
                <a:lnTo>
                  <a:pt x="6580" y="2822"/>
                </a:lnTo>
                <a:lnTo>
                  <a:pt x="6596" y="2788"/>
                </a:lnTo>
                <a:lnTo>
                  <a:pt x="6614" y="2751"/>
                </a:lnTo>
                <a:lnTo>
                  <a:pt x="6630" y="2706"/>
                </a:lnTo>
                <a:close/>
                <a:moveTo>
                  <a:pt x="7708" y="3233"/>
                </a:moveTo>
                <a:lnTo>
                  <a:pt x="7708" y="1089"/>
                </a:lnTo>
                <a:lnTo>
                  <a:pt x="8045" y="1089"/>
                </a:lnTo>
                <a:lnTo>
                  <a:pt x="8557" y="2309"/>
                </a:lnTo>
                <a:lnTo>
                  <a:pt x="8570" y="2309"/>
                </a:lnTo>
                <a:lnTo>
                  <a:pt x="9073" y="1089"/>
                </a:lnTo>
                <a:lnTo>
                  <a:pt x="9412" y="1089"/>
                </a:lnTo>
                <a:lnTo>
                  <a:pt x="9412" y="3233"/>
                </a:lnTo>
                <a:lnTo>
                  <a:pt x="9061" y="3233"/>
                </a:lnTo>
                <a:lnTo>
                  <a:pt x="9061" y="1979"/>
                </a:lnTo>
                <a:lnTo>
                  <a:pt x="9048" y="1979"/>
                </a:lnTo>
                <a:lnTo>
                  <a:pt x="8687" y="2848"/>
                </a:lnTo>
                <a:lnTo>
                  <a:pt x="8437" y="2848"/>
                </a:lnTo>
                <a:lnTo>
                  <a:pt x="8072" y="1976"/>
                </a:lnTo>
                <a:lnTo>
                  <a:pt x="8060" y="1979"/>
                </a:lnTo>
                <a:lnTo>
                  <a:pt x="8060" y="3233"/>
                </a:lnTo>
                <a:lnTo>
                  <a:pt x="7708" y="3233"/>
                </a:lnTo>
                <a:close/>
                <a:moveTo>
                  <a:pt x="2147" y="5104"/>
                </a:moveTo>
                <a:lnTo>
                  <a:pt x="2238" y="5049"/>
                </a:lnTo>
                <a:lnTo>
                  <a:pt x="2328" y="5031"/>
                </a:lnTo>
                <a:lnTo>
                  <a:pt x="2437" y="5049"/>
                </a:lnTo>
                <a:lnTo>
                  <a:pt x="2508" y="5104"/>
                </a:lnTo>
                <a:lnTo>
                  <a:pt x="2563" y="5176"/>
                </a:lnTo>
                <a:lnTo>
                  <a:pt x="2581" y="5284"/>
                </a:lnTo>
                <a:lnTo>
                  <a:pt x="2563" y="5375"/>
                </a:lnTo>
                <a:lnTo>
                  <a:pt x="2508" y="5465"/>
                </a:lnTo>
                <a:lnTo>
                  <a:pt x="2437" y="5519"/>
                </a:lnTo>
                <a:lnTo>
                  <a:pt x="2328" y="5537"/>
                </a:lnTo>
                <a:lnTo>
                  <a:pt x="2238" y="5519"/>
                </a:lnTo>
                <a:lnTo>
                  <a:pt x="2147" y="5465"/>
                </a:lnTo>
                <a:lnTo>
                  <a:pt x="2092" y="5375"/>
                </a:lnTo>
                <a:lnTo>
                  <a:pt x="2074" y="5284"/>
                </a:lnTo>
                <a:lnTo>
                  <a:pt x="2092" y="5176"/>
                </a:lnTo>
                <a:lnTo>
                  <a:pt x="2147" y="5104"/>
                </a:lnTo>
                <a:close/>
                <a:moveTo>
                  <a:pt x="5060" y="5122"/>
                </a:moveTo>
                <a:lnTo>
                  <a:pt x="5024" y="4978"/>
                </a:lnTo>
                <a:lnTo>
                  <a:pt x="4951" y="4851"/>
                </a:lnTo>
                <a:lnTo>
                  <a:pt x="4861" y="4743"/>
                </a:lnTo>
                <a:lnTo>
                  <a:pt x="4752" y="4653"/>
                </a:lnTo>
                <a:lnTo>
                  <a:pt x="4608" y="4580"/>
                </a:lnTo>
                <a:lnTo>
                  <a:pt x="4462" y="4527"/>
                </a:lnTo>
                <a:lnTo>
                  <a:pt x="4318" y="4509"/>
                </a:lnTo>
                <a:lnTo>
                  <a:pt x="4155" y="4527"/>
                </a:lnTo>
                <a:lnTo>
                  <a:pt x="4010" y="4580"/>
                </a:lnTo>
                <a:lnTo>
                  <a:pt x="3884" y="4653"/>
                </a:lnTo>
                <a:lnTo>
                  <a:pt x="3775" y="4743"/>
                </a:lnTo>
                <a:lnTo>
                  <a:pt x="3685" y="4851"/>
                </a:lnTo>
                <a:lnTo>
                  <a:pt x="3613" y="4978"/>
                </a:lnTo>
                <a:lnTo>
                  <a:pt x="3558" y="5122"/>
                </a:lnTo>
                <a:lnTo>
                  <a:pt x="3540" y="5284"/>
                </a:lnTo>
                <a:lnTo>
                  <a:pt x="3558" y="5429"/>
                </a:lnTo>
                <a:lnTo>
                  <a:pt x="3613" y="5573"/>
                </a:lnTo>
                <a:lnTo>
                  <a:pt x="3685" y="5717"/>
                </a:lnTo>
                <a:lnTo>
                  <a:pt x="3775" y="5826"/>
                </a:lnTo>
                <a:lnTo>
                  <a:pt x="3884" y="5916"/>
                </a:lnTo>
                <a:lnTo>
                  <a:pt x="4010" y="5988"/>
                </a:lnTo>
                <a:lnTo>
                  <a:pt x="4155" y="6024"/>
                </a:lnTo>
                <a:lnTo>
                  <a:pt x="4318" y="6042"/>
                </a:lnTo>
                <a:lnTo>
                  <a:pt x="4462" y="6024"/>
                </a:lnTo>
                <a:lnTo>
                  <a:pt x="4608" y="5988"/>
                </a:lnTo>
                <a:lnTo>
                  <a:pt x="4752" y="5916"/>
                </a:lnTo>
                <a:lnTo>
                  <a:pt x="4861" y="5826"/>
                </a:lnTo>
                <a:lnTo>
                  <a:pt x="4951" y="5717"/>
                </a:lnTo>
                <a:lnTo>
                  <a:pt x="5024" y="5573"/>
                </a:lnTo>
                <a:lnTo>
                  <a:pt x="5060" y="5429"/>
                </a:lnTo>
                <a:lnTo>
                  <a:pt x="5078" y="5284"/>
                </a:lnTo>
                <a:lnTo>
                  <a:pt x="5060" y="5122"/>
                </a:lnTo>
                <a:close/>
                <a:moveTo>
                  <a:pt x="4499" y="5104"/>
                </a:moveTo>
                <a:lnTo>
                  <a:pt x="4553" y="5176"/>
                </a:lnTo>
                <a:lnTo>
                  <a:pt x="4571" y="5284"/>
                </a:lnTo>
                <a:lnTo>
                  <a:pt x="4553" y="5375"/>
                </a:lnTo>
                <a:lnTo>
                  <a:pt x="4499" y="5465"/>
                </a:lnTo>
                <a:lnTo>
                  <a:pt x="4408" y="5519"/>
                </a:lnTo>
                <a:lnTo>
                  <a:pt x="4318" y="5537"/>
                </a:lnTo>
                <a:lnTo>
                  <a:pt x="4209" y="5519"/>
                </a:lnTo>
                <a:lnTo>
                  <a:pt x="4137" y="5465"/>
                </a:lnTo>
                <a:lnTo>
                  <a:pt x="4083" y="5375"/>
                </a:lnTo>
                <a:lnTo>
                  <a:pt x="4065" y="5284"/>
                </a:lnTo>
                <a:lnTo>
                  <a:pt x="4083" y="5176"/>
                </a:lnTo>
                <a:lnTo>
                  <a:pt x="4137" y="5104"/>
                </a:lnTo>
                <a:lnTo>
                  <a:pt x="4209" y="5049"/>
                </a:lnTo>
                <a:lnTo>
                  <a:pt x="4318" y="5031"/>
                </a:lnTo>
                <a:lnTo>
                  <a:pt x="4408" y="5049"/>
                </a:lnTo>
                <a:lnTo>
                  <a:pt x="4499" y="5104"/>
                </a:lnTo>
                <a:close/>
                <a:moveTo>
                  <a:pt x="9764" y="5284"/>
                </a:moveTo>
                <a:lnTo>
                  <a:pt x="9746" y="5122"/>
                </a:lnTo>
                <a:lnTo>
                  <a:pt x="9709" y="4978"/>
                </a:lnTo>
                <a:lnTo>
                  <a:pt x="9638" y="4851"/>
                </a:lnTo>
                <a:lnTo>
                  <a:pt x="9547" y="4743"/>
                </a:lnTo>
                <a:lnTo>
                  <a:pt x="9419" y="4653"/>
                </a:lnTo>
                <a:lnTo>
                  <a:pt x="9293" y="4580"/>
                </a:lnTo>
                <a:lnTo>
                  <a:pt x="9148" y="4527"/>
                </a:lnTo>
                <a:lnTo>
                  <a:pt x="9004" y="4509"/>
                </a:lnTo>
                <a:lnTo>
                  <a:pt x="8841" y="4527"/>
                </a:lnTo>
                <a:lnTo>
                  <a:pt x="8696" y="4580"/>
                </a:lnTo>
                <a:lnTo>
                  <a:pt x="8570" y="4653"/>
                </a:lnTo>
                <a:lnTo>
                  <a:pt x="8461" y="4743"/>
                </a:lnTo>
                <a:lnTo>
                  <a:pt x="8353" y="4851"/>
                </a:lnTo>
                <a:lnTo>
                  <a:pt x="8280" y="4978"/>
                </a:lnTo>
                <a:lnTo>
                  <a:pt x="8244" y="5122"/>
                </a:lnTo>
                <a:lnTo>
                  <a:pt x="8225" y="5284"/>
                </a:lnTo>
                <a:lnTo>
                  <a:pt x="8244" y="5429"/>
                </a:lnTo>
                <a:lnTo>
                  <a:pt x="8280" y="5573"/>
                </a:lnTo>
                <a:lnTo>
                  <a:pt x="8353" y="5717"/>
                </a:lnTo>
                <a:lnTo>
                  <a:pt x="8461" y="5826"/>
                </a:lnTo>
                <a:lnTo>
                  <a:pt x="8570" y="5916"/>
                </a:lnTo>
                <a:lnTo>
                  <a:pt x="8696" y="5988"/>
                </a:lnTo>
                <a:lnTo>
                  <a:pt x="8841" y="6024"/>
                </a:lnTo>
                <a:lnTo>
                  <a:pt x="9004" y="6042"/>
                </a:lnTo>
                <a:lnTo>
                  <a:pt x="9148" y="6024"/>
                </a:lnTo>
                <a:lnTo>
                  <a:pt x="9293" y="5988"/>
                </a:lnTo>
                <a:lnTo>
                  <a:pt x="9419" y="5916"/>
                </a:lnTo>
                <a:lnTo>
                  <a:pt x="9547" y="5826"/>
                </a:lnTo>
                <a:lnTo>
                  <a:pt x="9638" y="5717"/>
                </a:lnTo>
                <a:lnTo>
                  <a:pt x="9709" y="5573"/>
                </a:lnTo>
                <a:lnTo>
                  <a:pt x="9746" y="5429"/>
                </a:lnTo>
                <a:lnTo>
                  <a:pt x="9764" y="5284"/>
                </a:lnTo>
                <a:close/>
                <a:moveTo>
                  <a:pt x="9184" y="5104"/>
                </a:moveTo>
                <a:lnTo>
                  <a:pt x="9239" y="5176"/>
                </a:lnTo>
                <a:lnTo>
                  <a:pt x="9257" y="5284"/>
                </a:lnTo>
                <a:lnTo>
                  <a:pt x="9239" y="5375"/>
                </a:lnTo>
                <a:lnTo>
                  <a:pt x="9184" y="5465"/>
                </a:lnTo>
                <a:lnTo>
                  <a:pt x="9094" y="5519"/>
                </a:lnTo>
                <a:lnTo>
                  <a:pt x="9004" y="5537"/>
                </a:lnTo>
                <a:lnTo>
                  <a:pt x="8896" y="5519"/>
                </a:lnTo>
                <a:lnTo>
                  <a:pt x="8823" y="5465"/>
                </a:lnTo>
                <a:lnTo>
                  <a:pt x="8768" y="5375"/>
                </a:lnTo>
                <a:lnTo>
                  <a:pt x="8732" y="5284"/>
                </a:lnTo>
                <a:lnTo>
                  <a:pt x="8768" y="5176"/>
                </a:lnTo>
                <a:lnTo>
                  <a:pt x="8823" y="5104"/>
                </a:lnTo>
                <a:lnTo>
                  <a:pt x="8896" y="5049"/>
                </a:lnTo>
                <a:lnTo>
                  <a:pt x="9004" y="5031"/>
                </a:lnTo>
                <a:lnTo>
                  <a:pt x="9094" y="5049"/>
                </a:lnTo>
                <a:lnTo>
                  <a:pt x="9184" y="5104"/>
                </a:lnTo>
                <a:close/>
                <a:moveTo>
                  <a:pt x="13581" y="5284"/>
                </a:moveTo>
                <a:lnTo>
                  <a:pt x="13599" y="5429"/>
                </a:lnTo>
                <a:lnTo>
                  <a:pt x="13636" y="5573"/>
                </a:lnTo>
                <a:lnTo>
                  <a:pt x="13707" y="5717"/>
                </a:lnTo>
                <a:lnTo>
                  <a:pt x="13798" y="5826"/>
                </a:lnTo>
                <a:lnTo>
                  <a:pt x="13924" y="5916"/>
                </a:lnTo>
                <a:lnTo>
                  <a:pt x="14052" y="5988"/>
                </a:lnTo>
                <a:lnTo>
                  <a:pt x="14196" y="6024"/>
                </a:lnTo>
                <a:lnTo>
                  <a:pt x="14341" y="6042"/>
                </a:lnTo>
                <a:lnTo>
                  <a:pt x="14504" y="6024"/>
                </a:lnTo>
                <a:lnTo>
                  <a:pt x="14648" y="5988"/>
                </a:lnTo>
                <a:lnTo>
                  <a:pt x="14775" y="5916"/>
                </a:lnTo>
                <a:lnTo>
                  <a:pt x="14883" y="5826"/>
                </a:lnTo>
                <a:lnTo>
                  <a:pt x="14992" y="5717"/>
                </a:lnTo>
                <a:lnTo>
                  <a:pt x="15065" y="5573"/>
                </a:lnTo>
                <a:lnTo>
                  <a:pt x="15100" y="5429"/>
                </a:lnTo>
                <a:lnTo>
                  <a:pt x="15118" y="5284"/>
                </a:lnTo>
                <a:lnTo>
                  <a:pt x="15100" y="5122"/>
                </a:lnTo>
                <a:lnTo>
                  <a:pt x="15065" y="4978"/>
                </a:lnTo>
                <a:lnTo>
                  <a:pt x="14992" y="4851"/>
                </a:lnTo>
                <a:lnTo>
                  <a:pt x="14883" y="4743"/>
                </a:lnTo>
                <a:lnTo>
                  <a:pt x="14775" y="4653"/>
                </a:lnTo>
                <a:lnTo>
                  <a:pt x="14648" y="4580"/>
                </a:lnTo>
                <a:lnTo>
                  <a:pt x="14504" y="4527"/>
                </a:lnTo>
                <a:lnTo>
                  <a:pt x="14341" y="4509"/>
                </a:lnTo>
                <a:lnTo>
                  <a:pt x="14196" y="4527"/>
                </a:lnTo>
                <a:lnTo>
                  <a:pt x="14052" y="4580"/>
                </a:lnTo>
                <a:lnTo>
                  <a:pt x="13924" y="4653"/>
                </a:lnTo>
                <a:lnTo>
                  <a:pt x="13798" y="4743"/>
                </a:lnTo>
                <a:lnTo>
                  <a:pt x="13707" y="4851"/>
                </a:lnTo>
                <a:lnTo>
                  <a:pt x="13636" y="4978"/>
                </a:lnTo>
                <a:lnTo>
                  <a:pt x="13599" y="5122"/>
                </a:lnTo>
                <a:lnTo>
                  <a:pt x="13581" y="5284"/>
                </a:lnTo>
                <a:close/>
                <a:moveTo>
                  <a:pt x="14250" y="5519"/>
                </a:moveTo>
                <a:lnTo>
                  <a:pt x="14160" y="5465"/>
                </a:lnTo>
                <a:lnTo>
                  <a:pt x="14106" y="5375"/>
                </a:lnTo>
                <a:lnTo>
                  <a:pt x="14088" y="5284"/>
                </a:lnTo>
                <a:lnTo>
                  <a:pt x="14106" y="5176"/>
                </a:lnTo>
                <a:lnTo>
                  <a:pt x="14160" y="5104"/>
                </a:lnTo>
                <a:lnTo>
                  <a:pt x="14250" y="5049"/>
                </a:lnTo>
                <a:lnTo>
                  <a:pt x="14341" y="5031"/>
                </a:lnTo>
                <a:lnTo>
                  <a:pt x="14449" y="5049"/>
                </a:lnTo>
                <a:lnTo>
                  <a:pt x="14522" y="5104"/>
                </a:lnTo>
                <a:lnTo>
                  <a:pt x="14576" y="5176"/>
                </a:lnTo>
                <a:lnTo>
                  <a:pt x="14612" y="5284"/>
                </a:lnTo>
                <a:lnTo>
                  <a:pt x="14576" y="5375"/>
                </a:lnTo>
                <a:lnTo>
                  <a:pt x="14522" y="5465"/>
                </a:lnTo>
                <a:lnTo>
                  <a:pt x="14449" y="5519"/>
                </a:lnTo>
                <a:lnTo>
                  <a:pt x="14341" y="5537"/>
                </a:lnTo>
                <a:lnTo>
                  <a:pt x="14250" y="5519"/>
                </a:lnTo>
                <a:close/>
                <a:moveTo>
                  <a:pt x="2798" y="4346"/>
                </a:moveTo>
                <a:lnTo>
                  <a:pt x="2943" y="4418"/>
                </a:lnTo>
                <a:lnTo>
                  <a:pt x="3070" y="4527"/>
                </a:lnTo>
                <a:lnTo>
                  <a:pt x="3160" y="4635"/>
                </a:lnTo>
                <a:lnTo>
                  <a:pt x="3250" y="4780"/>
                </a:lnTo>
                <a:lnTo>
                  <a:pt x="3323" y="4924"/>
                </a:lnTo>
                <a:lnTo>
                  <a:pt x="3396" y="4780"/>
                </a:lnTo>
                <a:lnTo>
                  <a:pt x="3467" y="4635"/>
                </a:lnTo>
                <a:lnTo>
                  <a:pt x="3576" y="4527"/>
                </a:lnTo>
                <a:lnTo>
                  <a:pt x="3702" y="4418"/>
                </a:lnTo>
                <a:lnTo>
                  <a:pt x="3848" y="4346"/>
                </a:lnTo>
                <a:lnTo>
                  <a:pt x="3956" y="4292"/>
                </a:lnTo>
                <a:lnTo>
                  <a:pt x="2690" y="4292"/>
                </a:lnTo>
                <a:lnTo>
                  <a:pt x="2798" y="4346"/>
                </a:lnTo>
                <a:close/>
                <a:moveTo>
                  <a:pt x="1478" y="4292"/>
                </a:moveTo>
                <a:lnTo>
                  <a:pt x="754" y="4292"/>
                </a:lnTo>
                <a:lnTo>
                  <a:pt x="754" y="5320"/>
                </a:lnTo>
                <a:lnTo>
                  <a:pt x="1279" y="5320"/>
                </a:lnTo>
                <a:lnTo>
                  <a:pt x="1279" y="5284"/>
                </a:lnTo>
                <a:lnTo>
                  <a:pt x="1279" y="5176"/>
                </a:lnTo>
                <a:lnTo>
                  <a:pt x="1297" y="5068"/>
                </a:lnTo>
                <a:lnTo>
                  <a:pt x="1351" y="4869"/>
                </a:lnTo>
                <a:lnTo>
                  <a:pt x="1460" y="4689"/>
                </a:lnTo>
                <a:lnTo>
                  <a:pt x="1586" y="4527"/>
                </a:lnTo>
                <a:lnTo>
                  <a:pt x="1731" y="4400"/>
                </a:lnTo>
                <a:lnTo>
                  <a:pt x="1912" y="4310"/>
                </a:lnTo>
                <a:lnTo>
                  <a:pt x="1961" y="4292"/>
                </a:lnTo>
                <a:lnTo>
                  <a:pt x="1478" y="4292"/>
                </a:lnTo>
                <a:close/>
                <a:moveTo>
                  <a:pt x="9746" y="4527"/>
                </a:moveTo>
                <a:lnTo>
                  <a:pt x="9872" y="4689"/>
                </a:lnTo>
                <a:lnTo>
                  <a:pt x="9981" y="4869"/>
                </a:lnTo>
                <a:lnTo>
                  <a:pt x="10035" y="5068"/>
                </a:lnTo>
                <a:lnTo>
                  <a:pt x="10053" y="5176"/>
                </a:lnTo>
                <a:lnTo>
                  <a:pt x="10053" y="5284"/>
                </a:lnTo>
                <a:lnTo>
                  <a:pt x="10090" y="5302"/>
                </a:lnTo>
                <a:lnTo>
                  <a:pt x="10270" y="5320"/>
                </a:lnTo>
                <a:lnTo>
                  <a:pt x="13038" y="5320"/>
                </a:lnTo>
                <a:lnTo>
                  <a:pt x="13291" y="5320"/>
                </a:lnTo>
                <a:lnTo>
                  <a:pt x="13291" y="5284"/>
                </a:lnTo>
                <a:lnTo>
                  <a:pt x="13291" y="5176"/>
                </a:lnTo>
                <a:lnTo>
                  <a:pt x="13310" y="5068"/>
                </a:lnTo>
                <a:lnTo>
                  <a:pt x="13382" y="4869"/>
                </a:lnTo>
                <a:lnTo>
                  <a:pt x="13472" y="4689"/>
                </a:lnTo>
                <a:lnTo>
                  <a:pt x="13599" y="4527"/>
                </a:lnTo>
                <a:lnTo>
                  <a:pt x="13762" y="4400"/>
                </a:lnTo>
                <a:lnTo>
                  <a:pt x="13942" y="4310"/>
                </a:lnTo>
                <a:lnTo>
                  <a:pt x="14142" y="4238"/>
                </a:lnTo>
                <a:lnTo>
                  <a:pt x="14232" y="4238"/>
                </a:lnTo>
                <a:lnTo>
                  <a:pt x="14341" y="4220"/>
                </a:lnTo>
                <a:lnTo>
                  <a:pt x="14449" y="4238"/>
                </a:lnTo>
                <a:lnTo>
                  <a:pt x="14558" y="4238"/>
                </a:lnTo>
                <a:lnTo>
                  <a:pt x="14757" y="4310"/>
                </a:lnTo>
                <a:lnTo>
                  <a:pt x="14938" y="4400"/>
                </a:lnTo>
                <a:lnTo>
                  <a:pt x="15100" y="4527"/>
                </a:lnTo>
                <a:lnTo>
                  <a:pt x="15227" y="4689"/>
                </a:lnTo>
                <a:lnTo>
                  <a:pt x="15318" y="4869"/>
                </a:lnTo>
                <a:lnTo>
                  <a:pt x="15390" y="5068"/>
                </a:lnTo>
                <a:lnTo>
                  <a:pt x="15408" y="5176"/>
                </a:lnTo>
                <a:lnTo>
                  <a:pt x="15408" y="5284"/>
                </a:lnTo>
                <a:lnTo>
                  <a:pt x="15408" y="5320"/>
                </a:lnTo>
                <a:lnTo>
                  <a:pt x="15770" y="5320"/>
                </a:lnTo>
                <a:lnTo>
                  <a:pt x="15842" y="5302"/>
                </a:lnTo>
                <a:lnTo>
                  <a:pt x="15915" y="5266"/>
                </a:lnTo>
                <a:lnTo>
                  <a:pt x="15987" y="5213"/>
                </a:lnTo>
                <a:lnTo>
                  <a:pt x="16041" y="5140"/>
                </a:lnTo>
                <a:lnTo>
                  <a:pt x="16077" y="5049"/>
                </a:lnTo>
                <a:lnTo>
                  <a:pt x="16114" y="4942"/>
                </a:lnTo>
                <a:lnTo>
                  <a:pt x="16132" y="4815"/>
                </a:lnTo>
                <a:lnTo>
                  <a:pt x="16150" y="4671"/>
                </a:lnTo>
                <a:lnTo>
                  <a:pt x="16132" y="4544"/>
                </a:lnTo>
                <a:lnTo>
                  <a:pt x="16114" y="4436"/>
                </a:lnTo>
                <a:lnTo>
                  <a:pt x="16095" y="4328"/>
                </a:lnTo>
                <a:lnTo>
                  <a:pt x="16059" y="4238"/>
                </a:lnTo>
                <a:lnTo>
                  <a:pt x="16006" y="4166"/>
                </a:lnTo>
                <a:lnTo>
                  <a:pt x="15951" y="4111"/>
                </a:lnTo>
                <a:lnTo>
                  <a:pt x="15897" y="4076"/>
                </a:lnTo>
                <a:lnTo>
                  <a:pt x="15824" y="4058"/>
                </a:lnTo>
                <a:lnTo>
                  <a:pt x="15824" y="3191"/>
                </a:lnTo>
                <a:lnTo>
                  <a:pt x="15807" y="3102"/>
                </a:lnTo>
                <a:lnTo>
                  <a:pt x="15789" y="3047"/>
                </a:lnTo>
                <a:lnTo>
                  <a:pt x="15752" y="2993"/>
                </a:lnTo>
                <a:lnTo>
                  <a:pt x="15698" y="2938"/>
                </a:lnTo>
                <a:lnTo>
                  <a:pt x="15571" y="2867"/>
                </a:lnTo>
                <a:lnTo>
                  <a:pt x="15408" y="2776"/>
                </a:lnTo>
                <a:lnTo>
                  <a:pt x="14558" y="2487"/>
                </a:lnTo>
                <a:lnTo>
                  <a:pt x="14232" y="1478"/>
                </a:lnTo>
                <a:lnTo>
                  <a:pt x="14160" y="1315"/>
                </a:lnTo>
                <a:lnTo>
                  <a:pt x="14124" y="1243"/>
                </a:lnTo>
                <a:lnTo>
                  <a:pt x="14070" y="1189"/>
                </a:lnTo>
                <a:lnTo>
                  <a:pt x="14033" y="1135"/>
                </a:lnTo>
                <a:lnTo>
                  <a:pt x="13961" y="1098"/>
                </a:lnTo>
                <a:lnTo>
                  <a:pt x="13889" y="1080"/>
                </a:lnTo>
                <a:lnTo>
                  <a:pt x="13816" y="1062"/>
                </a:lnTo>
                <a:lnTo>
                  <a:pt x="13382" y="1062"/>
                </a:lnTo>
                <a:lnTo>
                  <a:pt x="13154" y="1062"/>
                </a:lnTo>
                <a:lnTo>
                  <a:pt x="12944" y="1062"/>
                </a:lnTo>
                <a:lnTo>
                  <a:pt x="12749" y="1062"/>
                </a:lnTo>
                <a:lnTo>
                  <a:pt x="12570" y="1062"/>
                </a:lnTo>
                <a:lnTo>
                  <a:pt x="12405" y="1062"/>
                </a:lnTo>
                <a:lnTo>
                  <a:pt x="12255" y="1062"/>
                </a:lnTo>
                <a:lnTo>
                  <a:pt x="12117" y="1062"/>
                </a:lnTo>
                <a:lnTo>
                  <a:pt x="11991" y="1062"/>
                </a:lnTo>
                <a:lnTo>
                  <a:pt x="11877" y="1062"/>
                </a:lnTo>
                <a:lnTo>
                  <a:pt x="11775" y="1062"/>
                </a:lnTo>
                <a:lnTo>
                  <a:pt x="11683" y="1062"/>
                </a:lnTo>
                <a:lnTo>
                  <a:pt x="11600" y="1062"/>
                </a:lnTo>
                <a:lnTo>
                  <a:pt x="11526" y="1062"/>
                </a:lnTo>
                <a:lnTo>
                  <a:pt x="11460" y="1062"/>
                </a:lnTo>
                <a:lnTo>
                  <a:pt x="11402" y="1062"/>
                </a:lnTo>
                <a:lnTo>
                  <a:pt x="11350" y="1062"/>
                </a:lnTo>
                <a:lnTo>
                  <a:pt x="11327" y="1063"/>
                </a:lnTo>
                <a:lnTo>
                  <a:pt x="11306" y="1065"/>
                </a:lnTo>
                <a:lnTo>
                  <a:pt x="11289" y="1068"/>
                </a:lnTo>
                <a:lnTo>
                  <a:pt x="11275" y="1072"/>
                </a:lnTo>
                <a:lnTo>
                  <a:pt x="11268" y="1075"/>
                </a:lnTo>
                <a:lnTo>
                  <a:pt x="11263" y="1077"/>
                </a:lnTo>
                <a:lnTo>
                  <a:pt x="11257" y="1081"/>
                </a:lnTo>
                <a:lnTo>
                  <a:pt x="11253" y="1084"/>
                </a:lnTo>
                <a:lnTo>
                  <a:pt x="11248" y="1088"/>
                </a:lnTo>
                <a:lnTo>
                  <a:pt x="11244" y="1092"/>
                </a:lnTo>
                <a:lnTo>
                  <a:pt x="11241" y="1096"/>
                </a:lnTo>
                <a:lnTo>
                  <a:pt x="11238" y="1101"/>
                </a:lnTo>
                <a:lnTo>
                  <a:pt x="11234" y="1112"/>
                </a:lnTo>
                <a:lnTo>
                  <a:pt x="11231" y="1124"/>
                </a:lnTo>
                <a:lnTo>
                  <a:pt x="11230" y="1138"/>
                </a:lnTo>
                <a:lnTo>
                  <a:pt x="11229" y="1152"/>
                </a:lnTo>
                <a:lnTo>
                  <a:pt x="11228" y="1185"/>
                </a:lnTo>
                <a:lnTo>
                  <a:pt x="11229" y="1223"/>
                </a:lnTo>
                <a:lnTo>
                  <a:pt x="11229" y="4292"/>
                </a:lnTo>
                <a:lnTo>
                  <a:pt x="9352" y="4292"/>
                </a:lnTo>
                <a:lnTo>
                  <a:pt x="9401" y="4310"/>
                </a:lnTo>
                <a:lnTo>
                  <a:pt x="9583" y="4400"/>
                </a:lnTo>
                <a:lnTo>
                  <a:pt x="9746" y="4527"/>
                </a:lnTo>
                <a:close/>
                <a:moveTo>
                  <a:pt x="12351" y="2344"/>
                </a:moveTo>
                <a:lnTo>
                  <a:pt x="12351" y="1531"/>
                </a:lnTo>
                <a:lnTo>
                  <a:pt x="13545" y="1531"/>
                </a:lnTo>
                <a:lnTo>
                  <a:pt x="13636" y="1549"/>
                </a:lnTo>
                <a:lnTo>
                  <a:pt x="13689" y="1585"/>
                </a:lnTo>
                <a:lnTo>
                  <a:pt x="13744" y="1640"/>
                </a:lnTo>
                <a:lnTo>
                  <a:pt x="13780" y="1712"/>
                </a:lnTo>
                <a:lnTo>
                  <a:pt x="14052" y="2487"/>
                </a:lnTo>
                <a:lnTo>
                  <a:pt x="12351" y="2344"/>
                </a:lnTo>
                <a:close/>
                <a:moveTo>
                  <a:pt x="5060" y="4527"/>
                </a:moveTo>
                <a:lnTo>
                  <a:pt x="5186" y="4689"/>
                </a:lnTo>
                <a:lnTo>
                  <a:pt x="5295" y="4869"/>
                </a:lnTo>
                <a:lnTo>
                  <a:pt x="5350" y="5068"/>
                </a:lnTo>
                <a:lnTo>
                  <a:pt x="5367" y="5176"/>
                </a:lnTo>
                <a:lnTo>
                  <a:pt x="5367" y="5284"/>
                </a:lnTo>
                <a:lnTo>
                  <a:pt x="5367" y="5320"/>
                </a:lnTo>
                <a:lnTo>
                  <a:pt x="7937" y="5320"/>
                </a:lnTo>
                <a:lnTo>
                  <a:pt x="7937" y="5284"/>
                </a:lnTo>
                <a:lnTo>
                  <a:pt x="7937" y="5176"/>
                </a:lnTo>
                <a:lnTo>
                  <a:pt x="7955" y="5068"/>
                </a:lnTo>
                <a:lnTo>
                  <a:pt x="8027" y="4869"/>
                </a:lnTo>
                <a:lnTo>
                  <a:pt x="8117" y="4689"/>
                </a:lnTo>
                <a:lnTo>
                  <a:pt x="8244" y="4527"/>
                </a:lnTo>
                <a:lnTo>
                  <a:pt x="8407" y="4400"/>
                </a:lnTo>
                <a:lnTo>
                  <a:pt x="8588" y="4310"/>
                </a:lnTo>
                <a:lnTo>
                  <a:pt x="8637" y="4292"/>
                </a:lnTo>
                <a:lnTo>
                  <a:pt x="4685" y="4292"/>
                </a:lnTo>
                <a:lnTo>
                  <a:pt x="4734" y="4310"/>
                </a:lnTo>
                <a:lnTo>
                  <a:pt x="4915" y="4400"/>
                </a:lnTo>
                <a:lnTo>
                  <a:pt x="5060" y="4527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bz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4357611" y="2731523"/>
            <a:ext cx="481488" cy="418624"/>
          </a:xfrm>
          <a:custGeom>
            <a:avLst/>
            <a:gdLst>
              <a:gd name="T0" fmla="*/ 0 w 16176"/>
              <a:gd name="T1" fmla="*/ 14064 h 14064"/>
              <a:gd name="T2" fmla="*/ 15254 w 16176"/>
              <a:gd name="T3" fmla="*/ 9789 h 14064"/>
              <a:gd name="T4" fmla="*/ 15243 w 16176"/>
              <a:gd name="T5" fmla="*/ 4342 h 14064"/>
              <a:gd name="T6" fmla="*/ 15199 w 16176"/>
              <a:gd name="T7" fmla="*/ 4241 h 14064"/>
              <a:gd name="T8" fmla="*/ 15131 w 16176"/>
              <a:gd name="T9" fmla="*/ 4158 h 14064"/>
              <a:gd name="T10" fmla="*/ 15041 w 16176"/>
              <a:gd name="T11" fmla="*/ 4097 h 14064"/>
              <a:gd name="T12" fmla="*/ 14934 w 16176"/>
              <a:gd name="T13" fmla="*/ 4064 h 14064"/>
              <a:gd name="T14" fmla="*/ 12842 w 16176"/>
              <a:gd name="T15" fmla="*/ 4062 h 14064"/>
              <a:gd name="T16" fmla="*/ 12734 w 16176"/>
              <a:gd name="T17" fmla="*/ 4089 h 14064"/>
              <a:gd name="T18" fmla="*/ 12641 w 16176"/>
              <a:gd name="T19" fmla="*/ 4146 h 14064"/>
              <a:gd name="T20" fmla="*/ 12568 w 16176"/>
              <a:gd name="T21" fmla="*/ 4225 h 14064"/>
              <a:gd name="T22" fmla="*/ 12520 w 16176"/>
              <a:gd name="T23" fmla="*/ 4324 h 14064"/>
              <a:gd name="T24" fmla="*/ 12503 w 16176"/>
              <a:gd name="T25" fmla="*/ 4436 h 14064"/>
              <a:gd name="T26" fmla="*/ 12190 w 16176"/>
              <a:gd name="T27" fmla="*/ 13334 h 14064"/>
              <a:gd name="T28" fmla="*/ 9303 w 16176"/>
              <a:gd name="T29" fmla="*/ 4417 h 14064"/>
              <a:gd name="T30" fmla="*/ 9281 w 16176"/>
              <a:gd name="T31" fmla="*/ 4307 h 14064"/>
              <a:gd name="T32" fmla="*/ 9228 w 16176"/>
              <a:gd name="T33" fmla="*/ 4211 h 14064"/>
              <a:gd name="T34" fmla="*/ 9152 w 16176"/>
              <a:gd name="T35" fmla="*/ 4134 h 14064"/>
              <a:gd name="T36" fmla="*/ 9056 w 16176"/>
              <a:gd name="T37" fmla="*/ 4083 h 14064"/>
              <a:gd name="T38" fmla="*/ 8945 w 16176"/>
              <a:gd name="T39" fmla="*/ 4060 h 14064"/>
              <a:gd name="T40" fmla="*/ 4427 w 16176"/>
              <a:gd name="T41" fmla="*/ 4067 h 14064"/>
              <a:gd name="T42" fmla="*/ 4323 w 16176"/>
              <a:gd name="T43" fmla="*/ 4105 h 14064"/>
              <a:gd name="T44" fmla="*/ 4236 w 16176"/>
              <a:gd name="T45" fmla="*/ 4170 h 14064"/>
              <a:gd name="T46" fmla="*/ 4171 w 16176"/>
              <a:gd name="T47" fmla="*/ 4256 h 14064"/>
              <a:gd name="T48" fmla="*/ 4133 w 16176"/>
              <a:gd name="T49" fmla="*/ 4360 h 14064"/>
              <a:gd name="T50" fmla="*/ 3322 w 16176"/>
              <a:gd name="T51" fmla="*/ 13334 h 14064"/>
              <a:gd name="T52" fmla="*/ 4792 w 16176"/>
              <a:gd name="T53" fmla="*/ 4723 h 14064"/>
              <a:gd name="T54" fmla="*/ 4847 w 16176"/>
              <a:gd name="T55" fmla="*/ 4656 h 14064"/>
              <a:gd name="T56" fmla="*/ 4932 w 16176"/>
              <a:gd name="T57" fmla="*/ 4630 h 14064"/>
              <a:gd name="T58" fmla="*/ 5016 w 16176"/>
              <a:gd name="T59" fmla="*/ 4656 h 14064"/>
              <a:gd name="T60" fmla="*/ 5070 w 16176"/>
              <a:gd name="T61" fmla="*/ 4723 h 14064"/>
              <a:gd name="T62" fmla="*/ 5081 w 16176"/>
              <a:gd name="T63" fmla="*/ 9523 h 14064"/>
              <a:gd name="T64" fmla="*/ 5048 w 16176"/>
              <a:gd name="T65" fmla="*/ 9604 h 14064"/>
              <a:gd name="T66" fmla="*/ 4976 w 16176"/>
              <a:gd name="T67" fmla="*/ 9652 h 14064"/>
              <a:gd name="T68" fmla="*/ 4886 w 16176"/>
              <a:gd name="T69" fmla="*/ 9652 h 14064"/>
              <a:gd name="T70" fmla="*/ 4815 w 16176"/>
              <a:gd name="T71" fmla="*/ 9604 h 14064"/>
              <a:gd name="T72" fmla="*/ 4781 w 16176"/>
              <a:gd name="T73" fmla="*/ 9523 h 14064"/>
              <a:gd name="T74" fmla="*/ 4887 w 16176"/>
              <a:gd name="T75" fmla="*/ 10165 h 14064"/>
              <a:gd name="T76" fmla="*/ 2101 w 16176"/>
              <a:gd name="T77" fmla="*/ 665 h 14064"/>
              <a:gd name="T78" fmla="*/ 2083 w 16176"/>
              <a:gd name="T79" fmla="*/ 12845 h 14064"/>
              <a:gd name="T80" fmla="*/ 2022 w 16176"/>
              <a:gd name="T81" fmla="*/ 12905 h 14064"/>
              <a:gd name="T82" fmla="*/ 1934 w 16176"/>
              <a:gd name="T83" fmla="*/ 12922 h 14064"/>
              <a:gd name="T84" fmla="*/ 1854 w 16176"/>
              <a:gd name="T85" fmla="*/ 12889 h 14064"/>
              <a:gd name="T86" fmla="*/ 1806 w 16176"/>
              <a:gd name="T87" fmla="*/ 12818 h 14064"/>
              <a:gd name="T88" fmla="*/ 1802 w 16176"/>
              <a:gd name="T89" fmla="*/ 635 h 14064"/>
              <a:gd name="T90" fmla="*/ 1843 w 16176"/>
              <a:gd name="T91" fmla="*/ 558 h 14064"/>
              <a:gd name="T92" fmla="*/ 1920 w 16176"/>
              <a:gd name="T93" fmla="*/ 518 h 14064"/>
              <a:gd name="T94" fmla="*/ 2009 w 16176"/>
              <a:gd name="T95" fmla="*/ 527 h 14064"/>
              <a:gd name="T96" fmla="*/ 2075 w 16176"/>
              <a:gd name="T97" fmla="*/ 581 h 14064"/>
              <a:gd name="T98" fmla="*/ 2101 w 16176"/>
              <a:gd name="T99" fmla="*/ 665 h 14064"/>
              <a:gd name="T100" fmla="*/ 12986 w 16176"/>
              <a:gd name="T101" fmla="*/ 9640 h 14064"/>
              <a:gd name="T102" fmla="*/ 12926 w 16176"/>
              <a:gd name="T103" fmla="*/ 9580 h 14064"/>
              <a:gd name="T104" fmla="*/ 12907 w 16176"/>
              <a:gd name="T105" fmla="*/ 4781 h 14064"/>
              <a:gd name="T106" fmla="*/ 12934 w 16176"/>
              <a:gd name="T107" fmla="*/ 4697 h 14064"/>
              <a:gd name="T108" fmla="*/ 12999 w 16176"/>
              <a:gd name="T109" fmla="*/ 4642 h 14064"/>
              <a:gd name="T110" fmla="*/ 13088 w 16176"/>
              <a:gd name="T111" fmla="*/ 4633 h 14064"/>
              <a:gd name="T112" fmla="*/ 13165 w 16176"/>
              <a:gd name="T113" fmla="*/ 4675 h 14064"/>
              <a:gd name="T114" fmla="*/ 13207 w 16176"/>
              <a:gd name="T115" fmla="*/ 4751 h 14064"/>
              <a:gd name="T116" fmla="*/ 13203 w 16176"/>
              <a:gd name="T117" fmla="*/ 9554 h 14064"/>
              <a:gd name="T118" fmla="*/ 13154 w 16176"/>
              <a:gd name="T119" fmla="*/ 9624 h 14064"/>
              <a:gd name="T120" fmla="*/ 13074 w 16176"/>
              <a:gd name="T121" fmla="*/ 9658 h 140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176" h="14064">
                <a:moveTo>
                  <a:pt x="3322" y="13334"/>
                </a:moveTo>
                <a:lnTo>
                  <a:pt x="3322" y="0"/>
                </a:lnTo>
                <a:lnTo>
                  <a:pt x="1398" y="0"/>
                </a:lnTo>
                <a:lnTo>
                  <a:pt x="1398" y="13334"/>
                </a:lnTo>
                <a:lnTo>
                  <a:pt x="0" y="13334"/>
                </a:lnTo>
                <a:lnTo>
                  <a:pt x="0" y="14064"/>
                </a:lnTo>
                <a:lnTo>
                  <a:pt x="16176" y="14064"/>
                </a:lnTo>
                <a:lnTo>
                  <a:pt x="16176" y="13334"/>
                </a:lnTo>
                <a:lnTo>
                  <a:pt x="14469" y="13334"/>
                </a:lnTo>
                <a:lnTo>
                  <a:pt x="14469" y="11838"/>
                </a:lnTo>
                <a:lnTo>
                  <a:pt x="14462" y="11838"/>
                </a:lnTo>
                <a:lnTo>
                  <a:pt x="15254" y="9789"/>
                </a:lnTo>
                <a:lnTo>
                  <a:pt x="15254" y="4436"/>
                </a:lnTo>
                <a:lnTo>
                  <a:pt x="15254" y="4417"/>
                </a:lnTo>
                <a:lnTo>
                  <a:pt x="15252" y="4397"/>
                </a:lnTo>
                <a:lnTo>
                  <a:pt x="15250" y="4378"/>
                </a:lnTo>
                <a:lnTo>
                  <a:pt x="15247" y="4360"/>
                </a:lnTo>
                <a:lnTo>
                  <a:pt x="15243" y="4342"/>
                </a:lnTo>
                <a:lnTo>
                  <a:pt x="15238" y="4324"/>
                </a:lnTo>
                <a:lnTo>
                  <a:pt x="15232" y="4307"/>
                </a:lnTo>
                <a:lnTo>
                  <a:pt x="15225" y="4290"/>
                </a:lnTo>
                <a:lnTo>
                  <a:pt x="15218" y="4273"/>
                </a:lnTo>
                <a:lnTo>
                  <a:pt x="15208" y="4256"/>
                </a:lnTo>
                <a:lnTo>
                  <a:pt x="15199" y="4241"/>
                </a:lnTo>
                <a:lnTo>
                  <a:pt x="15190" y="4225"/>
                </a:lnTo>
                <a:lnTo>
                  <a:pt x="15179" y="4211"/>
                </a:lnTo>
                <a:lnTo>
                  <a:pt x="15168" y="4197"/>
                </a:lnTo>
                <a:lnTo>
                  <a:pt x="15156" y="4183"/>
                </a:lnTo>
                <a:lnTo>
                  <a:pt x="15144" y="4170"/>
                </a:lnTo>
                <a:lnTo>
                  <a:pt x="15131" y="4158"/>
                </a:lnTo>
                <a:lnTo>
                  <a:pt x="15117" y="4146"/>
                </a:lnTo>
                <a:lnTo>
                  <a:pt x="15102" y="4134"/>
                </a:lnTo>
                <a:lnTo>
                  <a:pt x="15088" y="4124"/>
                </a:lnTo>
                <a:lnTo>
                  <a:pt x="15073" y="4114"/>
                </a:lnTo>
                <a:lnTo>
                  <a:pt x="15057" y="4105"/>
                </a:lnTo>
                <a:lnTo>
                  <a:pt x="15041" y="4097"/>
                </a:lnTo>
                <a:lnTo>
                  <a:pt x="15023" y="4089"/>
                </a:lnTo>
                <a:lnTo>
                  <a:pt x="15006" y="4083"/>
                </a:lnTo>
                <a:lnTo>
                  <a:pt x="14989" y="4077"/>
                </a:lnTo>
                <a:lnTo>
                  <a:pt x="14971" y="4072"/>
                </a:lnTo>
                <a:lnTo>
                  <a:pt x="14953" y="4067"/>
                </a:lnTo>
                <a:lnTo>
                  <a:pt x="14934" y="4064"/>
                </a:lnTo>
                <a:lnTo>
                  <a:pt x="14915" y="4062"/>
                </a:lnTo>
                <a:lnTo>
                  <a:pt x="14896" y="4060"/>
                </a:lnTo>
                <a:lnTo>
                  <a:pt x="14877" y="4060"/>
                </a:lnTo>
                <a:lnTo>
                  <a:pt x="12880" y="4060"/>
                </a:lnTo>
                <a:lnTo>
                  <a:pt x="12861" y="4060"/>
                </a:lnTo>
                <a:lnTo>
                  <a:pt x="12842" y="4062"/>
                </a:lnTo>
                <a:lnTo>
                  <a:pt x="12823" y="4064"/>
                </a:lnTo>
                <a:lnTo>
                  <a:pt x="12804" y="4067"/>
                </a:lnTo>
                <a:lnTo>
                  <a:pt x="12786" y="4072"/>
                </a:lnTo>
                <a:lnTo>
                  <a:pt x="12768" y="4077"/>
                </a:lnTo>
                <a:lnTo>
                  <a:pt x="12751" y="4083"/>
                </a:lnTo>
                <a:lnTo>
                  <a:pt x="12734" y="4089"/>
                </a:lnTo>
                <a:lnTo>
                  <a:pt x="12716" y="4097"/>
                </a:lnTo>
                <a:lnTo>
                  <a:pt x="12700" y="4105"/>
                </a:lnTo>
                <a:lnTo>
                  <a:pt x="12685" y="4114"/>
                </a:lnTo>
                <a:lnTo>
                  <a:pt x="12669" y="4124"/>
                </a:lnTo>
                <a:lnTo>
                  <a:pt x="12655" y="4134"/>
                </a:lnTo>
                <a:lnTo>
                  <a:pt x="12641" y="4146"/>
                </a:lnTo>
                <a:lnTo>
                  <a:pt x="12626" y="4158"/>
                </a:lnTo>
                <a:lnTo>
                  <a:pt x="12613" y="4170"/>
                </a:lnTo>
                <a:lnTo>
                  <a:pt x="12601" y="4183"/>
                </a:lnTo>
                <a:lnTo>
                  <a:pt x="12589" y="4197"/>
                </a:lnTo>
                <a:lnTo>
                  <a:pt x="12578" y="4211"/>
                </a:lnTo>
                <a:lnTo>
                  <a:pt x="12568" y="4225"/>
                </a:lnTo>
                <a:lnTo>
                  <a:pt x="12558" y="4241"/>
                </a:lnTo>
                <a:lnTo>
                  <a:pt x="12549" y="4256"/>
                </a:lnTo>
                <a:lnTo>
                  <a:pt x="12540" y="4273"/>
                </a:lnTo>
                <a:lnTo>
                  <a:pt x="12532" y="4290"/>
                </a:lnTo>
                <a:lnTo>
                  <a:pt x="12525" y="4307"/>
                </a:lnTo>
                <a:lnTo>
                  <a:pt x="12520" y="4324"/>
                </a:lnTo>
                <a:lnTo>
                  <a:pt x="12515" y="4342"/>
                </a:lnTo>
                <a:lnTo>
                  <a:pt x="12510" y="4360"/>
                </a:lnTo>
                <a:lnTo>
                  <a:pt x="12507" y="4378"/>
                </a:lnTo>
                <a:lnTo>
                  <a:pt x="12505" y="4397"/>
                </a:lnTo>
                <a:lnTo>
                  <a:pt x="12503" y="4417"/>
                </a:lnTo>
                <a:lnTo>
                  <a:pt x="12503" y="4436"/>
                </a:lnTo>
                <a:lnTo>
                  <a:pt x="12503" y="9789"/>
                </a:lnTo>
                <a:lnTo>
                  <a:pt x="12519" y="9901"/>
                </a:lnTo>
                <a:lnTo>
                  <a:pt x="13295" y="11838"/>
                </a:lnTo>
                <a:lnTo>
                  <a:pt x="13289" y="11838"/>
                </a:lnTo>
                <a:lnTo>
                  <a:pt x="13289" y="13334"/>
                </a:lnTo>
                <a:lnTo>
                  <a:pt x="12190" y="13334"/>
                </a:lnTo>
                <a:lnTo>
                  <a:pt x="12190" y="10723"/>
                </a:lnTo>
                <a:lnTo>
                  <a:pt x="9910" y="10723"/>
                </a:lnTo>
                <a:lnTo>
                  <a:pt x="9910" y="13334"/>
                </a:lnTo>
                <a:lnTo>
                  <a:pt x="9303" y="13334"/>
                </a:lnTo>
                <a:lnTo>
                  <a:pt x="9303" y="4436"/>
                </a:lnTo>
                <a:lnTo>
                  <a:pt x="9303" y="4417"/>
                </a:lnTo>
                <a:lnTo>
                  <a:pt x="9301" y="4397"/>
                </a:lnTo>
                <a:lnTo>
                  <a:pt x="9299" y="4378"/>
                </a:lnTo>
                <a:lnTo>
                  <a:pt x="9296" y="4360"/>
                </a:lnTo>
                <a:lnTo>
                  <a:pt x="9292" y="4342"/>
                </a:lnTo>
                <a:lnTo>
                  <a:pt x="9287" y="4324"/>
                </a:lnTo>
                <a:lnTo>
                  <a:pt x="9281" y="4307"/>
                </a:lnTo>
                <a:lnTo>
                  <a:pt x="9274" y="4290"/>
                </a:lnTo>
                <a:lnTo>
                  <a:pt x="9266" y="4273"/>
                </a:lnTo>
                <a:lnTo>
                  <a:pt x="9258" y="4256"/>
                </a:lnTo>
                <a:lnTo>
                  <a:pt x="9249" y="4241"/>
                </a:lnTo>
                <a:lnTo>
                  <a:pt x="9240" y="4225"/>
                </a:lnTo>
                <a:lnTo>
                  <a:pt x="9228" y="4211"/>
                </a:lnTo>
                <a:lnTo>
                  <a:pt x="9217" y="4197"/>
                </a:lnTo>
                <a:lnTo>
                  <a:pt x="9205" y="4183"/>
                </a:lnTo>
                <a:lnTo>
                  <a:pt x="9193" y="4170"/>
                </a:lnTo>
                <a:lnTo>
                  <a:pt x="9180" y="4158"/>
                </a:lnTo>
                <a:lnTo>
                  <a:pt x="9166" y="4146"/>
                </a:lnTo>
                <a:lnTo>
                  <a:pt x="9152" y="4134"/>
                </a:lnTo>
                <a:lnTo>
                  <a:pt x="9137" y="4124"/>
                </a:lnTo>
                <a:lnTo>
                  <a:pt x="9122" y="4114"/>
                </a:lnTo>
                <a:lnTo>
                  <a:pt x="9106" y="4105"/>
                </a:lnTo>
                <a:lnTo>
                  <a:pt x="9090" y="4097"/>
                </a:lnTo>
                <a:lnTo>
                  <a:pt x="9073" y="4089"/>
                </a:lnTo>
                <a:lnTo>
                  <a:pt x="9056" y="4083"/>
                </a:lnTo>
                <a:lnTo>
                  <a:pt x="9038" y="4077"/>
                </a:lnTo>
                <a:lnTo>
                  <a:pt x="9020" y="4072"/>
                </a:lnTo>
                <a:lnTo>
                  <a:pt x="9002" y="4067"/>
                </a:lnTo>
                <a:lnTo>
                  <a:pt x="8984" y="4064"/>
                </a:lnTo>
                <a:lnTo>
                  <a:pt x="8965" y="4062"/>
                </a:lnTo>
                <a:lnTo>
                  <a:pt x="8945" y="4060"/>
                </a:lnTo>
                <a:lnTo>
                  <a:pt x="8926" y="4060"/>
                </a:lnTo>
                <a:lnTo>
                  <a:pt x="4503" y="4060"/>
                </a:lnTo>
                <a:lnTo>
                  <a:pt x="4484" y="4060"/>
                </a:lnTo>
                <a:lnTo>
                  <a:pt x="4465" y="4062"/>
                </a:lnTo>
                <a:lnTo>
                  <a:pt x="4445" y="4064"/>
                </a:lnTo>
                <a:lnTo>
                  <a:pt x="4427" y="4067"/>
                </a:lnTo>
                <a:lnTo>
                  <a:pt x="4409" y="4072"/>
                </a:lnTo>
                <a:lnTo>
                  <a:pt x="4391" y="4077"/>
                </a:lnTo>
                <a:lnTo>
                  <a:pt x="4374" y="4083"/>
                </a:lnTo>
                <a:lnTo>
                  <a:pt x="4356" y="4089"/>
                </a:lnTo>
                <a:lnTo>
                  <a:pt x="4339" y="4097"/>
                </a:lnTo>
                <a:lnTo>
                  <a:pt x="4323" y="4105"/>
                </a:lnTo>
                <a:lnTo>
                  <a:pt x="4307" y="4114"/>
                </a:lnTo>
                <a:lnTo>
                  <a:pt x="4292" y="4124"/>
                </a:lnTo>
                <a:lnTo>
                  <a:pt x="4278" y="4134"/>
                </a:lnTo>
                <a:lnTo>
                  <a:pt x="4262" y="4146"/>
                </a:lnTo>
                <a:lnTo>
                  <a:pt x="4249" y="4158"/>
                </a:lnTo>
                <a:lnTo>
                  <a:pt x="4236" y="4170"/>
                </a:lnTo>
                <a:lnTo>
                  <a:pt x="4224" y="4183"/>
                </a:lnTo>
                <a:lnTo>
                  <a:pt x="4212" y="4197"/>
                </a:lnTo>
                <a:lnTo>
                  <a:pt x="4201" y="4211"/>
                </a:lnTo>
                <a:lnTo>
                  <a:pt x="4190" y="4225"/>
                </a:lnTo>
                <a:lnTo>
                  <a:pt x="4180" y="4241"/>
                </a:lnTo>
                <a:lnTo>
                  <a:pt x="4171" y="4256"/>
                </a:lnTo>
                <a:lnTo>
                  <a:pt x="4162" y="4273"/>
                </a:lnTo>
                <a:lnTo>
                  <a:pt x="4155" y="4290"/>
                </a:lnTo>
                <a:lnTo>
                  <a:pt x="4148" y="4307"/>
                </a:lnTo>
                <a:lnTo>
                  <a:pt x="4142" y="4324"/>
                </a:lnTo>
                <a:lnTo>
                  <a:pt x="4137" y="4342"/>
                </a:lnTo>
                <a:lnTo>
                  <a:pt x="4133" y="4360"/>
                </a:lnTo>
                <a:lnTo>
                  <a:pt x="4130" y="4378"/>
                </a:lnTo>
                <a:lnTo>
                  <a:pt x="4128" y="4397"/>
                </a:lnTo>
                <a:lnTo>
                  <a:pt x="4126" y="4417"/>
                </a:lnTo>
                <a:lnTo>
                  <a:pt x="4126" y="4436"/>
                </a:lnTo>
                <a:lnTo>
                  <a:pt x="4126" y="13334"/>
                </a:lnTo>
                <a:lnTo>
                  <a:pt x="3322" y="13334"/>
                </a:lnTo>
                <a:close/>
                <a:moveTo>
                  <a:pt x="4780" y="9508"/>
                </a:moveTo>
                <a:lnTo>
                  <a:pt x="4780" y="4781"/>
                </a:lnTo>
                <a:lnTo>
                  <a:pt x="4781" y="4765"/>
                </a:lnTo>
                <a:lnTo>
                  <a:pt x="4783" y="4751"/>
                </a:lnTo>
                <a:lnTo>
                  <a:pt x="4787" y="4736"/>
                </a:lnTo>
                <a:lnTo>
                  <a:pt x="4792" y="4723"/>
                </a:lnTo>
                <a:lnTo>
                  <a:pt x="4798" y="4709"/>
                </a:lnTo>
                <a:lnTo>
                  <a:pt x="4806" y="4697"/>
                </a:lnTo>
                <a:lnTo>
                  <a:pt x="4815" y="4686"/>
                </a:lnTo>
                <a:lnTo>
                  <a:pt x="4824" y="4675"/>
                </a:lnTo>
                <a:lnTo>
                  <a:pt x="4836" y="4664"/>
                </a:lnTo>
                <a:lnTo>
                  <a:pt x="4847" y="4656"/>
                </a:lnTo>
                <a:lnTo>
                  <a:pt x="4860" y="4648"/>
                </a:lnTo>
                <a:lnTo>
                  <a:pt x="4873" y="4642"/>
                </a:lnTo>
                <a:lnTo>
                  <a:pt x="4886" y="4637"/>
                </a:lnTo>
                <a:lnTo>
                  <a:pt x="4901" y="4633"/>
                </a:lnTo>
                <a:lnTo>
                  <a:pt x="4915" y="4631"/>
                </a:lnTo>
                <a:lnTo>
                  <a:pt x="4932" y="4630"/>
                </a:lnTo>
                <a:lnTo>
                  <a:pt x="4947" y="4631"/>
                </a:lnTo>
                <a:lnTo>
                  <a:pt x="4962" y="4633"/>
                </a:lnTo>
                <a:lnTo>
                  <a:pt x="4976" y="4637"/>
                </a:lnTo>
                <a:lnTo>
                  <a:pt x="4990" y="4642"/>
                </a:lnTo>
                <a:lnTo>
                  <a:pt x="5003" y="4648"/>
                </a:lnTo>
                <a:lnTo>
                  <a:pt x="5016" y="4656"/>
                </a:lnTo>
                <a:lnTo>
                  <a:pt x="5028" y="4664"/>
                </a:lnTo>
                <a:lnTo>
                  <a:pt x="5038" y="4675"/>
                </a:lnTo>
                <a:lnTo>
                  <a:pt x="5048" y="4686"/>
                </a:lnTo>
                <a:lnTo>
                  <a:pt x="5057" y="4697"/>
                </a:lnTo>
                <a:lnTo>
                  <a:pt x="5064" y="4709"/>
                </a:lnTo>
                <a:lnTo>
                  <a:pt x="5070" y="4723"/>
                </a:lnTo>
                <a:lnTo>
                  <a:pt x="5075" y="4736"/>
                </a:lnTo>
                <a:lnTo>
                  <a:pt x="5079" y="4751"/>
                </a:lnTo>
                <a:lnTo>
                  <a:pt x="5081" y="4765"/>
                </a:lnTo>
                <a:lnTo>
                  <a:pt x="5082" y="4781"/>
                </a:lnTo>
                <a:lnTo>
                  <a:pt x="5082" y="9508"/>
                </a:lnTo>
                <a:lnTo>
                  <a:pt x="5081" y="9523"/>
                </a:lnTo>
                <a:lnTo>
                  <a:pt x="5079" y="9539"/>
                </a:lnTo>
                <a:lnTo>
                  <a:pt x="5075" y="9554"/>
                </a:lnTo>
                <a:lnTo>
                  <a:pt x="5070" y="9567"/>
                </a:lnTo>
                <a:lnTo>
                  <a:pt x="5064" y="9580"/>
                </a:lnTo>
                <a:lnTo>
                  <a:pt x="5057" y="9593"/>
                </a:lnTo>
                <a:lnTo>
                  <a:pt x="5048" y="9604"/>
                </a:lnTo>
                <a:lnTo>
                  <a:pt x="5038" y="9615"/>
                </a:lnTo>
                <a:lnTo>
                  <a:pt x="5028" y="9624"/>
                </a:lnTo>
                <a:lnTo>
                  <a:pt x="5016" y="9633"/>
                </a:lnTo>
                <a:lnTo>
                  <a:pt x="5003" y="9640"/>
                </a:lnTo>
                <a:lnTo>
                  <a:pt x="4990" y="9647"/>
                </a:lnTo>
                <a:lnTo>
                  <a:pt x="4976" y="9652"/>
                </a:lnTo>
                <a:lnTo>
                  <a:pt x="4962" y="9655"/>
                </a:lnTo>
                <a:lnTo>
                  <a:pt x="4947" y="9658"/>
                </a:lnTo>
                <a:lnTo>
                  <a:pt x="4932" y="9659"/>
                </a:lnTo>
                <a:lnTo>
                  <a:pt x="4915" y="9658"/>
                </a:lnTo>
                <a:lnTo>
                  <a:pt x="4901" y="9655"/>
                </a:lnTo>
                <a:lnTo>
                  <a:pt x="4886" y="9652"/>
                </a:lnTo>
                <a:lnTo>
                  <a:pt x="4873" y="9647"/>
                </a:lnTo>
                <a:lnTo>
                  <a:pt x="4860" y="9640"/>
                </a:lnTo>
                <a:lnTo>
                  <a:pt x="4847" y="9633"/>
                </a:lnTo>
                <a:lnTo>
                  <a:pt x="4836" y="9624"/>
                </a:lnTo>
                <a:lnTo>
                  <a:pt x="4824" y="9615"/>
                </a:lnTo>
                <a:lnTo>
                  <a:pt x="4815" y="9604"/>
                </a:lnTo>
                <a:lnTo>
                  <a:pt x="4806" y="9593"/>
                </a:lnTo>
                <a:lnTo>
                  <a:pt x="4798" y="9580"/>
                </a:lnTo>
                <a:lnTo>
                  <a:pt x="4792" y="9567"/>
                </a:lnTo>
                <a:lnTo>
                  <a:pt x="4787" y="9554"/>
                </a:lnTo>
                <a:lnTo>
                  <a:pt x="4783" y="9539"/>
                </a:lnTo>
                <a:lnTo>
                  <a:pt x="4781" y="9523"/>
                </a:lnTo>
                <a:lnTo>
                  <a:pt x="4780" y="9508"/>
                </a:lnTo>
                <a:close/>
                <a:moveTo>
                  <a:pt x="4887" y="10165"/>
                </a:moveTo>
                <a:lnTo>
                  <a:pt x="8542" y="10165"/>
                </a:lnTo>
                <a:lnTo>
                  <a:pt x="8542" y="11342"/>
                </a:lnTo>
                <a:lnTo>
                  <a:pt x="4887" y="11342"/>
                </a:lnTo>
                <a:lnTo>
                  <a:pt x="4887" y="10165"/>
                </a:lnTo>
                <a:close/>
                <a:moveTo>
                  <a:pt x="4887" y="13334"/>
                </a:moveTo>
                <a:lnTo>
                  <a:pt x="4887" y="12483"/>
                </a:lnTo>
                <a:lnTo>
                  <a:pt x="8542" y="12483"/>
                </a:lnTo>
                <a:lnTo>
                  <a:pt x="8542" y="13334"/>
                </a:lnTo>
                <a:lnTo>
                  <a:pt x="4887" y="13334"/>
                </a:lnTo>
                <a:close/>
                <a:moveTo>
                  <a:pt x="2101" y="665"/>
                </a:moveTo>
                <a:lnTo>
                  <a:pt x="2101" y="12773"/>
                </a:lnTo>
                <a:lnTo>
                  <a:pt x="2100" y="12788"/>
                </a:lnTo>
                <a:lnTo>
                  <a:pt x="2098" y="12803"/>
                </a:lnTo>
                <a:lnTo>
                  <a:pt x="2094" y="12818"/>
                </a:lnTo>
                <a:lnTo>
                  <a:pt x="2089" y="12832"/>
                </a:lnTo>
                <a:lnTo>
                  <a:pt x="2083" y="12845"/>
                </a:lnTo>
                <a:lnTo>
                  <a:pt x="2075" y="12857"/>
                </a:lnTo>
                <a:lnTo>
                  <a:pt x="2066" y="12869"/>
                </a:lnTo>
                <a:lnTo>
                  <a:pt x="2056" y="12879"/>
                </a:lnTo>
                <a:lnTo>
                  <a:pt x="2046" y="12889"/>
                </a:lnTo>
                <a:lnTo>
                  <a:pt x="2034" y="12897"/>
                </a:lnTo>
                <a:lnTo>
                  <a:pt x="2022" y="12905"/>
                </a:lnTo>
                <a:lnTo>
                  <a:pt x="2009" y="12911"/>
                </a:lnTo>
                <a:lnTo>
                  <a:pt x="1995" y="12916"/>
                </a:lnTo>
                <a:lnTo>
                  <a:pt x="1981" y="12920"/>
                </a:lnTo>
                <a:lnTo>
                  <a:pt x="1965" y="12922"/>
                </a:lnTo>
                <a:lnTo>
                  <a:pt x="1950" y="12923"/>
                </a:lnTo>
                <a:lnTo>
                  <a:pt x="1934" y="12922"/>
                </a:lnTo>
                <a:lnTo>
                  <a:pt x="1920" y="12920"/>
                </a:lnTo>
                <a:lnTo>
                  <a:pt x="1905" y="12916"/>
                </a:lnTo>
                <a:lnTo>
                  <a:pt x="1892" y="12911"/>
                </a:lnTo>
                <a:lnTo>
                  <a:pt x="1877" y="12905"/>
                </a:lnTo>
                <a:lnTo>
                  <a:pt x="1865" y="12897"/>
                </a:lnTo>
                <a:lnTo>
                  <a:pt x="1854" y="12889"/>
                </a:lnTo>
                <a:lnTo>
                  <a:pt x="1843" y="12879"/>
                </a:lnTo>
                <a:lnTo>
                  <a:pt x="1833" y="12869"/>
                </a:lnTo>
                <a:lnTo>
                  <a:pt x="1825" y="12857"/>
                </a:lnTo>
                <a:lnTo>
                  <a:pt x="1817" y="12845"/>
                </a:lnTo>
                <a:lnTo>
                  <a:pt x="1811" y="12832"/>
                </a:lnTo>
                <a:lnTo>
                  <a:pt x="1806" y="12818"/>
                </a:lnTo>
                <a:lnTo>
                  <a:pt x="1802" y="12803"/>
                </a:lnTo>
                <a:lnTo>
                  <a:pt x="1800" y="12788"/>
                </a:lnTo>
                <a:lnTo>
                  <a:pt x="1799" y="12773"/>
                </a:lnTo>
                <a:lnTo>
                  <a:pt x="1799" y="665"/>
                </a:lnTo>
                <a:lnTo>
                  <a:pt x="1800" y="650"/>
                </a:lnTo>
                <a:lnTo>
                  <a:pt x="1802" y="635"/>
                </a:lnTo>
                <a:lnTo>
                  <a:pt x="1806" y="621"/>
                </a:lnTo>
                <a:lnTo>
                  <a:pt x="1811" y="607"/>
                </a:lnTo>
                <a:lnTo>
                  <a:pt x="1817" y="594"/>
                </a:lnTo>
                <a:lnTo>
                  <a:pt x="1825" y="581"/>
                </a:lnTo>
                <a:lnTo>
                  <a:pt x="1833" y="569"/>
                </a:lnTo>
                <a:lnTo>
                  <a:pt x="1843" y="558"/>
                </a:lnTo>
                <a:lnTo>
                  <a:pt x="1854" y="549"/>
                </a:lnTo>
                <a:lnTo>
                  <a:pt x="1865" y="540"/>
                </a:lnTo>
                <a:lnTo>
                  <a:pt x="1877" y="533"/>
                </a:lnTo>
                <a:lnTo>
                  <a:pt x="1892" y="527"/>
                </a:lnTo>
                <a:lnTo>
                  <a:pt x="1905" y="521"/>
                </a:lnTo>
                <a:lnTo>
                  <a:pt x="1920" y="518"/>
                </a:lnTo>
                <a:lnTo>
                  <a:pt x="1934" y="516"/>
                </a:lnTo>
                <a:lnTo>
                  <a:pt x="1950" y="515"/>
                </a:lnTo>
                <a:lnTo>
                  <a:pt x="1965" y="516"/>
                </a:lnTo>
                <a:lnTo>
                  <a:pt x="1981" y="518"/>
                </a:lnTo>
                <a:lnTo>
                  <a:pt x="1995" y="521"/>
                </a:lnTo>
                <a:lnTo>
                  <a:pt x="2009" y="527"/>
                </a:lnTo>
                <a:lnTo>
                  <a:pt x="2022" y="533"/>
                </a:lnTo>
                <a:lnTo>
                  <a:pt x="2034" y="540"/>
                </a:lnTo>
                <a:lnTo>
                  <a:pt x="2046" y="549"/>
                </a:lnTo>
                <a:lnTo>
                  <a:pt x="2056" y="558"/>
                </a:lnTo>
                <a:lnTo>
                  <a:pt x="2066" y="569"/>
                </a:lnTo>
                <a:lnTo>
                  <a:pt x="2075" y="581"/>
                </a:lnTo>
                <a:lnTo>
                  <a:pt x="2083" y="594"/>
                </a:lnTo>
                <a:lnTo>
                  <a:pt x="2089" y="607"/>
                </a:lnTo>
                <a:lnTo>
                  <a:pt x="2094" y="621"/>
                </a:lnTo>
                <a:lnTo>
                  <a:pt x="2098" y="635"/>
                </a:lnTo>
                <a:lnTo>
                  <a:pt x="2100" y="650"/>
                </a:lnTo>
                <a:lnTo>
                  <a:pt x="2101" y="665"/>
                </a:lnTo>
                <a:close/>
                <a:moveTo>
                  <a:pt x="13058" y="9659"/>
                </a:moveTo>
                <a:lnTo>
                  <a:pt x="13043" y="9658"/>
                </a:lnTo>
                <a:lnTo>
                  <a:pt x="13028" y="9655"/>
                </a:lnTo>
                <a:lnTo>
                  <a:pt x="13014" y="9652"/>
                </a:lnTo>
                <a:lnTo>
                  <a:pt x="12999" y="9647"/>
                </a:lnTo>
                <a:lnTo>
                  <a:pt x="12986" y="9640"/>
                </a:lnTo>
                <a:lnTo>
                  <a:pt x="12974" y="9633"/>
                </a:lnTo>
                <a:lnTo>
                  <a:pt x="12962" y="9624"/>
                </a:lnTo>
                <a:lnTo>
                  <a:pt x="12952" y="9615"/>
                </a:lnTo>
                <a:lnTo>
                  <a:pt x="12942" y="9604"/>
                </a:lnTo>
                <a:lnTo>
                  <a:pt x="12934" y="9593"/>
                </a:lnTo>
                <a:lnTo>
                  <a:pt x="12926" y="9580"/>
                </a:lnTo>
                <a:lnTo>
                  <a:pt x="12920" y="9567"/>
                </a:lnTo>
                <a:lnTo>
                  <a:pt x="12915" y="9554"/>
                </a:lnTo>
                <a:lnTo>
                  <a:pt x="12910" y="9539"/>
                </a:lnTo>
                <a:lnTo>
                  <a:pt x="12908" y="9523"/>
                </a:lnTo>
                <a:lnTo>
                  <a:pt x="12907" y="9508"/>
                </a:lnTo>
                <a:lnTo>
                  <a:pt x="12907" y="4781"/>
                </a:lnTo>
                <a:lnTo>
                  <a:pt x="12908" y="4765"/>
                </a:lnTo>
                <a:lnTo>
                  <a:pt x="12910" y="4751"/>
                </a:lnTo>
                <a:lnTo>
                  <a:pt x="12915" y="4736"/>
                </a:lnTo>
                <a:lnTo>
                  <a:pt x="12920" y="4723"/>
                </a:lnTo>
                <a:lnTo>
                  <a:pt x="12926" y="4709"/>
                </a:lnTo>
                <a:lnTo>
                  <a:pt x="12934" y="4697"/>
                </a:lnTo>
                <a:lnTo>
                  <a:pt x="12942" y="4686"/>
                </a:lnTo>
                <a:lnTo>
                  <a:pt x="12952" y="4675"/>
                </a:lnTo>
                <a:lnTo>
                  <a:pt x="12962" y="4664"/>
                </a:lnTo>
                <a:lnTo>
                  <a:pt x="12974" y="4656"/>
                </a:lnTo>
                <a:lnTo>
                  <a:pt x="12986" y="4648"/>
                </a:lnTo>
                <a:lnTo>
                  <a:pt x="12999" y="4642"/>
                </a:lnTo>
                <a:lnTo>
                  <a:pt x="13014" y="4637"/>
                </a:lnTo>
                <a:lnTo>
                  <a:pt x="13028" y="4633"/>
                </a:lnTo>
                <a:lnTo>
                  <a:pt x="13043" y="4631"/>
                </a:lnTo>
                <a:lnTo>
                  <a:pt x="13058" y="4630"/>
                </a:lnTo>
                <a:lnTo>
                  <a:pt x="13074" y="4631"/>
                </a:lnTo>
                <a:lnTo>
                  <a:pt x="13088" y="4633"/>
                </a:lnTo>
                <a:lnTo>
                  <a:pt x="13104" y="4637"/>
                </a:lnTo>
                <a:lnTo>
                  <a:pt x="13118" y="4642"/>
                </a:lnTo>
                <a:lnTo>
                  <a:pt x="13131" y="4648"/>
                </a:lnTo>
                <a:lnTo>
                  <a:pt x="13143" y="4656"/>
                </a:lnTo>
                <a:lnTo>
                  <a:pt x="13154" y="4664"/>
                </a:lnTo>
                <a:lnTo>
                  <a:pt x="13165" y="4675"/>
                </a:lnTo>
                <a:lnTo>
                  <a:pt x="13175" y="4686"/>
                </a:lnTo>
                <a:lnTo>
                  <a:pt x="13183" y="4697"/>
                </a:lnTo>
                <a:lnTo>
                  <a:pt x="13192" y="4709"/>
                </a:lnTo>
                <a:lnTo>
                  <a:pt x="13198" y="4723"/>
                </a:lnTo>
                <a:lnTo>
                  <a:pt x="13203" y="4736"/>
                </a:lnTo>
                <a:lnTo>
                  <a:pt x="13207" y="4751"/>
                </a:lnTo>
                <a:lnTo>
                  <a:pt x="13209" y="4765"/>
                </a:lnTo>
                <a:lnTo>
                  <a:pt x="13210" y="4781"/>
                </a:lnTo>
                <a:lnTo>
                  <a:pt x="13210" y="9508"/>
                </a:lnTo>
                <a:lnTo>
                  <a:pt x="13209" y="9523"/>
                </a:lnTo>
                <a:lnTo>
                  <a:pt x="13207" y="9539"/>
                </a:lnTo>
                <a:lnTo>
                  <a:pt x="13203" y="9554"/>
                </a:lnTo>
                <a:lnTo>
                  <a:pt x="13198" y="9567"/>
                </a:lnTo>
                <a:lnTo>
                  <a:pt x="13192" y="9580"/>
                </a:lnTo>
                <a:lnTo>
                  <a:pt x="13183" y="9593"/>
                </a:lnTo>
                <a:lnTo>
                  <a:pt x="13175" y="9604"/>
                </a:lnTo>
                <a:lnTo>
                  <a:pt x="13165" y="9615"/>
                </a:lnTo>
                <a:lnTo>
                  <a:pt x="13154" y="9624"/>
                </a:lnTo>
                <a:lnTo>
                  <a:pt x="13143" y="9633"/>
                </a:lnTo>
                <a:lnTo>
                  <a:pt x="13131" y="9640"/>
                </a:lnTo>
                <a:lnTo>
                  <a:pt x="13118" y="9647"/>
                </a:lnTo>
                <a:lnTo>
                  <a:pt x="13104" y="9652"/>
                </a:lnTo>
                <a:lnTo>
                  <a:pt x="13088" y="9655"/>
                </a:lnTo>
                <a:lnTo>
                  <a:pt x="13074" y="9658"/>
                </a:lnTo>
                <a:lnTo>
                  <a:pt x="13058" y="9659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samosval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5113695" y="2791387"/>
            <a:ext cx="540068" cy="354330"/>
          </a:xfrm>
          <a:custGeom>
            <a:avLst/>
            <a:gdLst>
              <a:gd name="T0" fmla="*/ 6515 w 16254"/>
              <a:gd name="T1" fmla="*/ 6868 h 10664"/>
              <a:gd name="T2" fmla="*/ 4830 w 16254"/>
              <a:gd name="T3" fmla="*/ 6220 h 10664"/>
              <a:gd name="T4" fmla="*/ 3230 w 16254"/>
              <a:gd name="T5" fmla="*/ 7026 h 10664"/>
              <a:gd name="T6" fmla="*/ 2749 w 16254"/>
              <a:gd name="T7" fmla="*/ 8779 h 10664"/>
              <a:gd name="T8" fmla="*/ 3703 w 16254"/>
              <a:gd name="T9" fmla="*/ 10285 h 10664"/>
              <a:gd name="T10" fmla="*/ 5499 w 16254"/>
              <a:gd name="T11" fmla="*/ 10594 h 10664"/>
              <a:gd name="T12" fmla="*/ 6897 w 16254"/>
              <a:gd name="T13" fmla="*/ 9500 h 10664"/>
              <a:gd name="T14" fmla="*/ 16001 w 16254"/>
              <a:gd name="T15" fmla="*/ 5793 h 10664"/>
              <a:gd name="T16" fmla="*/ 5439 w 16254"/>
              <a:gd name="T17" fmla="*/ 6033 h 10664"/>
              <a:gd name="T18" fmla="*/ 7044 w 16254"/>
              <a:gd name="T19" fmla="*/ 7166 h 10664"/>
              <a:gd name="T20" fmla="*/ 7388 w 16254"/>
              <a:gd name="T21" fmla="*/ 8669 h 10664"/>
              <a:gd name="T22" fmla="*/ 9512 w 16254"/>
              <a:gd name="T23" fmla="*/ 8817 h 10664"/>
              <a:gd name="T24" fmla="*/ 9632 w 16254"/>
              <a:gd name="T25" fmla="*/ 7595 h 10664"/>
              <a:gd name="T26" fmla="*/ 10982 w 16254"/>
              <a:gd name="T27" fmla="*/ 6176 h 10664"/>
              <a:gd name="T28" fmla="*/ 13001 w 16254"/>
              <a:gd name="T29" fmla="*/ 6225 h 10664"/>
              <a:gd name="T30" fmla="*/ 14282 w 16254"/>
              <a:gd name="T31" fmla="*/ 7709 h 10664"/>
              <a:gd name="T32" fmla="*/ 14357 w 16254"/>
              <a:gd name="T33" fmla="*/ 8855 h 10664"/>
              <a:gd name="T34" fmla="*/ 16111 w 16254"/>
              <a:gd name="T35" fmla="*/ 8961 h 10664"/>
              <a:gd name="T36" fmla="*/ 16121 w 16254"/>
              <a:gd name="T37" fmla="*/ 5271 h 10664"/>
              <a:gd name="T38" fmla="*/ 12140 w 16254"/>
              <a:gd name="T39" fmla="*/ 2208 h 10664"/>
              <a:gd name="T40" fmla="*/ 15311 w 16254"/>
              <a:gd name="T41" fmla="*/ 1760 h 10664"/>
              <a:gd name="T42" fmla="*/ 10490 w 16254"/>
              <a:gd name="T43" fmla="*/ 2679 h 10664"/>
              <a:gd name="T44" fmla="*/ 14403 w 16254"/>
              <a:gd name="T45" fmla="*/ 1115 h 10664"/>
              <a:gd name="T46" fmla="*/ 14311 w 16254"/>
              <a:gd name="T47" fmla="*/ 6 h 10664"/>
              <a:gd name="T48" fmla="*/ 158 w 16254"/>
              <a:gd name="T49" fmla="*/ 759 h 10664"/>
              <a:gd name="T50" fmla="*/ 127 w 16254"/>
              <a:gd name="T51" fmla="*/ 2344 h 10664"/>
              <a:gd name="T52" fmla="*/ 6570 w 16254"/>
              <a:gd name="T53" fmla="*/ 5360 h 10664"/>
              <a:gd name="T54" fmla="*/ 4594 w 16254"/>
              <a:gd name="T55" fmla="*/ 2583 h 10664"/>
              <a:gd name="T56" fmla="*/ 6811 w 16254"/>
              <a:gd name="T57" fmla="*/ 5171 h 10664"/>
              <a:gd name="T58" fmla="*/ 6773 w 16254"/>
              <a:gd name="T59" fmla="*/ 5397 h 10664"/>
              <a:gd name="T60" fmla="*/ 6037 w 16254"/>
              <a:gd name="T61" fmla="*/ 2799 h 10664"/>
              <a:gd name="T62" fmla="*/ 6077 w 16254"/>
              <a:gd name="T63" fmla="*/ 2574 h 10664"/>
              <a:gd name="T64" fmla="*/ 8292 w 16254"/>
              <a:gd name="T65" fmla="*/ 5184 h 10664"/>
              <a:gd name="T66" fmla="*/ 8230 w 16254"/>
              <a:gd name="T67" fmla="*/ 5404 h 10664"/>
              <a:gd name="T68" fmla="*/ 5457 w 16254"/>
              <a:gd name="T69" fmla="*/ 5197 h 10664"/>
              <a:gd name="T70" fmla="*/ 5374 w 16254"/>
              <a:gd name="T71" fmla="*/ 5410 h 10664"/>
              <a:gd name="T72" fmla="*/ 3173 w 16254"/>
              <a:gd name="T73" fmla="*/ 2759 h 10664"/>
              <a:gd name="T74" fmla="*/ 3276 w 16254"/>
              <a:gd name="T75" fmla="*/ 2556 h 10664"/>
              <a:gd name="T76" fmla="*/ 14133 w 16254"/>
              <a:gd name="T77" fmla="*/ 8102 h 10664"/>
              <a:gd name="T78" fmla="*/ 13179 w 16254"/>
              <a:gd name="T79" fmla="*/ 6597 h 10664"/>
              <a:gd name="T80" fmla="*/ 11383 w 16254"/>
              <a:gd name="T81" fmla="*/ 6288 h 10664"/>
              <a:gd name="T82" fmla="*/ 9985 w 16254"/>
              <a:gd name="T83" fmla="*/ 7381 h 10664"/>
              <a:gd name="T84" fmla="*/ 9851 w 16254"/>
              <a:gd name="T85" fmla="*/ 9206 h 10664"/>
              <a:gd name="T86" fmla="*/ 11073 w 16254"/>
              <a:gd name="T87" fmla="*/ 10489 h 10664"/>
              <a:gd name="T88" fmla="*/ 12901 w 16254"/>
              <a:gd name="T89" fmla="*/ 10444 h 10664"/>
              <a:gd name="T90" fmla="*/ 14059 w 16254"/>
              <a:gd name="T91" fmla="*/ 9102 h 10664"/>
              <a:gd name="T92" fmla="*/ 12450 w 16254"/>
              <a:gd name="T93" fmla="*/ 7496 h 10664"/>
              <a:gd name="T94" fmla="*/ 12977 w 16254"/>
              <a:gd name="T95" fmla="*/ 8172 h 10664"/>
              <a:gd name="T96" fmla="*/ 12827 w 16254"/>
              <a:gd name="T97" fmla="*/ 9042 h 10664"/>
              <a:gd name="T98" fmla="*/ 12101 w 16254"/>
              <a:gd name="T99" fmla="*/ 9504 h 10664"/>
              <a:gd name="T100" fmla="*/ 11255 w 16254"/>
              <a:gd name="T101" fmla="*/ 9270 h 10664"/>
              <a:gd name="T102" fmla="*/ 10865 w 16254"/>
              <a:gd name="T103" fmla="*/ 8496 h 10664"/>
              <a:gd name="T104" fmla="*/ 11179 w 16254"/>
              <a:gd name="T105" fmla="*/ 7681 h 10664"/>
              <a:gd name="T106" fmla="*/ 4944 w 16254"/>
              <a:gd name="T107" fmla="*/ 7366 h 10664"/>
              <a:gd name="T108" fmla="*/ 5739 w 16254"/>
              <a:gd name="T109" fmla="*/ 7718 h 10664"/>
              <a:gd name="T110" fmla="*/ 6012 w 16254"/>
              <a:gd name="T111" fmla="*/ 8551 h 10664"/>
              <a:gd name="T112" fmla="*/ 5586 w 16254"/>
              <a:gd name="T113" fmla="*/ 9302 h 10664"/>
              <a:gd name="T114" fmla="*/ 4728 w 16254"/>
              <a:gd name="T115" fmla="*/ 9493 h 10664"/>
              <a:gd name="T116" fmla="*/ 4026 w 16254"/>
              <a:gd name="T117" fmla="*/ 8998 h 10664"/>
              <a:gd name="T118" fmla="*/ 3919 w 16254"/>
              <a:gd name="T119" fmla="*/ 8121 h 10664"/>
              <a:gd name="T120" fmla="*/ 4479 w 16254"/>
              <a:gd name="T121" fmla="*/ 7471 h 10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254" h="10664">
                <a:moveTo>
                  <a:pt x="7165" y="8441"/>
                </a:moveTo>
                <a:lnTo>
                  <a:pt x="7162" y="8326"/>
                </a:lnTo>
                <a:lnTo>
                  <a:pt x="7154" y="8213"/>
                </a:lnTo>
                <a:lnTo>
                  <a:pt x="7140" y="8102"/>
                </a:lnTo>
                <a:lnTo>
                  <a:pt x="7120" y="7992"/>
                </a:lnTo>
                <a:lnTo>
                  <a:pt x="7095" y="7885"/>
                </a:lnTo>
                <a:lnTo>
                  <a:pt x="7065" y="7780"/>
                </a:lnTo>
                <a:lnTo>
                  <a:pt x="7030" y="7676"/>
                </a:lnTo>
                <a:lnTo>
                  <a:pt x="6990" y="7575"/>
                </a:lnTo>
                <a:lnTo>
                  <a:pt x="6947" y="7476"/>
                </a:lnTo>
                <a:lnTo>
                  <a:pt x="6897" y="7381"/>
                </a:lnTo>
                <a:lnTo>
                  <a:pt x="6844" y="7287"/>
                </a:lnTo>
                <a:lnTo>
                  <a:pt x="6786" y="7198"/>
                </a:lnTo>
                <a:lnTo>
                  <a:pt x="6724" y="7110"/>
                </a:lnTo>
                <a:lnTo>
                  <a:pt x="6658" y="7026"/>
                </a:lnTo>
                <a:lnTo>
                  <a:pt x="6588" y="6946"/>
                </a:lnTo>
                <a:lnTo>
                  <a:pt x="6515" y="6868"/>
                </a:lnTo>
                <a:lnTo>
                  <a:pt x="6438" y="6795"/>
                </a:lnTo>
                <a:lnTo>
                  <a:pt x="6357" y="6725"/>
                </a:lnTo>
                <a:lnTo>
                  <a:pt x="6273" y="6659"/>
                </a:lnTo>
                <a:lnTo>
                  <a:pt x="6186" y="6597"/>
                </a:lnTo>
                <a:lnTo>
                  <a:pt x="6096" y="6539"/>
                </a:lnTo>
                <a:lnTo>
                  <a:pt x="6003" y="6486"/>
                </a:lnTo>
                <a:lnTo>
                  <a:pt x="5907" y="6436"/>
                </a:lnTo>
                <a:lnTo>
                  <a:pt x="5809" y="6392"/>
                </a:lnTo>
                <a:lnTo>
                  <a:pt x="5708" y="6352"/>
                </a:lnTo>
                <a:lnTo>
                  <a:pt x="5605" y="6317"/>
                </a:lnTo>
                <a:lnTo>
                  <a:pt x="5499" y="6288"/>
                </a:lnTo>
                <a:lnTo>
                  <a:pt x="5392" y="6262"/>
                </a:lnTo>
                <a:lnTo>
                  <a:pt x="5283" y="6243"/>
                </a:lnTo>
                <a:lnTo>
                  <a:pt x="5172" y="6229"/>
                </a:lnTo>
                <a:lnTo>
                  <a:pt x="5059" y="6220"/>
                </a:lnTo>
                <a:lnTo>
                  <a:pt x="4944" y="6217"/>
                </a:lnTo>
                <a:lnTo>
                  <a:pt x="4830" y="6220"/>
                </a:lnTo>
                <a:lnTo>
                  <a:pt x="4718" y="6229"/>
                </a:lnTo>
                <a:lnTo>
                  <a:pt x="4606" y="6243"/>
                </a:lnTo>
                <a:lnTo>
                  <a:pt x="4497" y="6262"/>
                </a:lnTo>
                <a:lnTo>
                  <a:pt x="4390" y="6288"/>
                </a:lnTo>
                <a:lnTo>
                  <a:pt x="4284" y="6317"/>
                </a:lnTo>
                <a:lnTo>
                  <a:pt x="4180" y="6352"/>
                </a:lnTo>
                <a:lnTo>
                  <a:pt x="4080" y="6392"/>
                </a:lnTo>
                <a:lnTo>
                  <a:pt x="3981" y="6436"/>
                </a:lnTo>
                <a:lnTo>
                  <a:pt x="3886" y="6486"/>
                </a:lnTo>
                <a:lnTo>
                  <a:pt x="3793" y="6539"/>
                </a:lnTo>
                <a:lnTo>
                  <a:pt x="3703" y="6597"/>
                </a:lnTo>
                <a:lnTo>
                  <a:pt x="3615" y="6659"/>
                </a:lnTo>
                <a:lnTo>
                  <a:pt x="3532" y="6725"/>
                </a:lnTo>
                <a:lnTo>
                  <a:pt x="3451" y="6795"/>
                </a:lnTo>
                <a:lnTo>
                  <a:pt x="3374" y="6868"/>
                </a:lnTo>
                <a:lnTo>
                  <a:pt x="3301" y="6946"/>
                </a:lnTo>
                <a:lnTo>
                  <a:pt x="3230" y="7026"/>
                </a:lnTo>
                <a:lnTo>
                  <a:pt x="3164" y="7110"/>
                </a:lnTo>
                <a:lnTo>
                  <a:pt x="3102" y="7198"/>
                </a:lnTo>
                <a:lnTo>
                  <a:pt x="3046" y="7287"/>
                </a:lnTo>
                <a:lnTo>
                  <a:pt x="2992" y="7381"/>
                </a:lnTo>
                <a:lnTo>
                  <a:pt x="2943" y="7476"/>
                </a:lnTo>
                <a:lnTo>
                  <a:pt x="2898" y="7575"/>
                </a:lnTo>
                <a:lnTo>
                  <a:pt x="2859" y="7676"/>
                </a:lnTo>
                <a:lnTo>
                  <a:pt x="2823" y="7780"/>
                </a:lnTo>
                <a:lnTo>
                  <a:pt x="2794" y="7885"/>
                </a:lnTo>
                <a:lnTo>
                  <a:pt x="2768" y="7992"/>
                </a:lnTo>
                <a:lnTo>
                  <a:pt x="2749" y="8102"/>
                </a:lnTo>
                <a:lnTo>
                  <a:pt x="2735" y="8213"/>
                </a:lnTo>
                <a:lnTo>
                  <a:pt x="2727" y="8326"/>
                </a:lnTo>
                <a:lnTo>
                  <a:pt x="2724" y="8441"/>
                </a:lnTo>
                <a:lnTo>
                  <a:pt x="2727" y="8555"/>
                </a:lnTo>
                <a:lnTo>
                  <a:pt x="2735" y="8667"/>
                </a:lnTo>
                <a:lnTo>
                  <a:pt x="2749" y="8779"/>
                </a:lnTo>
                <a:lnTo>
                  <a:pt x="2768" y="8888"/>
                </a:lnTo>
                <a:lnTo>
                  <a:pt x="2794" y="8996"/>
                </a:lnTo>
                <a:lnTo>
                  <a:pt x="2823" y="9102"/>
                </a:lnTo>
                <a:lnTo>
                  <a:pt x="2859" y="9206"/>
                </a:lnTo>
                <a:lnTo>
                  <a:pt x="2898" y="9306"/>
                </a:lnTo>
                <a:lnTo>
                  <a:pt x="2943" y="9405"/>
                </a:lnTo>
                <a:lnTo>
                  <a:pt x="2992" y="9500"/>
                </a:lnTo>
                <a:lnTo>
                  <a:pt x="3046" y="9593"/>
                </a:lnTo>
                <a:lnTo>
                  <a:pt x="3102" y="9684"/>
                </a:lnTo>
                <a:lnTo>
                  <a:pt x="3164" y="9771"/>
                </a:lnTo>
                <a:lnTo>
                  <a:pt x="3230" y="9854"/>
                </a:lnTo>
                <a:lnTo>
                  <a:pt x="3301" y="9936"/>
                </a:lnTo>
                <a:lnTo>
                  <a:pt x="3374" y="10013"/>
                </a:lnTo>
                <a:lnTo>
                  <a:pt x="3451" y="10086"/>
                </a:lnTo>
                <a:lnTo>
                  <a:pt x="3532" y="10156"/>
                </a:lnTo>
                <a:lnTo>
                  <a:pt x="3615" y="10223"/>
                </a:lnTo>
                <a:lnTo>
                  <a:pt x="3703" y="10285"/>
                </a:lnTo>
                <a:lnTo>
                  <a:pt x="3793" y="10343"/>
                </a:lnTo>
                <a:lnTo>
                  <a:pt x="3886" y="10395"/>
                </a:lnTo>
                <a:lnTo>
                  <a:pt x="3981" y="10444"/>
                </a:lnTo>
                <a:lnTo>
                  <a:pt x="4080" y="10489"/>
                </a:lnTo>
                <a:lnTo>
                  <a:pt x="4180" y="10529"/>
                </a:lnTo>
                <a:lnTo>
                  <a:pt x="4284" y="10564"/>
                </a:lnTo>
                <a:lnTo>
                  <a:pt x="4390" y="10594"/>
                </a:lnTo>
                <a:lnTo>
                  <a:pt x="4497" y="10619"/>
                </a:lnTo>
                <a:lnTo>
                  <a:pt x="4606" y="10639"/>
                </a:lnTo>
                <a:lnTo>
                  <a:pt x="4718" y="10653"/>
                </a:lnTo>
                <a:lnTo>
                  <a:pt x="4830" y="10661"/>
                </a:lnTo>
                <a:lnTo>
                  <a:pt x="4944" y="10664"/>
                </a:lnTo>
                <a:lnTo>
                  <a:pt x="5059" y="10661"/>
                </a:lnTo>
                <a:lnTo>
                  <a:pt x="5172" y="10653"/>
                </a:lnTo>
                <a:lnTo>
                  <a:pt x="5283" y="10639"/>
                </a:lnTo>
                <a:lnTo>
                  <a:pt x="5392" y="10619"/>
                </a:lnTo>
                <a:lnTo>
                  <a:pt x="5499" y="10594"/>
                </a:lnTo>
                <a:lnTo>
                  <a:pt x="5605" y="10564"/>
                </a:lnTo>
                <a:lnTo>
                  <a:pt x="5708" y="10529"/>
                </a:lnTo>
                <a:lnTo>
                  <a:pt x="5809" y="10489"/>
                </a:lnTo>
                <a:lnTo>
                  <a:pt x="5907" y="10444"/>
                </a:lnTo>
                <a:lnTo>
                  <a:pt x="6003" y="10395"/>
                </a:lnTo>
                <a:lnTo>
                  <a:pt x="6096" y="10343"/>
                </a:lnTo>
                <a:lnTo>
                  <a:pt x="6186" y="10285"/>
                </a:lnTo>
                <a:lnTo>
                  <a:pt x="6273" y="10223"/>
                </a:lnTo>
                <a:lnTo>
                  <a:pt x="6357" y="10156"/>
                </a:lnTo>
                <a:lnTo>
                  <a:pt x="6438" y="10086"/>
                </a:lnTo>
                <a:lnTo>
                  <a:pt x="6515" y="10013"/>
                </a:lnTo>
                <a:lnTo>
                  <a:pt x="6588" y="9936"/>
                </a:lnTo>
                <a:lnTo>
                  <a:pt x="6658" y="9854"/>
                </a:lnTo>
                <a:lnTo>
                  <a:pt x="6724" y="9771"/>
                </a:lnTo>
                <a:lnTo>
                  <a:pt x="6786" y="9684"/>
                </a:lnTo>
                <a:lnTo>
                  <a:pt x="6844" y="9593"/>
                </a:lnTo>
                <a:lnTo>
                  <a:pt x="6897" y="9500"/>
                </a:lnTo>
                <a:lnTo>
                  <a:pt x="6947" y="9405"/>
                </a:lnTo>
                <a:lnTo>
                  <a:pt x="6990" y="9306"/>
                </a:lnTo>
                <a:lnTo>
                  <a:pt x="7030" y="9206"/>
                </a:lnTo>
                <a:lnTo>
                  <a:pt x="7065" y="9102"/>
                </a:lnTo>
                <a:lnTo>
                  <a:pt x="7095" y="8996"/>
                </a:lnTo>
                <a:lnTo>
                  <a:pt x="7120" y="8888"/>
                </a:lnTo>
                <a:lnTo>
                  <a:pt x="7140" y="8779"/>
                </a:lnTo>
                <a:lnTo>
                  <a:pt x="7154" y="8667"/>
                </a:lnTo>
                <a:lnTo>
                  <a:pt x="7162" y="8555"/>
                </a:lnTo>
                <a:lnTo>
                  <a:pt x="7165" y="8441"/>
                </a:lnTo>
                <a:close/>
                <a:moveTo>
                  <a:pt x="253" y="1222"/>
                </a:moveTo>
                <a:lnTo>
                  <a:pt x="0" y="1222"/>
                </a:lnTo>
                <a:lnTo>
                  <a:pt x="0" y="1961"/>
                </a:lnTo>
                <a:lnTo>
                  <a:pt x="253" y="1961"/>
                </a:lnTo>
                <a:lnTo>
                  <a:pt x="253" y="1222"/>
                </a:lnTo>
                <a:close/>
                <a:moveTo>
                  <a:pt x="16254" y="5793"/>
                </a:moveTo>
                <a:lnTo>
                  <a:pt x="16001" y="5793"/>
                </a:lnTo>
                <a:lnTo>
                  <a:pt x="16001" y="6534"/>
                </a:lnTo>
                <a:lnTo>
                  <a:pt x="16254" y="6534"/>
                </a:lnTo>
                <a:lnTo>
                  <a:pt x="16254" y="5793"/>
                </a:lnTo>
                <a:close/>
                <a:moveTo>
                  <a:pt x="2676" y="3836"/>
                </a:moveTo>
                <a:lnTo>
                  <a:pt x="4402" y="6043"/>
                </a:lnTo>
                <a:lnTo>
                  <a:pt x="4467" y="6029"/>
                </a:lnTo>
                <a:lnTo>
                  <a:pt x="4534" y="6017"/>
                </a:lnTo>
                <a:lnTo>
                  <a:pt x="4601" y="6007"/>
                </a:lnTo>
                <a:lnTo>
                  <a:pt x="4668" y="5999"/>
                </a:lnTo>
                <a:lnTo>
                  <a:pt x="4737" y="5992"/>
                </a:lnTo>
                <a:lnTo>
                  <a:pt x="4805" y="5986"/>
                </a:lnTo>
                <a:lnTo>
                  <a:pt x="4874" y="5984"/>
                </a:lnTo>
                <a:lnTo>
                  <a:pt x="4944" y="5983"/>
                </a:lnTo>
                <a:lnTo>
                  <a:pt x="5070" y="5986"/>
                </a:lnTo>
                <a:lnTo>
                  <a:pt x="5195" y="5996"/>
                </a:lnTo>
                <a:lnTo>
                  <a:pt x="5318" y="6011"/>
                </a:lnTo>
                <a:lnTo>
                  <a:pt x="5439" y="6033"/>
                </a:lnTo>
                <a:lnTo>
                  <a:pt x="5558" y="6061"/>
                </a:lnTo>
                <a:lnTo>
                  <a:pt x="5675" y="6093"/>
                </a:lnTo>
                <a:lnTo>
                  <a:pt x="5788" y="6132"/>
                </a:lnTo>
                <a:lnTo>
                  <a:pt x="5900" y="6176"/>
                </a:lnTo>
                <a:lnTo>
                  <a:pt x="6009" y="6225"/>
                </a:lnTo>
                <a:lnTo>
                  <a:pt x="6115" y="6279"/>
                </a:lnTo>
                <a:lnTo>
                  <a:pt x="6217" y="6338"/>
                </a:lnTo>
                <a:lnTo>
                  <a:pt x="6317" y="6402"/>
                </a:lnTo>
                <a:lnTo>
                  <a:pt x="6413" y="6472"/>
                </a:lnTo>
                <a:lnTo>
                  <a:pt x="6506" y="6544"/>
                </a:lnTo>
                <a:lnTo>
                  <a:pt x="6595" y="6621"/>
                </a:lnTo>
                <a:lnTo>
                  <a:pt x="6680" y="6703"/>
                </a:lnTo>
                <a:lnTo>
                  <a:pt x="6762" y="6788"/>
                </a:lnTo>
                <a:lnTo>
                  <a:pt x="6839" y="6877"/>
                </a:lnTo>
                <a:lnTo>
                  <a:pt x="6911" y="6970"/>
                </a:lnTo>
                <a:lnTo>
                  <a:pt x="6980" y="7067"/>
                </a:lnTo>
                <a:lnTo>
                  <a:pt x="7044" y="7166"/>
                </a:lnTo>
                <a:lnTo>
                  <a:pt x="7103" y="7269"/>
                </a:lnTo>
                <a:lnTo>
                  <a:pt x="7157" y="7375"/>
                </a:lnTo>
                <a:lnTo>
                  <a:pt x="7207" y="7484"/>
                </a:lnTo>
                <a:lnTo>
                  <a:pt x="7250" y="7595"/>
                </a:lnTo>
                <a:lnTo>
                  <a:pt x="7289" y="7709"/>
                </a:lnTo>
                <a:lnTo>
                  <a:pt x="7321" y="7826"/>
                </a:lnTo>
                <a:lnTo>
                  <a:pt x="7349" y="7945"/>
                </a:lnTo>
                <a:lnTo>
                  <a:pt x="7371" y="8066"/>
                </a:lnTo>
                <a:lnTo>
                  <a:pt x="7386" y="8189"/>
                </a:lnTo>
                <a:lnTo>
                  <a:pt x="7396" y="8315"/>
                </a:lnTo>
                <a:lnTo>
                  <a:pt x="7399" y="8441"/>
                </a:lnTo>
                <a:lnTo>
                  <a:pt x="7399" y="8479"/>
                </a:lnTo>
                <a:lnTo>
                  <a:pt x="7398" y="8517"/>
                </a:lnTo>
                <a:lnTo>
                  <a:pt x="7397" y="8556"/>
                </a:lnTo>
                <a:lnTo>
                  <a:pt x="7395" y="8593"/>
                </a:lnTo>
                <a:lnTo>
                  <a:pt x="7392" y="8631"/>
                </a:lnTo>
                <a:lnTo>
                  <a:pt x="7388" y="8669"/>
                </a:lnTo>
                <a:lnTo>
                  <a:pt x="7384" y="8706"/>
                </a:lnTo>
                <a:lnTo>
                  <a:pt x="7380" y="8743"/>
                </a:lnTo>
                <a:lnTo>
                  <a:pt x="7375" y="8780"/>
                </a:lnTo>
                <a:lnTo>
                  <a:pt x="7370" y="8817"/>
                </a:lnTo>
                <a:lnTo>
                  <a:pt x="7364" y="8854"/>
                </a:lnTo>
                <a:lnTo>
                  <a:pt x="7358" y="8890"/>
                </a:lnTo>
                <a:lnTo>
                  <a:pt x="7351" y="8927"/>
                </a:lnTo>
                <a:lnTo>
                  <a:pt x="7344" y="8962"/>
                </a:lnTo>
                <a:lnTo>
                  <a:pt x="7336" y="8999"/>
                </a:lnTo>
                <a:lnTo>
                  <a:pt x="7326" y="9035"/>
                </a:lnTo>
                <a:lnTo>
                  <a:pt x="9555" y="9035"/>
                </a:lnTo>
                <a:lnTo>
                  <a:pt x="9546" y="8999"/>
                </a:lnTo>
                <a:lnTo>
                  <a:pt x="9538" y="8962"/>
                </a:lnTo>
                <a:lnTo>
                  <a:pt x="9531" y="8927"/>
                </a:lnTo>
                <a:lnTo>
                  <a:pt x="9524" y="8890"/>
                </a:lnTo>
                <a:lnTo>
                  <a:pt x="9518" y="8854"/>
                </a:lnTo>
                <a:lnTo>
                  <a:pt x="9512" y="8817"/>
                </a:lnTo>
                <a:lnTo>
                  <a:pt x="9507" y="8780"/>
                </a:lnTo>
                <a:lnTo>
                  <a:pt x="9501" y="8743"/>
                </a:lnTo>
                <a:lnTo>
                  <a:pt x="9497" y="8706"/>
                </a:lnTo>
                <a:lnTo>
                  <a:pt x="9493" y="8669"/>
                </a:lnTo>
                <a:lnTo>
                  <a:pt x="9490" y="8631"/>
                </a:lnTo>
                <a:lnTo>
                  <a:pt x="9487" y="8593"/>
                </a:lnTo>
                <a:lnTo>
                  <a:pt x="9485" y="8556"/>
                </a:lnTo>
                <a:lnTo>
                  <a:pt x="9484" y="8517"/>
                </a:lnTo>
                <a:lnTo>
                  <a:pt x="9483" y="8479"/>
                </a:lnTo>
                <a:lnTo>
                  <a:pt x="9483" y="8441"/>
                </a:lnTo>
                <a:lnTo>
                  <a:pt x="9486" y="8315"/>
                </a:lnTo>
                <a:lnTo>
                  <a:pt x="9495" y="8189"/>
                </a:lnTo>
                <a:lnTo>
                  <a:pt x="9511" y="8066"/>
                </a:lnTo>
                <a:lnTo>
                  <a:pt x="9533" y="7945"/>
                </a:lnTo>
                <a:lnTo>
                  <a:pt x="9560" y="7826"/>
                </a:lnTo>
                <a:lnTo>
                  <a:pt x="9593" y="7709"/>
                </a:lnTo>
                <a:lnTo>
                  <a:pt x="9632" y="7595"/>
                </a:lnTo>
                <a:lnTo>
                  <a:pt x="9675" y="7484"/>
                </a:lnTo>
                <a:lnTo>
                  <a:pt x="9725" y="7375"/>
                </a:lnTo>
                <a:lnTo>
                  <a:pt x="9779" y="7269"/>
                </a:lnTo>
                <a:lnTo>
                  <a:pt x="9838" y="7166"/>
                </a:lnTo>
                <a:lnTo>
                  <a:pt x="9902" y="7067"/>
                </a:lnTo>
                <a:lnTo>
                  <a:pt x="9971" y="6970"/>
                </a:lnTo>
                <a:lnTo>
                  <a:pt x="10043" y="6877"/>
                </a:lnTo>
                <a:lnTo>
                  <a:pt x="10120" y="6788"/>
                </a:lnTo>
                <a:lnTo>
                  <a:pt x="10201" y="6703"/>
                </a:lnTo>
                <a:lnTo>
                  <a:pt x="10287" y="6621"/>
                </a:lnTo>
                <a:lnTo>
                  <a:pt x="10376" y="6544"/>
                </a:lnTo>
                <a:lnTo>
                  <a:pt x="10469" y="6472"/>
                </a:lnTo>
                <a:lnTo>
                  <a:pt x="10565" y="6402"/>
                </a:lnTo>
                <a:lnTo>
                  <a:pt x="10665" y="6338"/>
                </a:lnTo>
                <a:lnTo>
                  <a:pt x="10767" y="6279"/>
                </a:lnTo>
                <a:lnTo>
                  <a:pt x="10873" y="6225"/>
                </a:lnTo>
                <a:lnTo>
                  <a:pt x="10982" y="6176"/>
                </a:lnTo>
                <a:lnTo>
                  <a:pt x="11093" y="6132"/>
                </a:lnTo>
                <a:lnTo>
                  <a:pt x="11207" y="6093"/>
                </a:lnTo>
                <a:lnTo>
                  <a:pt x="11324" y="6061"/>
                </a:lnTo>
                <a:lnTo>
                  <a:pt x="11443" y="6033"/>
                </a:lnTo>
                <a:lnTo>
                  <a:pt x="11564" y="6011"/>
                </a:lnTo>
                <a:lnTo>
                  <a:pt x="11687" y="5996"/>
                </a:lnTo>
                <a:lnTo>
                  <a:pt x="11812" y="5986"/>
                </a:lnTo>
                <a:lnTo>
                  <a:pt x="11938" y="5983"/>
                </a:lnTo>
                <a:lnTo>
                  <a:pt x="12064" y="5986"/>
                </a:lnTo>
                <a:lnTo>
                  <a:pt x="12188" y="5996"/>
                </a:lnTo>
                <a:lnTo>
                  <a:pt x="12311" y="6011"/>
                </a:lnTo>
                <a:lnTo>
                  <a:pt x="12432" y="6033"/>
                </a:lnTo>
                <a:lnTo>
                  <a:pt x="12551" y="6061"/>
                </a:lnTo>
                <a:lnTo>
                  <a:pt x="12667" y="6093"/>
                </a:lnTo>
                <a:lnTo>
                  <a:pt x="12782" y="6132"/>
                </a:lnTo>
                <a:lnTo>
                  <a:pt x="12892" y="6176"/>
                </a:lnTo>
                <a:lnTo>
                  <a:pt x="13001" y="6225"/>
                </a:lnTo>
                <a:lnTo>
                  <a:pt x="13108" y="6279"/>
                </a:lnTo>
                <a:lnTo>
                  <a:pt x="13210" y="6338"/>
                </a:lnTo>
                <a:lnTo>
                  <a:pt x="13310" y="6402"/>
                </a:lnTo>
                <a:lnTo>
                  <a:pt x="13407" y="6472"/>
                </a:lnTo>
                <a:lnTo>
                  <a:pt x="13499" y="6544"/>
                </a:lnTo>
                <a:lnTo>
                  <a:pt x="13588" y="6621"/>
                </a:lnTo>
                <a:lnTo>
                  <a:pt x="13673" y="6703"/>
                </a:lnTo>
                <a:lnTo>
                  <a:pt x="13755" y="6788"/>
                </a:lnTo>
                <a:lnTo>
                  <a:pt x="13831" y="6877"/>
                </a:lnTo>
                <a:lnTo>
                  <a:pt x="13904" y="6970"/>
                </a:lnTo>
                <a:lnTo>
                  <a:pt x="13973" y="7067"/>
                </a:lnTo>
                <a:lnTo>
                  <a:pt x="14036" y="7166"/>
                </a:lnTo>
                <a:lnTo>
                  <a:pt x="14096" y="7269"/>
                </a:lnTo>
                <a:lnTo>
                  <a:pt x="14150" y="7375"/>
                </a:lnTo>
                <a:lnTo>
                  <a:pt x="14199" y="7484"/>
                </a:lnTo>
                <a:lnTo>
                  <a:pt x="14244" y="7595"/>
                </a:lnTo>
                <a:lnTo>
                  <a:pt x="14282" y="7709"/>
                </a:lnTo>
                <a:lnTo>
                  <a:pt x="14315" y="7826"/>
                </a:lnTo>
                <a:lnTo>
                  <a:pt x="14342" y="7945"/>
                </a:lnTo>
                <a:lnTo>
                  <a:pt x="14363" y="8066"/>
                </a:lnTo>
                <a:lnTo>
                  <a:pt x="14380" y="8189"/>
                </a:lnTo>
                <a:lnTo>
                  <a:pt x="14389" y="8315"/>
                </a:lnTo>
                <a:lnTo>
                  <a:pt x="14392" y="8441"/>
                </a:lnTo>
                <a:lnTo>
                  <a:pt x="14392" y="8479"/>
                </a:lnTo>
                <a:lnTo>
                  <a:pt x="14391" y="8517"/>
                </a:lnTo>
                <a:lnTo>
                  <a:pt x="14390" y="8556"/>
                </a:lnTo>
                <a:lnTo>
                  <a:pt x="14388" y="8593"/>
                </a:lnTo>
                <a:lnTo>
                  <a:pt x="14385" y="8631"/>
                </a:lnTo>
                <a:lnTo>
                  <a:pt x="14382" y="8669"/>
                </a:lnTo>
                <a:lnTo>
                  <a:pt x="14378" y="8706"/>
                </a:lnTo>
                <a:lnTo>
                  <a:pt x="14374" y="8744"/>
                </a:lnTo>
                <a:lnTo>
                  <a:pt x="14369" y="8780"/>
                </a:lnTo>
                <a:lnTo>
                  <a:pt x="14363" y="8817"/>
                </a:lnTo>
                <a:lnTo>
                  <a:pt x="14357" y="8855"/>
                </a:lnTo>
                <a:lnTo>
                  <a:pt x="14351" y="8891"/>
                </a:lnTo>
                <a:lnTo>
                  <a:pt x="14344" y="8927"/>
                </a:lnTo>
                <a:lnTo>
                  <a:pt x="14336" y="8963"/>
                </a:lnTo>
                <a:lnTo>
                  <a:pt x="14328" y="8999"/>
                </a:lnTo>
                <a:lnTo>
                  <a:pt x="14320" y="9036"/>
                </a:lnTo>
                <a:lnTo>
                  <a:pt x="15987" y="9036"/>
                </a:lnTo>
                <a:lnTo>
                  <a:pt x="16001" y="9035"/>
                </a:lnTo>
                <a:lnTo>
                  <a:pt x="16015" y="9033"/>
                </a:lnTo>
                <a:lnTo>
                  <a:pt x="16028" y="9029"/>
                </a:lnTo>
                <a:lnTo>
                  <a:pt x="16042" y="9024"/>
                </a:lnTo>
                <a:lnTo>
                  <a:pt x="16054" y="9018"/>
                </a:lnTo>
                <a:lnTo>
                  <a:pt x="16066" y="9011"/>
                </a:lnTo>
                <a:lnTo>
                  <a:pt x="16076" y="9003"/>
                </a:lnTo>
                <a:lnTo>
                  <a:pt x="16086" y="8994"/>
                </a:lnTo>
                <a:lnTo>
                  <a:pt x="16096" y="8984"/>
                </a:lnTo>
                <a:lnTo>
                  <a:pt x="16104" y="8974"/>
                </a:lnTo>
                <a:lnTo>
                  <a:pt x="16111" y="8961"/>
                </a:lnTo>
                <a:lnTo>
                  <a:pt x="16117" y="8949"/>
                </a:lnTo>
                <a:lnTo>
                  <a:pt x="16121" y="8936"/>
                </a:lnTo>
                <a:lnTo>
                  <a:pt x="16125" y="8923"/>
                </a:lnTo>
                <a:lnTo>
                  <a:pt x="16127" y="8909"/>
                </a:lnTo>
                <a:lnTo>
                  <a:pt x="16127" y="8894"/>
                </a:lnTo>
                <a:lnTo>
                  <a:pt x="16127" y="6843"/>
                </a:lnTo>
                <a:lnTo>
                  <a:pt x="15847" y="6843"/>
                </a:lnTo>
                <a:lnTo>
                  <a:pt x="15691" y="6843"/>
                </a:lnTo>
                <a:lnTo>
                  <a:pt x="15691" y="6688"/>
                </a:lnTo>
                <a:lnTo>
                  <a:pt x="15691" y="5639"/>
                </a:lnTo>
                <a:lnTo>
                  <a:pt x="15691" y="5484"/>
                </a:lnTo>
                <a:lnTo>
                  <a:pt x="15847" y="5484"/>
                </a:lnTo>
                <a:lnTo>
                  <a:pt x="16127" y="5484"/>
                </a:lnTo>
                <a:lnTo>
                  <a:pt x="16127" y="5312"/>
                </a:lnTo>
                <a:lnTo>
                  <a:pt x="16127" y="5298"/>
                </a:lnTo>
                <a:lnTo>
                  <a:pt x="16125" y="5285"/>
                </a:lnTo>
                <a:lnTo>
                  <a:pt x="16121" y="5271"/>
                </a:lnTo>
                <a:lnTo>
                  <a:pt x="16117" y="5258"/>
                </a:lnTo>
                <a:lnTo>
                  <a:pt x="16111" y="5246"/>
                </a:lnTo>
                <a:lnTo>
                  <a:pt x="16104" y="5234"/>
                </a:lnTo>
                <a:lnTo>
                  <a:pt x="16096" y="5224"/>
                </a:lnTo>
                <a:lnTo>
                  <a:pt x="16086" y="5212"/>
                </a:lnTo>
                <a:lnTo>
                  <a:pt x="16076" y="5203"/>
                </a:lnTo>
                <a:lnTo>
                  <a:pt x="16065" y="5195"/>
                </a:lnTo>
                <a:lnTo>
                  <a:pt x="16053" y="5188"/>
                </a:lnTo>
                <a:lnTo>
                  <a:pt x="16041" y="5183"/>
                </a:lnTo>
                <a:lnTo>
                  <a:pt x="16027" y="5178"/>
                </a:lnTo>
                <a:lnTo>
                  <a:pt x="16014" y="5175"/>
                </a:lnTo>
                <a:lnTo>
                  <a:pt x="16001" y="5173"/>
                </a:lnTo>
                <a:lnTo>
                  <a:pt x="15987" y="5172"/>
                </a:lnTo>
                <a:lnTo>
                  <a:pt x="15436" y="5172"/>
                </a:lnTo>
                <a:lnTo>
                  <a:pt x="11194" y="5172"/>
                </a:lnTo>
                <a:lnTo>
                  <a:pt x="11194" y="3032"/>
                </a:lnTo>
                <a:lnTo>
                  <a:pt x="12140" y="2208"/>
                </a:lnTo>
                <a:lnTo>
                  <a:pt x="15437" y="2208"/>
                </a:lnTo>
                <a:lnTo>
                  <a:pt x="15437" y="1900"/>
                </a:lnTo>
                <a:lnTo>
                  <a:pt x="15437" y="1886"/>
                </a:lnTo>
                <a:lnTo>
                  <a:pt x="15434" y="1872"/>
                </a:lnTo>
                <a:lnTo>
                  <a:pt x="15431" y="1859"/>
                </a:lnTo>
                <a:lnTo>
                  <a:pt x="15427" y="1846"/>
                </a:lnTo>
                <a:lnTo>
                  <a:pt x="15421" y="1834"/>
                </a:lnTo>
                <a:lnTo>
                  <a:pt x="15414" y="1822"/>
                </a:lnTo>
                <a:lnTo>
                  <a:pt x="15406" y="1810"/>
                </a:lnTo>
                <a:lnTo>
                  <a:pt x="15397" y="1800"/>
                </a:lnTo>
                <a:lnTo>
                  <a:pt x="15386" y="1791"/>
                </a:lnTo>
                <a:lnTo>
                  <a:pt x="15375" y="1783"/>
                </a:lnTo>
                <a:lnTo>
                  <a:pt x="15363" y="1776"/>
                </a:lnTo>
                <a:lnTo>
                  <a:pt x="15351" y="1770"/>
                </a:lnTo>
                <a:lnTo>
                  <a:pt x="15338" y="1766"/>
                </a:lnTo>
                <a:lnTo>
                  <a:pt x="15324" y="1763"/>
                </a:lnTo>
                <a:lnTo>
                  <a:pt x="15311" y="1760"/>
                </a:lnTo>
                <a:lnTo>
                  <a:pt x="15297" y="1760"/>
                </a:lnTo>
                <a:lnTo>
                  <a:pt x="12654" y="1760"/>
                </a:lnTo>
                <a:lnTo>
                  <a:pt x="12028" y="1760"/>
                </a:lnTo>
                <a:lnTo>
                  <a:pt x="11514" y="2208"/>
                </a:lnTo>
                <a:lnTo>
                  <a:pt x="11194" y="2487"/>
                </a:lnTo>
                <a:lnTo>
                  <a:pt x="10746" y="2877"/>
                </a:lnTo>
                <a:lnTo>
                  <a:pt x="10746" y="3422"/>
                </a:lnTo>
                <a:lnTo>
                  <a:pt x="10746" y="5520"/>
                </a:lnTo>
                <a:lnTo>
                  <a:pt x="10746" y="5685"/>
                </a:lnTo>
                <a:lnTo>
                  <a:pt x="10586" y="5685"/>
                </a:lnTo>
                <a:lnTo>
                  <a:pt x="10437" y="5685"/>
                </a:lnTo>
                <a:lnTo>
                  <a:pt x="10437" y="5416"/>
                </a:lnTo>
                <a:lnTo>
                  <a:pt x="10437" y="5172"/>
                </a:lnTo>
                <a:lnTo>
                  <a:pt x="10437" y="2951"/>
                </a:lnTo>
                <a:lnTo>
                  <a:pt x="10437" y="2795"/>
                </a:lnTo>
                <a:lnTo>
                  <a:pt x="10437" y="2726"/>
                </a:lnTo>
                <a:lnTo>
                  <a:pt x="10490" y="2679"/>
                </a:lnTo>
                <a:lnTo>
                  <a:pt x="12171" y="1213"/>
                </a:lnTo>
                <a:lnTo>
                  <a:pt x="12175" y="1208"/>
                </a:lnTo>
                <a:lnTo>
                  <a:pt x="12180" y="1213"/>
                </a:lnTo>
                <a:lnTo>
                  <a:pt x="14269" y="1213"/>
                </a:lnTo>
                <a:lnTo>
                  <a:pt x="14283" y="1212"/>
                </a:lnTo>
                <a:lnTo>
                  <a:pt x="14297" y="1210"/>
                </a:lnTo>
                <a:lnTo>
                  <a:pt x="14311" y="1207"/>
                </a:lnTo>
                <a:lnTo>
                  <a:pt x="14324" y="1202"/>
                </a:lnTo>
                <a:lnTo>
                  <a:pt x="14336" y="1197"/>
                </a:lnTo>
                <a:lnTo>
                  <a:pt x="14348" y="1190"/>
                </a:lnTo>
                <a:lnTo>
                  <a:pt x="14358" y="1182"/>
                </a:lnTo>
                <a:lnTo>
                  <a:pt x="14369" y="1173"/>
                </a:lnTo>
                <a:lnTo>
                  <a:pt x="14378" y="1163"/>
                </a:lnTo>
                <a:lnTo>
                  <a:pt x="14386" y="1151"/>
                </a:lnTo>
                <a:lnTo>
                  <a:pt x="14393" y="1140"/>
                </a:lnTo>
                <a:lnTo>
                  <a:pt x="14399" y="1128"/>
                </a:lnTo>
                <a:lnTo>
                  <a:pt x="14403" y="1115"/>
                </a:lnTo>
                <a:lnTo>
                  <a:pt x="14407" y="1101"/>
                </a:lnTo>
                <a:lnTo>
                  <a:pt x="14409" y="1087"/>
                </a:lnTo>
                <a:lnTo>
                  <a:pt x="14410" y="1073"/>
                </a:lnTo>
                <a:lnTo>
                  <a:pt x="14410" y="140"/>
                </a:lnTo>
                <a:lnTo>
                  <a:pt x="14409" y="126"/>
                </a:lnTo>
                <a:lnTo>
                  <a:pt x="14407" y="112"/>
                </a:lnTo>
                <a:lnTo>
                  <a:pt x="14403" y="99"/>
                </a:lnTo>
                <a:lnTo>
                  <a:pt x="14399" y="85"/>
                </a:lnTo>
                <a:lnTo>
                  <a:pt x="14393" y="73"/>
                </a:lnTo>
                <a:lnTo>
                  <a:pt x="14386" y="62"/>
                </a:lnTo>
                <a:lnTo>
                  <a:pt x="14378" y="51"/>
                </a:lnTo>
                <a:lnTo>
                  <a:pt x="14369" y="41"/>
                </a:lnTo>
                <a:lnTo>
                  <a:pt x="14358" y="33"/>
                </a:lnTo>
                <a:lnTo>
                  <a:pt x="14348" y="24"/>
                </a:lnTo>
                <a:lnTo>
                  <a:pt x="14336" y="17"/>
                </a:lnTo>
                <a:lnTo>
                  <a:pt x="14324" y="11"/>
                </a:lnTo>
                <a:lnTo>
                  <a:pt x="14311" y="6"/>
                </a:lnTo>
                <a:lnTo>
                  <a:pt x="14297" y="3"/>
                </a:lnTo>
                <a:lnTo>
                  <a:pt x="14283" y="1"/>
                </a:lnTo>
                <a:lnTo>
                  <a:pt x="14269" y="0"/>
                </a:lnTo>
                <a:lnTo>
                  <a:pt x="11996" y="0"/>
                </a:lnTo>
                <a:lnTo>
                  <a:pt x="9732" y="1974"/>
                </a:lnTo>
                <a:lnTo>
                  <a:pt x="9529" y="1741"/>
                </a:lnTo>
                <a:lnTo>
                  <a:pt x="10715" y="707"/>
                </a:lnTo>
                <a:lnTo>
                  <a:pt x="266" y="707"/>
                </a:lnTo>
                <a:lnTo>
                  <a:pt x="253" y="708"/>
                </a:lnTo>
                <a:lnTo>
                  <a:pt x="239" y="710"/>
                </a:lnTo>
                <a:lnTo>
                  <a:pt x="226" y="713"/>
                </a:lnTo>
                <a:lnTo>
                  <a:pt x="212" y="717"/>
                </a:lnTo>
                <a:lnTo>
                  <a:pt x="200" y="723"/>
                </a:lnTo>
                <a:lnTo>
                  <a:pt x="189" y="730"/>
                </a:lnTo>
                <a:lnTo>
                  <a:pt x="178" y="738"/>
                </a:lnTo>
                <a:lnTo>
                  <a:pt x="168" y="748"/>
                </a:lnTo>
                <a:lnTo>
                  <a:pt x="158" y="759"/>
                </a:lnTo>
                <a:lnTo>
                  <a:pt x="149" y="769"/>
                </a:lnTo>
                <a:lnTo>
                  <a:pt x="143" y="781"/>
                </a:lnTo>
                <a:lnTo>
                  <a:pt x="137" y="793"/>
                </a:lnTo>
                <a:lnTo>
                  <a:pt x="132" y="807"/>
                </a:lnTo>
                <a:lnTo>
                  <a:pt x="129" y="820"/>
                </a:lnTo>
                <a:lnTo>
                  <a:pt x="127" y="834"/>
                </a:lnTo>
                <a:lnTo>
                  <a:pt x="126" y="847"/>
                </a:lnTo>
                <a:lnTo>
                  <a:pt x="126" y="911"/>
                </a:lnTo>
                <a:lnTo>
                  <a:pt x="407" y="911"/>
                </a:lnTo>
                <a:lnTo>
                  <a:pt x="563" y="911"/>
                </a:lnTo>
                <a:lnTo>
                  <a:pt x="563" y="1067"/>
                </a:lnTo>
                <a:lnTo>
                  <a:pt x="563" y="2116"/>
                </a:lnTo>
                <a:lnTo>
                  <a:pt x="563" y="2270"/>
                </a:lnTo>
                <a:lnTo>
                  <a:pt x="407" y="2270"/>
                </a:lnTo>
                <a:lnTo>
                  <a:pt x="127" y="2270"/>
                </a:lnTo>
                <a:lnTo>
                  <a:pt x="127" y="2335"/>
                </a:lnTo>
                <a:lnTo>
                  <a:pt x="127" y="2344"/>
                </a:lnTo>
                <a:lnTo>
                  <a:pt x="128" y="2354"/>
                </a:lnTo>
                <a:lnTo>
                  <a:pt x="130" y="2363"/>
                </a:lnTo>
                <a:lnTo>
                  <a:pt x="132" y="2372"/>
                </a:lnTo>
                <a:lnTo>
                  <a:pt x="135" y="2381"/>
                </a:lnTo>
                <a:lnTo>
                  <a:pt x="138" y="2390"/>
                </a:lnTo>
                <a:lnTo>
                  <a:pt x="142" y="2398"/>
                </a:lnTo>
                <a:lnTo>
                  <a:pt x="146" y="2406"/>
                </a:lnTo>
                <a:lnTo>
                  <a:pt x="151" y="2414"/>
                </a:lnTo>
                <a:lnTo>
                  <a:pt x="156" y="2422"/>
                </a:lnTo>
                <a:lnTo>
                  <a:pt x="163" y="2429"/>
                </a:lnTo>
                <a:lnTo>
                  <a:pt x="169" y="2435"/>
                </a:lnTo>
                <a:lnTo>
                  <a:pt x="176" y="2441"/>
                </a:lnTo>
                <a:lnTo>
                  <a:pt x="183" y="2447"/>
                </a:lnTo>
                <a:lnTo>
                  <a:pt x="191" y="2453"/>
                </a:lnTo>
                <a:lnTo>
                  <a:pt x="199" y="2457"/>
                </a:lnTo>
                <a:lnTo>
                  <a:pt x="2676" y="3836"/>
                </a:lnTo>
                <a:close/>
                <a:moveTo>
                  <a:pt x="6570" y="5360"/>
                </a:moveTo>
                <a:lnTo>
                  <a:pt x="4566" y="2799"/>
                </a:lnTo>
                <a:lnTo>
                  <a:pt x="4557" y="2787"/>
                </a:lnTo>
                <a:lnTo>
                  <a:pt x="4550" y="2773"/>
                </a:lnTo>
                <a:lnTo>
                  <a:pt x="4544" y="2759"/>
                </a:lnTo>
                <a:lnTo>
                  <a:pt x="4540" y="2745"/>
                </a:lnTo>
                <a:lnTo>
                  <a:pt x="4536" y="2730"/>
                </a:lnTo>
                <a:lnTo>
                  <a:pt x="4535" y="2716"/>
                </a:lnTo>
                <a:lnTo>
                  <a:pt x="4534" y="2700"/>
                </a:lnTo>
                <a:lnTo>
                  <a:pt x="4535" y="2686"/>
                </a:lnTo>
                <a:lnTo>
                  <a:pt x="4538" y="2671"/>
                </a:lnTo>
                <a:lnTo>
                  <a:pt x="4542" y="2657"/>
                </a:lnTo>
                <a:lnTo>
                  <a:pt x="4547" y="2643"/>
                </a:lnTo>
                <a:lnTo>
                  <a:pt x="4553" y="2629"/>
                </a:lnTo>
                <a:lnTo>
                  <a:pt x="4561" y="2617"/>
                </a:lnTo>
                <a:lnTo>
                  <a:pt x="4570" y="2605"/>
                </a:lnTo>
                <a:lnTo>
                  <a:pt x="4582" y="2594"/>
                </a:lnTo>
                <a:lnTo>
                  <a:pt x="4594" y="2583"/>
                </a:lnTo>
                <a:lnTo>
                  <a:pt x="4606" y="2574"/>
                </a:lnTo>
                <a:lnTo>
                  <a:pt x="4619" y="2566"/>
                </a:lnTo>
                <a:lnTo>
                  <a:pt x="4633" y="2560"/>
                </a:lnTo>
                <a:lnTo>
                  <a:pt x="4648" y="2556"/>
                </a:lnTo>
                <a:lnTo>
                  <a:pt x="4663" y="2553"/>
                </a:lnTo>
                <a:lnTo>
                  <a:pt x="4677" y="2551"/>
                </a:lnTo>
                <a:lnTo>
                  <a:pt x="4692" y="2551"/>
                </a:lnTo>
                <a:lnTo>
                  <a:pt x="4707" y="2552"/>
                </a:lnTo>
                <a:lnTo>
                  <a:pt x="4722" y="2554"/>
                </a:lnTo>
                <a:lnTo>
                  <a:pt x="4736" y="2558"/>
                </a:lnTo>
                <a:lnTo>
                  <a:pt x="4749" y="2563"/>
                </a:lnTo>
                <a:lnTo>
                  <a:pt x="4763" y="2570"/>
                </a:lnTo>
                <a:lnTo>
                  <a:pt x="4776" y="2578"/>
                </a:lnTo>
                <a:lnTo>
                  <a:pt x="4788" y="2587"/>
                </a:lnTo>
                <a:lnTo>
                  <a:pt x="4799" y="2598"/>
                </a:lnTo>
                <a:lnTo>
                  <a:pt x="4809" y="2610"/>
                </a:lnTo>
                <a:lnTo>
                  <a:pt x="6811" y="5171"/>
                </a:lnTo>
                <a:lnTo>
                  <a:pt x="6821" y="5184"/>
                </a:lnTo>
                <a:lnTo>
                  <a:pt x="6829" y="5197"/>
                </a:lnTo>
                <a:lnTo>
                  <a:pt x="6835" y="5211"/>
                </a:lnTo>
                <a:lnTo>
                  <a:pt x="6839" y="5226"/>
                </a:lnTo>
                <a:lnTo>
                  <a:pt x="6842" y="5240"/>
                </a:lnTo>
                <a:lnTo>
                  <a:pt x="6844" y="5255"/>
                </a:lnTo>
                <a:lnTo>
                  <a:pt x="6845" y="5269"/>
                </a:lnTo>
                <a:lnTo>
                  <a:pt x="6843" y="5285"/>
                </a:lnTo>
                <a:lnTo>
                  <a:pt x="6841" y="5299"/>
                </a:lnTo>
                <a:lnTo>
                  <a:pt x="6837" y="5313"/>
                </a:lnTo>
                <a:lnTo>
                  <a:pt x="6832" y="5327"/>
                </a:lnTo>
                <a:lnTo>
                  <a:pt x="6825" y="5341"/>
                </a:lnTo>
                <a:lnTo>
                  <a:pt x="6818" y="5354"/>
                </a:lnTo>
                <a:lnTo>
                  <a:pt x="6807" y="5365"/>
                </a:lnTo>
                <a:lnTo>
                  <a:pt x="6797" y="5377"/>
                </a:lnTo>
                <a:lnTo>
                  <a:pt x="6785" y="5387"/>
                </a:lnTo>
                <a:lnTo>
                  <a:pt x="6773" y="5397"/>
                </a:lnTo>
                <a:lnTo>
                  <a:pt x="6759" y="5404"/>
                </a:lnTo>
                <a:lnTo>
                  <a:pt x="6745" y="5410"/>
                </a:lnTo>
                <a:lnTo>
                  <a:pt x="6731" y="5415"/>
                </a:lnTo>
                <a:lnTo>
                  <a:pt x="6716" y="5418"/>
                </a:lnTo>
                <a:lnTo>
                  <a:pt x="6702" y="5419"/>
                </a:lnTo>
                <a:lnTo>
                  <a:pt x="6686" y="5420"/>
                </a:lnTo>
                <a:lnTo>
                  <a:pt x="6672" y="5419"/>
                </a:lnTo>
                <a:lnTo>
                  <a:pt x="6657" y="5416"/>
                </a:lnTo>
                <a:lnTo>
                  <a:pt x="6643" y="5412"/>
                </a:lnTo>
                <a:lnTo>
                  <a:pt x="6629" y="5407"/>
                </a:lnTo>
                <a:lnTo>
                  <a:pt x="6615" y="5401"/>
                </a:lnTo>
                <a:lnTo>
                  <a:pt x="6603" y="5393"/>
                </a:lnTo>
                <a:lnTo>
                  <a:pt x="6591" y="5383"/>
                </a:lnTo>
                <a:lnTo>
                  <a:pt x="6580" y="5372"/>
                </a:lnTo>
                <a:lnTo>
                  <a:pt x="6570" y="5360"/>
                </a:lnTo>
                <a:close/>
                <a:moveTo>
                  <a:pt x="8040" y="5360"/>
                </a:moveTo>
                <a:lnTo>
                  <a:pt x="6037" y="2799"/>
                </a:lnTo>
                <a:lnTo>
                  <a:pt x="6028" y="2787"/>
                </a:lnTo>
                <a:lnTo>
                  <a:pt x="6021" y="2773"/>
                </a:lnTo>
                <a:lnTo>
                  <a:pt x="6015" y="2759"/>
                </a:lnTo>
                <a:lnTo>
                  <a:pt x="6010" y="2745"/>
                </a:lnTo>
                <a:lnTo>
                  <a:pt x="6007" y="2730"/>
                </a:lnTo>
                <a:lnTo>
                  <a:pt x="6005" y="2716"/>
                </a:lnTo>
                <a:lnTo>
                  <a:pt x="6005" y="2700"/>
                </a:lnTo>
                <a:lnTo>
                  <a:pt x="6006" y="2686"/>
                </a:lnTo>
                <a:lnTo>
                  <a:pt x="6009" y="2671"/>
                </a:lnTo>
                <a:lnTo>
                  <a:pt x="6012" y="2657"/>
                </a:lnTo>
                <a:lnTo>
                  <a:pt x="6018" y="2643"/>
                </a:lnTo>
                <a:lnTo>
                  <a:pt x="6024" y="2629"/>
                </a:lnTo>
                <a:lnTo>
                  <a:pt x="6032" y="2617"/>
                </a:lnTo>
                <a:lnTo>
                  <a:pt x="6041" y="2605"/>
                </a:lnTo>
                <a:lnTo>
                  <a:pt x="6053" y="2594"/>
                </a:lnTo>
                <a:lnTo>
                  <a:pt x="6064" y="2583"/>
                </a:lnTo>
                <a:lnTo>
                  <a:pt x="6077" y="2574"/>
                </a:lnTo>
                <a:lnTo>
                  <a:pt x="6090" y="2566"/>
                </a:lnTo>
                <a:lnTo>
                  <a:pt x="6104" y="2560"/>
                </a:lnTo>
                <a:lnTo>
                  <a:pt x="6119" y="2556"/>
                </a:lnTo>
                <a:lnTo>
                  <a:pt x="6133" y="2553"/>
                </a:lnTo>
                <a:lnTo>
                  <a:pt x="6148" y="2551"/>
                </a:lnTo>
                <a:lnTo>
                  <a:pt x="6162" y="2551"/>
                </a:lnTo>
                <a:lnTo>
                  <a:pt x="6178" y="2552"/>
                </a:lnTo>
                <a:lnTo>
                  <a:pt x="6192" y="2554"/>
                </a:lnTo>
                <a:lnTo>
                  <a:pt x="6206" y="2558"/>
                </a:lnTo>
                <a:lnTo>
                  <a:pt x="6220" y="2563"/>
                </a:lnTo>
                <a:lnTo>
                  <a:pt x="6233" y="2570"/>
                </a:lnTo>
                <a:lnTo>
                  <a:pt x="6247" y="2578"/>
                </a:lnTo>
                <a:lnTo>
                  <a:pt x="6259" y="2587"/>
                </a:lnTo>
                <a:lnTo>
                  <a:pt x="6270" y="2598"/>
                </a:lnTo>
                <a:lnTo>
                  <a:pt x="6280" y="2610"/>
                </a:lnTo>
                <a:lnTo>
                  <a:pt x="8282" y="5171"/>
                </a:lnTo>
                <a:lnTo>
                  <a:pt x="8292" y="5184"/>
                </a:lnTo>
                <a:lnTo>
                  <a:pt x="8300" y="5197"/>
                </a:lnTo>
                <a:lnTo>
                  <a:pt x="8306" y="5211"/>
                </a:lnTo>
                <a:lnTo>
                  <a:pt x="8310" y="5226"/>
                </a:lnTo>
                <a:lnTo>
                  <a:pt x="8313" y="5240"/>
                </a:lnTo>
                <a:lnTo>
                  <a:pt x="8315" y="5255"/>
                </a:lnTo>
                <a:lnTo>
                  <a:pt x="8315" y="5269"/>
                </a:lnTo>
                <a:lnTo>
                  <a:pt x="8314" y="5285"/>
                </a:lnTo>
                <a:lnTo>
                  <a:pt x="8312" y="5299"/>
                </a:lnTo>
                <a:lnTo>
                  <a:pt x="8308" y="5313"/>
                </a:lnTo>
                <a:lnTo>
                  <a:pt x="8303" y="5327"/>
                </a:lnTo>
                <a:lnTo>
                  <a:pt x="8296" y="5341"/>
                </a:lnTo>
                <a:lnTo>
                  <a:pt x="8288" y="5354"/>
                </a:lnTo>
                <a:lnTo>
                  <a:pt x="8278" y="5365"/>
                </a:lnTo>
                <a:lnTo>
                  <a:pt x="8268" y="5377"/>
                </a:lnTo>
                <a:lnTo>
                  <a:pt x="8256" y="5387"/>
                </a:lnTo>
                <a:lnTo>
                  <a:pt x="8244" y="5397"/>
                </a:lnTo>
                <a:lnTo>
                  <a:pt x="8230" y="5404"/>
                </a:lnTo>
                <a:lnTo>
                  <a:pt x="8216" y="5410"/>
                </a:lnTo>
                <a:lnTo>
                  <a:pt x="8201" y="5415"/>
                </a:lnTo>
                <a:lnTo>
                  <a:pt x="8187" y="5418"/>
                </a:lnTo>
                <a:lnTo>
                  <a:pt x="8173" y="5419"/>
                </a:lnTo>
                <a:lnTo>
                  <a:pt x="8157" y="5420"/>
                </a:lnTo>
                <a:lnTo>
                  <a:pt x="8142" y="5419"/>
                </a:lnTo>
                <a:lnTo>
                  <a:pt x="8128" y="5416"/>
                </a:lnTo>
                <a:lnTo>
                  <a:pt x="8114" y="5412"/>
                </a:lnTo>
                <a:lnTo>
                  <a:pt x="8100" y="5407"/>
                </a:lnTo>
                <a:lnTo>
                  <a:pt x="8086" y="5401"/>
                </a:lnTo>
                <a:lnTo>
                  <a:pt x="8074" y="5393"/>
                </a:lnTo>
                <a:lnTo>
                  <a:pt x="8062" y="5383"/>
                </a:lnTo>
                <a:lnTo>
                  <a:pt x="8051" y="5372"/>
                </a:lnTo>
                <a:lnTo>
                  <a:pt x="8040" y="5360"/>
                </a:lnTo>
                <a:close/>
                <a:moveTo>
                  <a:pt x="5440" y="5171"/>
                </a:moveTo>
                <a:lnTo>
                  <a:pt x="5449" y="5184"/>
                </a:lnTo>
                <a:lnTo>
                  <a:pt x="5457" y="5197"/>
                </a:lnTo>
                <a:lnTo>
                  <a:pt x="5463" y="5211"/>
                </a:lnTo>
                <a:lnTo>
                  <a:pt x="5467" y="5226"/>
                </a:lnTo>
                <a:lnTo>
                  <a:pt x="5470" y="5240"/>
                </a:lnTo>
                <a:lnTo>
                  <a:pt x="5473" y="5255"/>
                </a:lnTo>
                <a:lnTo>
                  <a:pt x="5473" y="5269"/>
                </a:lnTo>
                <a:lnTo>
                  <a:pt x="5472" y="5285"/>
                </a:lnTo>
                <a:lnTo>
                  <a:pt x="5469" y="5299"/>
                </a:lnTo>
                <a:lnTo>
                  <a:pt x="5465" y="5313"/>
                </a:lnTo>
                <a:lnTo>
                  <a:pt x="5460" y="5327"/>
                </a:lnTo>
                <a:lnTo>
                  <a:pt x="5453" y="5341"/>
                </a:lnTo>
                <a:lnTo>
                  <a:pt x="5446" y="5354"/>
                </a:lnTo>
                <a:lnTo>
                  <a:pt x="5436" y="5365"/>
                </a:lnTo>
                <a:lnTo>
                  <a:pt x="5426" y="5377"/>
                </a:lnTo>
                <a:lnTo>
                  <a:pt x="5414" y="5387"/>
                </a:lnTo>
                <a:lnTo>
                  <a:pt x="5401" y="5397"/>
                </a:lnTo>
                <a:lnTo>
                  <a:pt x="5387" y="5404"/>
                </a:lnTo>
                <a:lnTo>
                  <a:pt x="5374" y="5410"/>
                </a:lnTo>
                <a:lnTo>
                  <a:pt x="5359" y="5415"/>
                </a:lnTo>
                <a:lnTo>
                  <a:pt x="5345" y="5418"/>
                </a:lnTo>
                <a:lnTo>
                  <a:pt x="5330" y="5419"/>
                </a:lnTo>
                <a:lnTo>
                  <a:pt x="5315" y="5420"/>
                </a:lnTo>
                <a:lnTo>
                  <a:pt x="5301" y="5419"/>
                </a:lnTo>
                <a:lnTo>
                  <a:pt x="5286" y="5416"/>
                </a:lnTo>
                <a:lnTo>
                  <a:pt x="5271" y="5412"/>
                </a:lnTo>
                <a:lnTo>
                  <a:pt x="5257" y="5407"/>
                </a:lnTo>
                <a:lnTo>
                  <a:pt x="5244" y="5401"/>
                </a:lnTo>
                <a:lnTo>
                  <a:pt x="5232" y="5393"/>
                </a:lnTo>
                <a:lnTo>
                  <a:pt x="5220" y="5383"/>
                </a:lnTo>
                <a:lnTo>
                  <a:pt x="5208" y="5372"/>
                </a:lnTo>
                <a:lnTo>
                  <a:pt x="5198" y="5360"/>
                </a:lnTo>
                <a:lnTo>
                  <a:pt x="3195" y="2799"/>
                </a:lnTo>
                <a:lnTo>
                  <a:pt x="3186" y="2787"/>
                </a:lnTo>
                <a:lnTo>
                  <a:pt x="3179" y="2773"/>
                </a:lnTo>
                <a:lnTo>
                  <a:pt x="3173" y="2759"/>
                </a:lnTo>
                <a:lnTo>
                  <a:pt x="3167" y="2745"/>
                </a:lnTo>
                <a:lnTo>
                  <a:pt x="3164" y="2730"/>
                </a:lnTo>
                <a:lnTo>
                  <a:pt x="3162" y="2716"/>
                </a:lnTo>
                <a:lnTo>
                  <a:pt x="3162" y="2700"/>
                </a:lnTo>
                <a:lnTo>
                  <a:pt x="3163" y="2686"/>
                </a:lnTo>
                <a:lnTo>
                  <a:pt x="3166" y="2671"/>
                </a:lnTo>
                <a:lnTo>
                  <a:pt x="3171" y="2657"/>
                </a:lnTo>
                <a:lnTo>
                  <a:pt x="3176" y="2643"/>
                </a:lnTo>
                <a:lnTo>
                  <a:pt x="3182" y="2629"/>
                </a:lnTo>
                <a:lnTo>
                  <a:pt x="3190" y="2617"/>
                </a:lnTo>
                <a:lnTo>
                  <a:pt x="3199" y="2605"/>
                </a:lnTo>
                <a:lnTo>
                  <a:pt x="3210" y="2594"/>
                </a:lnTo>
                <a:lnTo>
                  <a:pt x="3221" y="2583"/>
                </a:lnTo>
                <a:lnTo>
                  <a:pt x="3235" y="2574"/>
                </a:lnTo>
                <a:lnTo>
                  <a:pt x="3248" y="2566"/>
                </a:lnTo>
                <a:lnTo>
                  <a:pt x="3262" y="2560"/>
                </a:lnTo>
                <a:lnTo>
                  <a:pt x="3276" y="2556"/>
                </a:lnTo>
                <a:lnTo>
                  <a:pt x="3291" y="2553"/>
                </a:lnTo>
                <a:lnTo>
                  <a:pt x="3306" y="2551"/>
                </a:lnTo>
                <a:lnTo>
                  <a:pt x="3321" y="2551"/>
                </a:lnTo>
                <a:lnTo>
                  <a:pt x="3335" y="2552"/>
                </a:lnTo>
                <a:lnTo>
                  <a:pt x="3350" y="2554"/>
                </a:lnTo>
                <a:lnTo>
                  <a:pt x="3365" y="2558"/>
                </a:lnTo>
                <a:lnTo>
                  <a:pt x="3378" y="2563"/>
                </a:lnTo>
                <a:lnTo>
                  <a:pt x="3391" y="2570"/>
                </a:lnTo>
                <a:lnTo>
                  <a:pt x="3404" y="2578"/>
                </a:lnTo>
                <a:lnTo>
                  <a:pt x="3416" y="2587"/>
                </a:lnTo>
                <a:lnTo>
                  <a:pt x="3428" y="2598"/>
                </a:lnTo>
                <a:lnTo>
                  <a:pt x="3438" y="2610"/>
                </a:lnTo>
                <a:lnTo>
                  <a:pt x="5440" y="5171"/>
                </a:lnTo>
                <a:close/>
                <a:moveTo>
                  <a:pt x="14158" y="8441"/>
                </a:moveTo>
                <a:lnTo>
                  <a:pt x="14155" y="8326"/>
                </a:lnTo>
                <a:lnTo>
                  <a:pt x="14147" y="8213"/>
                </a:lnTo>
                <a:lnTo>
                  <a:pt x="14133" y="8102"/>
                </a:lnTo>
                <a:lnTo>
                  <a:pt x="14114" y="7992"/>
                </a:lnTo>
                <a:lnTo>
                  <a:pt x="14088" y="7885"/>
                </a:lnTo>
                <a:lnTo>
                  <a:pt x="14059" y="7780"/>
                </a:lnTo>
                <a:lnTo>
                  <a:pt x="14023" y="7676"/>
                </a:lnTo>
                <a:lnTo>
                  <a:pt x="13984" y="7575"/>
                </a:lnTo>
                <a:lnTo>
                  <a:pt x="13939" y="7476"/>
                </a:lnTo>
                <a:lnTo>
                  <a:pt x="13890" y="7381"/>
                </a:lnTo>
                <a:lnTo>
                  <a:pt x="13837" y="7287"/>
                </a:lnTo>
                <a:lnTo>
                  <a:pt x="13779" y="7198"/>
                </a:lnTo>
                <a:lnTo>
                  <a:pt x="13717" y="7110"/>
                </a:lnTo>
                <a:lnTo>
                  <a:pt x="13651" y="7026"/>
                </a:lnTo>
                <a:lnTo>
                  <a:pt x="13581" y="6946"/>
                </a:lnTo>
                <a:lnTo>
                  <a:pt x="13508" y="6868"/>
                </a:lnTo>
                <a:lnTo>
                  <a:pt x="13431" y="6795"/>
                </a:lnTo>
                <a:lnTo>
                  <a:pt x="13350" y="6725"/>
                </a:lnTo>
                <a:lnTo>
                  <a:pt x="13266" y="6659"/>
                </a:lnTo>
                <a:lnTo>
                  <a:pt x="13179" y="6597"/>
                </a:lnTo>
                <a:lnTo>
                  <a:pt x="13089" y="6539"/>
                </a:lnTo>
                <a:lnTo>
                  <a:pt x="12996" y="6486"/>
                </a:lnTo>
                <a:lnTo>
                  <a:pt x="12901" y="6436"/>
                </a:lnTo>
                <a:lnTo>
                  <a:pt x="12802" y="6392"/>
                </a:lnTo>
                <a:lnTo>
                  <a:pt x="12701" y="6352"/>
                </a:lnTo>
                <a:lnTo>
                  <a:pt x="12598" y="6317"/>
                </a:lnTo>
                <a:lnTo>
                  <a:pt x="12492" y="6288"/>
                </a:lnTo>
                <a:lnTo>
                  <a:pt x="12385" y="6262"/>
                </a:lnTo>
                <a:lnTo>
                  <a:pt x="12276" y="6243"/>
                </a:lnTo>
                <a:lnTo>
                  <a:pt x="12164" y="6229"/>
                </a:lnTo>
                <a:lnTo>
                  <a:pt x="12051" y="6220"/>
                </a:lnTo>
                <a:lnTo>
                  <a:pt x="11938" y="6217"/>
                </a:lnTo>
                <a:lnTo>
                  <a:pt x="11823" y="6220"/>
                </a:lnTo>
                <a:lnTo>
                  <a:pt x="11710" y="6229"/>
                </a:lnTo>
                <a:lnTo>
                  <a:pt x="11599" y="6243"/>
                </a:lnTo>
                <a:lnTo>
                  <a:pt x="11490" y="6262"/>
                </a:lnTo>
                <a:lnTo>
                  <a:pt x="11383" y="6288"/>
                </a:lnTo>
                <a:lnTo>
                  <a:pt x="11277" y="6317"/>
                </a:lnTo>
                <a:lnTo>
                  <a:pt x="11174" y="6352"/>
                </a:lnTo>
                <a:lnTo>
                  <a:pt x="11073" y="6392"/>
                </a:lnTo>
                <a:lnTo>
                  <a:pt x="10974" y="6436"/>
                </a:lnTo>
                <a:lnTo>
                  <a:pt x="10879" y="6486"/>
                </a:lnTo>
                <a:lnTo>
                  <a:pt x="10786" y="6539"/>
                </a:lnTo>
                <a:lnTo>
                  <a:pt x="10696" y="6597"/>
                </a:lnTo>
                <a:lnTo>
                  <a:pt x="10609" y="6659"/>
                </a:lnTo>
                <a:lnTo>
                  <a:pt x="10524" y="6725"/>
                </a:lnTo>
                <a:lnTo>
                  <a:pt x="10444" y="6795"/>
                </a:lnTo>
                <a:lnTo>
                  <a:pt x="10367" y="6868"/>
                </a:lnTo>
                <a:lnTo>
                  <a:pt x="10294" y="6946"/>
                </a:lnTo>
                <a:lnTo>
                  <a:pt x="10224" y="7026"/>
                </a:lnTo>
                <a:lnTo>
                  <a:pt x="10158" y="7110"/>
                </a:lnTo>
                <a:lnTo>
                  <a:pt x="10096" y="7198"/>
                </a:lnTo>
                <a:lnTo>
                  <a:pt x="10038" y="7287"/>
                </a:lnTo>
                <a:lnTo>
                  <a:pt x="9985" y="7381"/>
                </a:lnTo>
                <a:lnTo>
                  <a:pt x="9935" y="7476"/>
                </a:lnTo>
                <a:lnTo>
                  <a:pt x="9892" y="7575"/>
                </a:lnTo>
                <a:lnTo>
                  <a:pt x="9851" y="7676"/>
                </a:lnTo>
                <a:lnTo>
                  <a:pt x="9816" y="7780"/>
                </a:lnTo>
                <a:lnTo>
                  <a:pt x="9787" y="7885"/>
                </a:lnTo>
                <a:lnTo>
                  <a:pt x="9762" y="7992"/>
                </a:lnTo>
                <a:lnTo>
                  <a:pt x="9742" y="8102"/>
                </a:lnTo>
                <a:lnTo>
                  <a:pt x="9728" y="8213"/>
                </a:lnTo>
                <a:lnTo>
                  <a:pt x="9720" y="8326"/>
                </a:lnTo>
                <a:lnTo>
                  <a:pt x="9717" y="8441"/>
                </a:lnTo>
                <a:lnTo>
                  <a:pt x="9720" y="8555"/>
                </a:lnTo>
                <a:lnTo>
                  <a:pt x="9728" y="8667"/>
                </a:lnTo>
                <a:lnTo>
                  <a:pt x="9742" y="8779"/>
                </a:lnTo>
                <a:lnTo>
                  <a:pt x="9762" y="8888"/>
                </a:lnTo>
                <a:lnTo>
                  <a:pt x="9787" y="8996"/>
                </a:lnTo>
                <a:lnTo>
                  <a:pt x="9816" y="9102"/>
                </a:lnTo>
                <a:lnTo>
                  <a:pt x="9851" y="9206"/>
                </a:lnTo>
                <a:lnTo>
                  <a:pt x="9892" y="9306"/>
                </a:lnTo>
                <a:lnTo>
                  <a:pt x="9935" y="9405"/>
                </a:lnTo>
                <a:lnTo>
                  <a:pt x="9985" y="9500"/>
                </a:lnTo>
                <a:lnTo>
                  <a:pt x="10038" y="9593"/>
                </a:lnTo>
                <a:lnTo>
                  <a:pt x="10096" y="9684"/>
                </a:lnTo>
                <a:lnTo>
                  <a:pt x="10158" y="9771"/>
                </a:lnTo>
                <a:lnTo>
                  <a:pt x="10224" y="9854"/>
                </a:lnTo>
                <a:lnTo>
                  <a:pt x="10294" y="9936"/>
                </a:lnTo>
                <a:lnTo>
                  <a:pt x="10367" y="10013"/>
                </a:lnTo>
                <a:lnTo>
                  <a:pt x="10444" y="10086"/>
                </a:lnTo>
                <a:lnTo>
                  <a:pt x="10524" y="10156"/>
                </a:lnTo>
                <a:lnTo>
                  <a:pt x="10609" y="10223"/>
                </a:lnTo>
                <a:lnTo>
                  <a:pt x="10696" y="10285"/>
                </a:lnTo>
                <a:lnTo>
                  <a:pt x="10786" y="10343"/>
                </a:lnTo>
                <a:lnTo>
                  <a:pt x="10879" y="10395"/>
                </a:lnTo>
                <a:lnTo>
                  <a:pt x="10974" y="10444"/>
                </a:lnTo>
                <a:lnTo>
                  <a:pt x="11073" y="10489"/>
                </a:lnTo>
                <a:lnTo>
                  <a:pt x="11174" y="10529"/>
                </a:lnTo>
                <a:lnTo>
                  <a:pt x="11277" y="10564"/>
                </a:lnTo>
                <a:lnTo>
                  <a:pt x="11383" y="10594"/>
                </a:lnTo>
                <a:lnTo>
                  <a:pt x="11490" y="10619"/>
                </a:lnTo>
                <a:lnTo>
                  <a:pt x="11599" y="10639"/>
                </a:lnTo>
                <a:lnTo>
                  <a:pt x="11710" y="10653"/>
                </a:lnTo>
                <a:lnTo>
                  <a:pt x="11823" y="10661"/>
                </a:lnTo>
                <a:lnTo>
                  <a:pt x="11938" y="10664"/>
                </a:lnTo>
                <a:lnTo>
                  <a:pt x="12051" y="10661"/>
                </a:lnTo>
                <a:lnTo>
                  <a:pt x="12164" y="10653"/>
                </a:lnTo>
                <a:lnTo>
                  <a:pt x="12276" y="10639"/>
                </a:lnTo>
                <a:lnTo>
                  <a:pt x="12385" y="10619"/>
                </a:lnTo>
                <a:lnTo>
                  <a:pt x="12492" y="10594"/>
                </a:lnTo>
                <a:lnTo>
                  <a:pt x="12598" y="10564"/>
                </a:lnTo>
                <a:lnTo>
                  <a:pt x="12701" y="10529"/>
                </a:lnTo>
                <a:lnTo>
                  <a:pt x="12802" y="10489"/>
                </a:lnTo>
                <a:lnTo>
                  <a:pt x="12901" y="10444"/>
                </a:lnTo>
                <a:lnTo>
                  <a:pt x="12996" y="10395"/>
                </a:lnTo>
                <a:lnTo>
                  <a:pt x="13089" y="10343"/>
                </a:lnTo>
                <a:lnTo>
                  <a:pt x="13179" y="10285"/>
                </a:lnTo>
                <a:lnTo>
                  <a:pt x="13266" y="10223"/>
                </a:lnTo>
                <a:lnTo>
                  <a:pt x="13350" y="10156"/>
                </a:lnTo>
                <a:lnTo>
                  <a:pt x="13431" y="10086"/>
                </a:lnTo>
                <a:lnTo>
                  <a:pt x="13508" y="10013"/>
                </a:lnTo>
                <a:lnTo>
                  <a:pt x="13581" y="9936"/>
                </a:lnTo>
                <a:lnTo>
                  <a:pt x="13651" y="9854"/>
                </a:lnTo>
                <a:lnTo>
                  <a:pt x="13717" y="9771"/>
                </a:lnTo>
                <a:lnTo>
                  <a:pt x="13779" y="9684"/>
                </a:lnTo>
                <a:lnTo>
                  <a:pt x="13837" y="9593"/>
                </a:lnTo>
                <a:lnTo>
                  <a:pt x="13890" y="9500"/>
                </a:lnTo>
                <a:lnTo>
                  <a:pt x="13939" y="9405"/>
                </a:lnTo>
                <a:lnTo>
                  <a:pt x="13984" y="9306"/>
                </a:lnTo>
                <a:lnTo>
                  <a:pt x="14023" y="9206"/>
                </a:lnTo>
                <a:lnTo>
                  <a:pt x="14059" y="9102"/>
                </a:lnTo>
                <a:lnTo>
                  <a:pt x="14088" y="8996"/>
                </a:lnTo>
                <a:lnTo>
                  <a:pt x="14114" y="8888"/>
                </a:lnTo>
                <a:lnTo>
                  <a:pt x="14133" y="8779"/>
                </a:lnTo>
                <a:lnTo>
                  <a:pt x="14147" y="8667"/>
                </a:lnTo>
                <a:lnTo>
                  <a:pt x="14155" y="8555"/>
                </a:lnTo>
                <a:lnTo>
                  <a:pt x="14158" y="8441"/>
                </a:lnTo>
                <a:close/>
                <a:moveTo>
                  <a:pt x="11938" y="7366"/>
                </a:moveTo>
                <a:lnTo>
                  <a:pt x="11992" y="7367"/>
                </a:lnTo>
                <a:lnTo>
                  <a:pt x="12047" y="7372"/>
                </a:lnTo>
                <a:lnTo>
                  <a:pt x="12101" y="7378"/>
                </a:lnTo>
                <a:lnTo>
                  <a:pt x="12154" y="7388"/>
                </a:lnTo>
                <a:lnTo>
                  <a:pt x="12206" y="7399"/>
                </a:lnTo>
                <a:lnTo>
                  <a:pt x="12257" y="7414"/>
                </a:lnTo>
                <a:lnTo>
                  <a:pt x="12306" y="7431"/>
                </a:lnTo>
                <a:lnTo>
                  <a:pt x="12355" y="7450"/>
                </a:lnTo>
                <a:lnTo>
                  <a:pt x="12403" y="7471"/>
                </a:lnTo>
                <a:lnTo>
                  <a:pt x="12450" y="7496"/>
                </a:lnTo>
                <a:lnTo>
                  <a:pt x="12494" y="7521"/>
                </a:lnTo>
                <a:lnTo>
                  <a:pt x="12538" y="7550"/>
                </a:lnTo>
                <a:lnTo>
                  <a:pt x="12580" y="7579"/>
                </a:lnTo>
                <a:lnTo>
                  <a:pt x="12620" y="7611"/>
                </a:lnTo>
                <a:lnTo>
                  <a:pt x="12659" y="7645"/>
                </a:lnTo>
                <a:lnTo>
                  <a:pt x="12696" y="7681"/>
                </a:lnTo>
                <a:lnTo>
                  <a:pt x="12732" y="7718"/>
                </a:lnTo>
                <a:lnTo>
                  <a:pt x="12765" y="7757"/>
                </a:lnTo>
                <a:lnTo>
                  <a:pt x="12798" y="7798"/>
                </a:lnTo>
                <a:lnTo>
                  <a:pt x="12827" y="7840"/>
                </a:lnTo>
                <a:lnTo>
                  <a:pt x="12856" y="7883"/>
                </a:lnTo>
                <a:lnTo>
                  <a:pt x="12881" y="7928"/>
                </a:lnTo>
                <a:lnTo>
                  <a:pt x="12906" y="7975"/>
                </a:lnTo>
                <a:lnTo>
                  <a:pt x="12927" y="8023"/>
                </a:lnTo>
                <a:lnTo>
                  <a:pt x="12946" y="8071"/>
                </a:lnTo>
                <a:lnTo>
                  <a:pt x="12963" y="8121"/>
                </a:lnTo>
                <a:lnTo>
                  <a:pt x="12977" y="8172"/>
                </a:lnTo>
                <a:lnTo>
                  <a:pt x="12989" y="8224"/>
                </a:lnTo>
                <a:lnTo>
                  <a:pt x="12999" y="8277"/>
                </a:lnTo>
                <a:lnTo>
                  <a:pt x="13005" y="8331"/>
                </a:lnTo>
                <a:lnTo>
                  <a:pt x="13009" y="8386"/>
                </a:lnTo>
                <a:lnTo>
                  <a:pt x="13011" y="8441"/>
                </a:lnTo>
                <a:lnTo>
                  <a:pt x="13009" y="8496"/>
                </a:lnTo>
                <a:lnTo>
                  <a:pt x="13005" y="8551"/>
                </a:lnTo>
                <a:lnTo>
                  <a:pt x="12999" y="8604"/>
                </a:lnTo>
                <a:lnTo>
                  <a:pt x="12989" y="8657"/>
                </a:lnTo>
                <a:lnTo>
                  <a:pt x="12977" y="8709"/>
                </a:lnTo>
                <a:lnTo>
                  <a:pt x="12963" y="8760"/>
                </a:lnTo>
                <a:lnTo>
                  <a:pt x="12946" y="8810"/>
                </a:lnTo>
                <a:lnTo>
                  <a:pt x="12927" y="8859"/>
                </a:lnTo>
                <a:lnTo>
                  <a:pt x="12906" y="8906"/>
                </a:lnTo>
                <a:lnTo>
                  <a:pt x="12881" y="8953"/>
                </a:lnTo>
                <a:lnTo>
                  <a:pt x="12856" y="8998"/>
                </a:lnTo>
                <a:lnTo>
                  <a:pt x="12827" y="9042"/>
                </a:lnTo>
                <a:lnTo>
                  <a:pt x="12798" y="9083"/>
                </a:lnTo>
                <a:lnTo>
                  <a:pt x="12765" y="9124"/>
                </a:lnTo>
                <a:lnTo>
                  <a:pt x="12732" y="9163"/>
                </a:lnTo>
                <a:lnTo>
                  <a:pt x="12696" y="9200"/>
                </a:lnTo>
                <a:lnTo>
                  <a:pt x="12659" y="9236"/>
                </a:lnTo>
                <a:lnTo>
                  <a:pt x="12620" y="9270"/>
                </a:lnTo>
                <a:lnTo>
                  <a:pt x="12580" y="9302"/>
                </a:lnTo>
                <a:lnTo>
                  <a:pt x="12538" y="9332"/>
                </a:lnTo>
                <a:lnTo>
                  <a:pt x="12494" y="9360"/>
                </a:lnTo>
                <a:lnTo>
                  <a:pt x="12450" y="9386"/>
                </a:lnTo>
                <a:lnTo>
                  <a:pt x="12403" y="9410"/>
                </a:lnTo>
                <a:lnTo>
                  <a:pt x="12355" y="9431"/>
                </a:lnTo>
                <a:lnTo>
                  <a:pt x="12306" y="9451"/>
                </a:lnTo>
                <a:lnTo>
                  <a:pt x="12257" y="9467"/>
                </a:lnTo>
                <a:lnTo>
                  <a:pt x="12206" y="9481"/>
                </a:lnTo>
                <a:lnTo>
                  <a:pt x="12154" y="9493"/>
                </a:lnTo>
                <a:lnTo>
                  <a:pt x="12101" y="9504"/>
                </a:lnTo>
                <a:lnTo>
                  <a:pt x="12047" y="9510"/>
                </a:lnTo>
                <a:lnTo>
                  <a:pt x="11992" y="9514"/>
                </a:lnTo>
                <a:lnTo>
                  <a:pt x="11938" y="9516"/>
                </a:lnTo>
                <a:lnTo>
                  <a:pt x="11883" y="9514"/>
                </a:lnTo>
                <a:lnTo>
                  <a:pt x="11828" y="9510"/>
                </a:lnTo>
                <a:lnTo>
                  <a:pt x="11774" y="9504"/>
                </a:lnTo>
                <a:lnTo>
                  <a:pt x="11721" y="9493"/>
                </a:lnTo>
                <a:lnTo>
                  <a:pt x="11669" y="9481"/>
                </a:lnTo>
                <a:lnTo>
                  <a:pt x="11619" y="9467"/>
                </a:lnTo>
                <a:lnTo>
                  <a:pt x="11569" y="9451"/>
                </a:lnTo>
                <a:lnTo>
                  <a:pt x="11520" y="9431"/>
                </a:lnTo>
                <a:lnTo>
                  <a:pt x="11472" y="9410"/>
                </a:lnTo>
                <a:lnTo>
                  <a:pt x="11426" y="9386"/>
                </a:lnTo>
                <a:lnTo>
                  <a:pt x="11381" y="9360"/>
                </a:lnTo>
                <a:lnTo>
                  <a:pt x="11337" y="9332"/>
                </a:lnTo>
                <a:lnTo>
                  <a:pt x="11296" y="9302"/>
                </a:lnTo>
                <a:lnTo>
                  <a:pt x="11255" y="9270"/>
                </a:lnTo>
                <a:lnTo>
                  <a:pt x="11215" y="9236"/>
                </a:lnTo>
                <a:lnTo>
                  <a:pt x="11179" y="9200"/>
                </a:lnTo>
                <a:lnTo>
                  <a:pt x="11143" y="9163"/>
                </a:lnTo>
                <a:lnTo>
                  <a:pt x="11109" y="9124"/>
                </a:lnTo>
                <a:lnTo>
                  <a:pt x="11077" y="9083"/>
                </a:lnTo>
                <a:lnTo>
                  <a:pt x="11048" y="9042"/>
                </a:lnTo>
                <a:lnTo>
                  <a:pt x="11019" y="8998"/>
                </a:lnTo>
                <a:lnTo>
                  <a:pt x="10994" y="8953"/>
                </a:lnTo>
                <a:lnTo>
                  <a:pt x="10969" y="8906"/>
                </a:lnTo>
                <a:lnTo>
                  <a:pt x="10948" y="8859"/>
                </a:lnTo>
                <a:lnTo>
                  <a:pt x="10929" y="8810"/>
                </a:lnTo>
                <a:lnTo>
                  <a:pt x="10913" y="8760"/>
                </a:lnTo>
                <a:lnTo>
                  <a:pt x="10897" y="8709"/>
                </a:lnTo>
                <a:lnTo>
                  <a:pt x="10886" y="8657"/>
                </a:lnTo>
                <a:lnTo>
                  <a:pt x="10876" y="8604"/>
                </a:lnTo>
                <a:lnTo>
                  <a:pt x="10870" y="8551"/>
                </a:lnTo>
                <a:lnTo>
                  <a:pt x="10865" y="8496"/>
                </a:lnTo>
                <a:lnTo>
                  <a:pt x="10864" y="8441"/>
                </a:lnTo>
                <a:lnTo>
                  <a:pt x="10865" y="8386"/>
                </a:lnTo>
                <a:lnTo>
                  <a:pt x="10870" y="8331"/>
                </a:lnTo>
                <a:lnTo>
                  <a:pt x="10876" y="8277"/>
                </a:lnTo>
                <a:lnTo>
                  <a:pt x="10886" y="8224"/>
                </a:lnTo>
                <a:lnTo>
                  <a:pt x="10897" y="8172"/>
                </a:lnTo>
                <a:lnTo>
                  <a:pt x="10913" y="8121"/>
                </a:lnTo>
                <a:lnTo>
                  <a:pt x="10929" y="8071"/>
                </a:lnTo>
                <a:lnTo>
                  <a:pt x="10948" y="8023"/>
                </a:lnTo>
                <a:lnTo>
                  <a:pt x="10969" y="7975"/>
                </a:lnTo>
                <a:lnTo>
                  <a:pt x="10994" y="7928"/>
                </a:lnTo>
                <a:lnTo>
                  <a:pt x="11019" y="7883"/>
                </a:lnTo>
                <a:lnTo>
                  <a:pt x="11048" y="7840"/>
                </a:lnTo>
                <a:lnTo>
                  <a:pt x="11077" y="7798"/>
                </a:lnTo>
                <a:lnTo>
                  <a:pt x="11109" y="7757"/>
                </a:lnTo>
                <a:lnTo>
                  <a:pt x="11143" y="7718"/>
                </a:lnTo>
                <a:lnTo>
                  <a:pt x="11179" y="7681"/>
                </a:lnTo>
                <a:lnTo>
                  <a:pt x="11215" y="7645"/>
                </a:lnTo>
                <a:lnTo>
                  <a:pt x="11255" y="7611"/>
                </a:lnTo>
                <a:lnTo>
                  <a:pt x="11296" y="7579"/>
                </a:lnTo>
                <a:lnTo>
                  <a:pt x="11337" y="7550"/>
                </a:lnTo>
                <a:lnTo>
                  <a:pt x="11381" y="7521"/>
                </a:lnTo>
                <a:lnTo>
                  <a:pt x="11426" y="7496"/>
                </a:lnTo>
                <a:lnTo>
                  <a:pt x="11472" y="7471"/>
                </a:lnTo>
                <a:lnTo>
                  <a:pt x="11520" y="7450"/>
                </a:lnTo>
                <a:lnTo>
                  <a:pt x="11569" y="7431"/>
                </a:lnTo>
                <a:lnTo>
                  <a:pt x="11619" y="7414"/>
                </a:lnTo>
                <a:lnTo>
                  <a:pt x="11669" y="7399"/>
                </a:lnTo>
                <a:lnTo>
                  <a:pt x="11721" y="7388"/>
                </a:lnTo>
                <a:lnTo>
                  <a:pt x="11774" y="7378"/>
                </a:lnTo>
                <a:lnTo>
                  <a:pt x="11828" y="7372"/>
                </a:lnTo>
                <a:lnTo>
                  <a:pt x="11883" y="7367"/>
                </a:lnTo>
                <a:lnTo>
                  <a:pt x="11938" y="7366"/>
                </a:lnTo>
                <a:close/>
                <a:moveTo>
                  <a:pt x="4944" y="7366"/>
                </a:moveTo>
                <a:lnTo>
                  <a:pt x="4999" y="7367"/>
                </a:lnTo>
                <a:lnTo>
                  <a:pt x="5054" y="7372"/>
                </a:lnTo>
                <a:lnTo>
                  <a:pt x="5108" y="7378"/>
                </a:lnTo>
                <a:lnTo>
                  <a:pt x="5161" y="7388"/>
                </a:lnTo>
                <a:lnTo>
                  <a:pt x="5212" y="7399"/>
                </a:lnTo>
                <a:lnTo>
                  <a:pt x="5263" y="7414"/>
                </a:lnTo>
                <a:lnTo>
                  <a:pt x="5313" y="7431"/>
                </a:lnTo>
                <a:lnTo>
                  <a:pt x="5362" y="7450"/>
                </a:lnTo>
                <a:lnTo>
                  <a:pt x="5410" y="7471"/>
                </a:lnTo>
                <a:lnTo>
                  <a:pt x="5456" y="7496"/>
                </a:lnTo>
                <a:lnTo>
                  <a:pt x="5501" y="7521"/>
                </a:lnTo>
                <a:lnTo>
                  <a:pt x="5545" y="7550"/>
                </a:lnTo>
                <a:lnTo>
                  <a:pt x="5586" y="7579"/>
                </a:lnTo>
                <a:lnTo>
                  <a:pt x="5627" y="7611"/>
                </a:lnTo>
                <a:lnTo>
                  <a:pt x="5667" y="7645"/>
                </a:lnTo>
                <a:lnTo>
                  <a:pt x="5703" y="7681"/>
                </a:lnTo>
                <a:lnTo>
                  <a:pt x="5739" y="7718"/>
                </a:lnTo>
                <a:lnTo>
                  <a:pt x="5773" y="7757"/>
                </a:lnTo>
                <a:lnTo>
                  <a:pt x="5805" y="7798"/>
                </a:lnTo>
                <a:lnTo>
                  <a:pt x="5834" y="7840"/>
                </a:lnTo>
                <a:lnTo>
                  <a:pt x="5863" y="7883"/>
                </a:lnTo>
                <a:lnTo>
                  <a:pt x="5888" y="7928"/>
                </a:lnTo>
                <a:lnTo>
                  <a:pt x="5912" y="7975"/>
                </a:lnTo>
                <a:lnTo>
                  <a:pt x="5934" y="8023"/>
                </a:lnTo>
                <a:lnTo>
                  <a:pt x="5953" y="8071"/>
                </a:lnTo>
                <a:lnTo>
                  <a:pt x="5969" y="8121"/>
                </a:lnTo>
                <a:lnTo>
                  <a:pt x="5985" y="8172"/>
                </a:lnTo>
                <a:lnTo>
                  <a:pt x="5996" y="8224"/>
                </a:lnTo>
                <a:lnTo>
                  <a:pt x="6006" y="8277"/>
                </a:lnTo>
                <a:lnTo>
                  <a:pt x="6012" y="8331"/>
                </a:lnTo>
                <a:lnTo>
                  <a:pt x="6017" y="8386"/>
                </a:lnTo>
                <a:lnTo>
                  <a:pt x="6018" y="8441"/>
                </a:lnTo>
                <a:lnTo>
                  <a:pt x="6017" y="8496"/>
                </a:lnTo>
                <a:lnTo>
                  <a:pt x="6012" y="8551"/>
                </a:lnTo>
                <a:lnTo>
                  <a:pt x="6006" y="8604"/>
                </a:lnTo>
                <a:lnTo>
                  <a:pt x="5996" y="8657"/>
                </a:lnTo>
                <a:lnTo>
                  <a:pt x="5985" y="8709"/>
                </a:lnTo>
                <a:lnTo>
                  <a:pt x="5969" y="8760"/>
                </a:lnTo>
                <a:lnTo>
                  <a:pt x="5953" y="8810"/>
                </a:lnTo>
                <a:lnTo>
                  <a:pt x="5934" y="8859"/>
                </a:lnTo>
                <a:lnTo>
                  <a:pt x="5912" y="8906"/>
                </a:lnTo>
                <a:lnTo>
                  <a:pt x="5888" y="8953"/>
                </a:lnTo>
                <a:lnTo>
                  <a:pt x="5863" y="8998"/>
                </a:lnTo>
                <a:lnTo>
                  <a:pt x="5834" y="9042"/>
                </a:lnTo>
                <a:lnTo>
                  <a:pt x="5805" y="9083"/>
                </a:lnTo>
                <a:lnTo>
                  <a:pt x="5773" y="9124"/>
                </a:lnTo>
                <a:lnTo>
                  <a:pt x="5739" y="9163"/>
                </a:lnTo>
                <a:lnTo>
                  <a:pt x="5703" y="9200"/>
                </a:lnTo>
                <a:lnTo>
                  <a:pt x="5667" y="9236"/>
                </a:lnTo>
                <a:lnTo>
                  <a:pt x="5627" y="9270"/>
                </a:lnTo>
                <a:lnTo>
                  <a:pt x="5586" y="9302"/>
                </a:lnTo>
                <a:lnTo>
                  <a:pt x="5545" y="9332"/>
                </a:lnTo>
                <a:lnTo>
                  <a:pt x="5501" y="9360"/>
                </a:lnTo>
                <a:lnTo>
                  <a:pt x="5456" y="9386"/>
                </a:lnTo>
                <a:lnTo>
                  <a:pt x="5410" y="9410"/>
                </a:lnTo>
                <a:lnTo>
                  <a:pt x="5362" y="9431"/>
                </a:lnTo>
                <a:lnTo>
                  <a:pt x="5313" y="9451"/>
                </a:lnTo>
                <a:lnTo>
                  <a:pt x="5263" y="9467"/>
                </a:lnTo>
                <a:lnTo>
                  <a:pt x="5212" y="9481"/>
                </a:lnTo>
                <a:lnTo>
                  <a:pt x="5161" y="9493"/>
                </a:lnTo>
                <a:lnTo>
                  <a:pt x="5108" y="9504"/>
                </a:lnTo>
                <a:lnTo>
                  <a:pt x="5054" y="9510"/>
                </a:lnTo>
                <a:lnTo>
                  <a:pt x="4999" y="9514"/>
                </a:lnTo>
                <a:lnTo>
                  <a:pt x="4944" y="9516"/>
                </a:lnTo>
                <a:lnTo>
                  <a:pt x="4889" y="9514"/>
                </a:lnTo>
                <a:lnTo>
                  <a:pt x="4835" y="9510"/>
                </a:lnTo>
                <a:lnTo>
                  <a:pt x="4781" y="9504"/>
                </a:lnTo>
                <a:lnTo>
                  <a:pt x="4728" y="9493"/>
                </a:lnTo>
                <a:lnTo>
                  <a:pt x="4676" y="9481"/>
                </a:lnTo>
                <a:lnTo>
                  <a:pt x="4625" y="9467"/>
                </a:lnTo>
                <a:lnTo>
                  <a:pt x="4576" y="9451"/>
                </a:lnTo>
                <a:lnTo>
                  <a:pt x="4527" y="9431"/>
                </a:lnTo>
                <a:lnTo>
                  <a:pt x="4479" y="9410"/>
                </a:lnTo>
                <a:lnTo>
                  <a:pt x="4432" y="9386"/>
                </a:lnTo>
                <a:lnTo>
                  <a:pt x="4388" y="9360"/>
                </a:lnTo>
                <a:lnTo>
                  <a:pt x="4344" y="9332"/>
                </a:lnTo>
                <a:lnTo>
                  <a:pt x="4302" y="9302"/>
                </a:lnTo>
                <a:lnTo>
                  <a:pt x="4262" y="9270"/>
                </a:lnTo>
                <a:lnTo>
                  <a:pt x="4223" y="9236"/>
                </a:lnTo>
                <a:lnTo>
                  <a:pt x="4185" y="9200"/>
                </a:lnTo>
                <a:lnTo>
                  <a:pt x="4150" y="9163"/>
                </a:lnTo>
                <a:lnTo>
                  <a:pt x="4116" y="9124"/>
                </a:lnTo>
                <a:lnTo>
                  <a:pt x="4084" y="9083"/>
                </a:lnTo>
                <a:lnTo>
                  <a:pt x="4054" y="9042"/>
                </a:lnTo>
                <a:lnTo>
                  <a:pt x="4026" y="8998"/>
                </a:lnTo>
                <a:lnTo>
                  <a:pt x="4001" y="8953"/>
                </a:lnTo>
                <a:lnTo>
                  <a:pt x="3976" y="8906"/>
                </a:lnTo>
                <a:lnTo>
                  <a:pt x="3955" y="8859"/>
                </a:lnTo>
                <a:lnTo>
                  <a:pt x="3935" y="8810"/>
                </a:lnTo>
                <a:lnTo>
                  <a:pt x="3919" y="8760"/>
                </a:lnTo>
                <a:lnTo>
                  <a:pt x="3905" y="8709"/>
                </a:lnTo>
                <a:lnTo>
                  <a:pt x="3893" y="8657"/>
                </a:lnTo>
                <a:lnTo>
                  <a:pt x="3883" y="8604"/>
                </a:lnTo>
                <a:lnTo>
                  <a:pt x="3877" y="8551"/>
                </a:lnTo>
                <a:lnTo>
                  <a:pt x="3873" y="8496"/>
                </a:lnTo>
                <a:lnTo>
                  <a:pt x="3870" y="8441"/>
                </a:lnTo>
                <a:lnTo>
                  <a:pt x="3873" y="8386"/>
                </a:lnTo>
                <a:lnTo>
                  <a:pt x="3877" y="8331"/>
                </a:lnTo>
                <a:lnTo>
                  <a:pt x="3883" y="8277"/>
                </a:lnTo>
                <a:lnTo>
                  <a:pt x="3893" y="8224"/>
                </a:lnTo>
                <a:lnTo>
                  <a:pt x="3905" y="8172"/>
                </a:lnTo>
                <a:lnTo>
                  <a:pt x="3919" y="8121"/>
                </a:lnTo>
                <a:lnTo>
                  <a:pt x="3935" y="8071"/>
                </a:lnTo>
                <a:lnTo>
                  <a:pt x="3955" y="8023"/>
                </a:lnTo>
                <a:lnTo>
                  <a:pt x="3976" y="7975"/>
                </a:lnTo>
                <a:lnTo>
                  <a:pt x="4001" y="7928"/>
                </a:lnTo>
                <a:lnTo>
                  <a:pt x="4026" y="7883"/>
                </a:lnTo>
                <a:lnTo>
                  <a:pt x="4054" y="7840"/>
                </a:lnTo>
                <a:lnTo>
                  <a:pt x="4084" y="7798"/>
                </a:lnTo>
                <a:lnTo>
                  <a:pt x="4116" y="7757"/>
                </a:lnTo>
                <a:lnTo>
                  <a:pt x="4150" y="7718"/>
                </a:lnTo>
                <a:lnTo>
                  <a:pt x="4185" y="7681"/>
                </a:lnTo>
                <a:lnTo>
                  <a:pt x="4223" y="7645"/>
                </a:lnTo>
                <a:lnTo>
                  <a:pt x="4262" y="7611"/>
                </a:lnTo>
                <a:lnTo>
                  <a:pt x="4302" y="7579"/>
                </a:lnTo>
                <a:lnTo>
                  <a:pt x="4344" y="7550"/>
                </a:lnTo>
                <a:lnTo>
                  <a:pt x="4388" y="7521"/>
                </a:lnTo>
                <a:lnTo>
                  <a:pt x="4432" y="7496"/>
                </a:lnTo>
                <a:lnTo>
                  <a:pt x="4479" y="7471"/>
                </a:lnTo>
                <a:lnTo>
                  <a:pt x="4527" y="7450"/>
                </a:lnTo>
                <a:lnTo>
                  <a:pt x="4576" y="7431"/>
                </a:lnTo>
                <a:lnTo>
                  <a:pt x="4625" y="7414"/>
                </a:lnTo>
                <a:lnTo>
                  <a:pt x="4676" y="7399"/>
                </a:lnTo>
                <a:lnTo>
                  <a:pt x="4728" y="7388"/>
                </a:lnTo>
                <a:lnTo>
                  <a:pt x="4781" y="7378"/>
                </a:lnTo>
                <a:lnTo>
                  <a:pt x="4835" y="7372"/>
                </a:lnTo>
                <a:lnTo>
                  <a:pt x="4889" y="7367"/>
                </a:lnTo>
                <a:lnTo>
                  <a:pt x="4944" y="7366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asfal_uklad"/>
          <p:cNvSpPr>
            <a:spLocks noChangeAspect="1" noEditPoints="1"/>
          </p:cNvSpPr>
          <p:nvPr>
            <p:custDataLst>
              <p:tags r:id="rId11"/>
            </p:custDataLst>
          </p:nvPr>
        </p:nvSpPr>
        <p:spPr bwMode="auto">
          <a:xfrm>
            <a:off x="5977791" y="2787959"/>
            <a:ext cx="709140" cy="362188"/>
          </a:xfrm>
          <a:custGeom>
            <a:avLst/>
            <a:gdLst>
              <a:gd name="T0" fmla="*/ 13411 w 16308"/>
              <a:gd name="T1" fmla="*/ 7039 h 8316"/>
              <a:gd name="T2" fmla="*/ 13665 w 16308"/>
              <a:gd name="T3" fmla="*/ 7155 h 8316"/>
              <a:gd name="T4" fmla="*/ 13785 w 16308"/>
              <a:gd name="T5" fmla="*/ 7396 h 8316"/>
              <a:gd name="T6" fmla="*/ 13716 w 16308"/>
              <a:gd name="T7" fmla="*/ 7659 h 8316"/>
              <a:gd name="T8" fmla="*/ 13493 w 16308"/>
              <a:gd name="T9" fmla="*/ 7818 h 8316"/>
              <a:gd name="T10" fmla="*/ 4884 w 16308"/>
              <a:gd name="T11" fmla="*/ 7811 h 8316"/>
              <a:gd name="T12" fmla="*/ 4670 w 16308"/>
              <a:gd name="T13" fmla="*/ 7643 h 8316"/>
              <a:gd name="T14" fmla="*/ 4614 w 16308"/>
              <a:gd name="T15" fmla="*/ 7376 h 8316"/>
              <a:gd name="T16" fmla="*/ 4747 w 16308"/>
              <a:gd name="T17" fmla="*/ 7141 h 8316"/>
              <a:gd name="T18" fmla="*/ 5007 w 16308"/>
              <a:gd name="T19" fmla="*/ 7037 h 8316"/>
              <a:gd name="T20" fmla="*/ 10429 w 16308"/>
              <a:gd name="T21" fmla="*/ 4834 h 8316"/>
              <a:gd name="T22" fmla="*/ 10381 w 16308"/>
              <a:gd name="T23" fmla="*/ 6385 h 8316"/>
              <a:gd name="T24" fmla="*/ 10198 w 16308"/>
              <a:gd name="T25" fmla="*/ 6330 h 8316"/>
              <a:gd name="T26" fmla="*/ 8899 w 16308"/>
              <a:gd name="T27" fmla="*/ 4790 h 8316"/>
              <a:gd name="T28" fmla="*/ 9076 w 16308"/>
              <a:gd name="T29" fmla="*/ 6330 h 8316"/>
              <a:gd name="T30" fmla="*/ 8893 w 16308"/>
              <a:gd name="T31" fmla="*/ 6385 h 8316"/>
              <a:gd name="T32" fmla="*/ 8845 w 16308"/>
              <a:gd name="T33" fmla="*/ 4834 h 8316"/>
              <a:gd name="T34" fmla="*/ 9484 w 16308"/>
              <a:gd name="T35" fmla="*/ 4791 h 8316"/>
              <a:gd name="T36" fmla="*/ 9526 w 16308"/>
              <a:gd name="T37" fmla="*/ 6346 h 8316"/>
              <a:gd name="T38" fmla="*/ 9329 w 16308"/>
              <a:gd name="T39" fmla="*/ 6381 h 8316"/>
              <a:gd name="T40" fmla="*/ 9305 w 16308"/>
              <a:gd name="T41" fmla="*/ 4814 h 8316"/>
              <a:gd name="T42" fmla="*/ 9955 w 16308"/>
              <a:gd name="T43" fmla="*/ 4799 h 8316"/>
              <a:gd name="T44" fmla="*/ 9963 w 16308"/>
              <a:gd name="T45" fmla="*/ 6368 h 8316"/>
              <a:gd name="T46" fmla="*/ 9755 w 16308"/>
              <a:gd name="T47" fmla="*/ 6360 h 8316"/>
              <a:gd name="T48" fmla="*/ 9780 w 16308"/>
              <a:gd name="T49" fmla="*/ 4794 h 8316"/>
              <a:gd name="T50" fmla="*/ 6106 w 16308"/>
              <a:gd name="T51" fmla="*/ 2812 h 8316"/>
              <a:gd name="T52" fmla="*/ 5757 w 16308"/>
              <a:gd name="T53" fmla="*/ 2398 h 8316"/>
              <a:gd name="T54" fmla="*/ 5663 w 16308"/>
              <a:gd name="T55" fmla="*/ 2239 h 8316"/>
              <a:gd name="T56" fmla="*/ 5690 w 16308"/>
              <a:gd name="T57" fmla="*/ 2053 h 8316"/>
              <a:gd name="T58" fmla="*/ 5829 w 16308"/>
              <a:gd name="T59" fmla="*/ 1927 h 8316"/>
              <a:gd name="T60" fmla="*/ 6015 w 16308"/>
              <a:gd name="T61" fmla="*/ 1918 h 8316"/>
              <a:gd name="T62" fmla="*/ 6167 w 16308"/>
              <a:gd name="T63" fmla="*/ 2031 h 8316"/>
              <a:gd name="T64" fmla="*/ 6212 w 16308"/>
              <a:gd name="T65" fmla="*/ 2211 h 8316"/>
              <a:gd name="T66" fmla="*/ 6108 w 16308"/>
              <a:gd name="T67" fmla="*/ 2401 h 8316"/>
              <a:gd name="T68" fmla="*/ 9149 w 16308"/>
              <a:gd name="T69" fmla="*/ 1668 h 8316"/>
              <a:gd name="T70" fmla="*/ 9288 w 16308"/>
              <a:gd name="T71" fmla="*/ 79 h 8316"/>
              <a:gd name="T72" fmla="*/ 9493 w 16308"/>
              <a:gd name="T73" fmla="*/ 54 h 8316"/>
              <a:gd name="T74" fmla="*/ 9596 w 16308"/>
              <a:gd name="T75" fmla="*/ 1634 h 8316"/>
              <a:gd name="T76" fmla="*/ 9693 w 16308"/>
              <a:gd name="T77" fmla="*/ 3859 h 8316"/>
              <a:gd name="T78" fmla="*/ 16308 w 16308"/>
              <a:gd name="T79" fmla="*/ 7828 h 8316"/>
              <a:gd name="T80" fmla="*/ 13925 w 16308"/>
              <a:gd name="T81" fmla="*/ 8153 h 8316"/>
              <a:gd name="T82" fmla="*/ 13607 w 16308"/>
              <a:gd name="T83" fmla="*/ 8292 h 8316"/>
              <a:gd name="T84" fmla="*/ 4711 w 16308"/>
              <a:gd name="T85" fmla="*/ 8270 h 8316"/>
              <a:gd name="T86" fmla="*/ 4246 w 16308"/>
              <a:gd name="T87" fmla="*/ 7924 h 8316"/>
              <a:gd name="T88" fmla="*/ 4097 w 16308"/>
              <a:gd name="T89" fmla="*/ 7423 h 8316"/>
              <a:gd name="T90" fmla="*/ 2318 w 16308"/>
              <a:gd name="T91" fmla="*/ 8316 h 8316"/>
              <a:gd name="T92" fmla="*/ 138 w 16308"/>
              <a:gd name="T93" fmla="*/ 6880 h 8316"/>
              <a:gd name="T94" fmla="*/ 218 w 16308"/>
              <a:gd name="T95" fmla="*/ 6298 h 8316"/>
              <a:gd name="T96" fmla="*/ 438 w 16308"/>
              <a:gd name="T97" fmla="*/ 6134 h 8316"/>
              <a:gd name="T98" fmla="*/ 2304 w 16308"/>
              <a:gd name="T99" fmla="*/ 5619 h 8316"/>
              <a:gd name="T100" fmla="*/ 2383 w 16308"/>
              <a:gd name="T101" fmla="*/ 5452 h 8316"/>
              <a:gd name="T102" fmla="*/ 2537 w 16308"/>
              <a:gd name="T103" fmla="*/ 5374 h 8316"/>
              <a:gd name="T104" fmla="*/ 14295 w 16308"/>
              <a:gd name="T105" fmla="*/ 7534 h 8316"/>
              <a:gd name="T106" fmla="*/ 14205 w 16308"/>
              <a:gd name="T107" fmla="*/ 7041 h 8316"/>
              <a:gd name="T108" fmla="*/ 3695 w 16308"/>
              <a:gd name="T109" fmla="*/ 5647 h 8316"/>
              <a:gd name="T110" fmla="*/ 3631 w 16308"/>
              <a:gd name="T111" fmla="*/ 5472 h 8316"/>
              <a:gd name="T112" fmla="*/ 3487 w 16308"/>
              <a:gd name="T113" fmla="*/ 5379 h 8316"/>
              <a:gd name="T114" fmla="*/ 1785 w 16308"/>
              <a:gd name="T115" fmla="*/ 6214 h 8316"/>
              <a:gd name="T116" fmla="*/ 2579 w 16308"/>
              <a:gd name="T117" fmla="*/ 5647 h 8316"/>
              <a:gd name="T118" fmla="*/ 547 w 16308"/>
              <a:gd name="T119" fmla="*/ 6392 h 8316"/>
              <a:gd name="T120" fmla="*/ 424 w 16308"/>
              <a:gd name="T121" fmla="*/ 6516 h 8316"/>
              <a:gd name="T122" fmla="*/ 276 w 16308"/>
              <a:gd name="T123" fmla="*/ 7459 h 8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308" h="8316">
                <a:moveTo>
                  <a:pt x="13428" y="6563"/>
                </a:moveTo>
                <a:lnTo>
                  <a:pt x="11732" y="6563"/>
                </a:lnTo>
                <a:lnTo>
                  <a:pt x="11732" y="4710"/>
                </a:lnTo>
                <a:lnTo>
                  <a:pt x="15091" y="4710"/>
                </a:lnTo>
                <a:lnTo>
                  <a:pt x="15865" y="5157"/>
                </a:lnTo>
                <a:lnTo>
                  <a:pt x="15865" y="6570"/>
                </a:lnTo>
                <a:lnTo>
                  <a:pt x="13536" y="6570"/>
                </a:lnTo>
                <a:lnTo>
                  <a:pt x="13509" y="6567"/>
                </a:lnTo>
                <a:lnTo>
                  <a:pt x="13482" y="6565"/>
                </a:lnTo>
                <a:lnTo>
                  <a:pt x="13454" y="6563"/>
                </a:lnTo>
                <a:lnTo>
                  <a:pt x="13428" y="6563"/>
                </a:lnTo>
                <a:close/>
                <a:moveTo>
                  <a:pt x="13370" y="7037"/>
                </a:moveTo>
                <a:lnTo>
                  <a:pt x="13391" y="7037"/>
                </a:lnTo>
                <a:lnTo>
                  <a:pt x="13411" y="7039"/>
                </a:lnTo>
                <a:lnTo>
                  <a:pt x="13433" y="7041"/>
                </a:lnTo>
                <a:lnTo>
                  <a:pt x="13453" y="7045"/>
                </a:lnTo>
                <a:lnTo>
                  <a:pt x="13473" y="7049"/>
                </a:lnTo>
                <a:lnTo>
                  <a:pt x="13493" y="7056"/>
                </a:lnTo>
                <a:lnTo>
                  <a:pt x="13512" y="7062"/>
                </a:lnTo>
                <a:lnTo>
                  <a:pt x="13532" y="7069"/>
                </a:lnTo>
                <a:lnTo>
                  <a:pt x="13550" y="7077"/>
                </a:lnTo>
                <a:lnTo>
                  <a:pt x="13568" y="7085"/>
                </a:lnTo>
                <a:lnTo>
                  <a:pt x="13586" y="7095"/>
                </a:lnTo>
                <a:lnTo>
                  <a:pt x="13603" y="7106"/>
                </a:lnTo>
                <a:lnTo>
                  <a:pt x="13619" y="7117"/>
                </a:lnTo>
                <a:lnTo>
                  <a:pt x="13635" y="7129"/>
                </a:lnTo>
                <a:lnTo>
                  <a:pt x="13650" y="7141"/>
                </a:lnTo>
                <a:lnTo>
                  <a:pt x="13665" y="7155"/>
                </a:lnTo>
                <a:lnTo>
                  <a:pt x="13678" y="7169"/>
                </a:lnTo>
                <a:lnTo>
                  <a:pt x="13692" y="7183"/>
                </a:lnTo>
                <a:lnTo>
                  <a:pt x="13704" y="7198"/>
                </a:lnTo>
                <a:lnTo>
                  <a:pt x="13716" y="7214"/>
                </a:lnTo>
                <a:lnTo>
                  <a:pt x="13727" y="7230"/>
                </a:lnTo>
                <a:lnTo>
                  <a:pt x="13737" y="7246"/>
                </a:lnTo>
                <a:lnTo>
                  <a:pt x="13747" y="7264"/>
                </a:lnTo>
                <a:lnTo>
                  <a:pt x="13755" y="7282"/>
                </a:lnTo>
                <a:lnTo>
                  <a:pt x="13762" y="7299"/>
                </a:lnTo>
                <a:lnTo>
                  <a:pt x="13769" y="7319"/>
                </a:lnTo>
                <a:lnTo>
                  <a:pt x="13775" y="7337"/>
                </a:lnTo>
                <a:lnTo>
                  <a:pt x="13779" y="7356"/>
                </a:lnTo>
                <a:lnTo>
                  <a:pt x="13783" y="7376"/>
                </a:lnTo>
                <a:lnTo>
                  <a:pt x="13785" y="7396"/>
                </a:lnTo>
                <a:lnTo>
                  <a:pt x="13787" y="7416"/>
                </a:lnTo>
                <a:lnTo>
                  <a:pt x="13788" y="7436"/>
                </a:lnTo>
                <a:lnTo>
                  <a:pt x="13787" y="7457"/>
                </a:lnTo>
                <a:lnTo>
                  <a:pt x="13785" y="7477"/>
                </a:lnTo>
                <a:lnTo>
                  <a:pt x="13783" y="7497"/>
                </a:lnTo>
                <a:lnTo>
                  <a:pt x="13779" y="7517"/>
                </a:lnTo>
                <a:lnTo>
                  <a:pt x="13775" y="7536"/>
                </a:lnTo>
                <a:lnTo>
                  <a:pt x="13769" y="7554"/>
                </a:lnTo>
                <a:lnTo>
                  <a:pt x="13762" y="7574"/>
                </a:lnTo>
                <a:lnTo>
                  <a:pt x="13755" y="7591"/>
                </a:lnTo>
                <a:lnTo>
                  <a:pt x="13747" y="7609"/>
                </a:lnTo>
                <a:lnTo>
                  <a:pt x="13737" y="7627"/>
                </a:lnTo>
                <a:lnTo>
                  <a:pt x="13727" y="7643"/>
                </a:lnTo>
                <a:lnTo>
                  <a:pt x="13716" y="7659"/>
                </a:lnTo>
                <a:lnTo>
                  <a:pt x="13704" y="7675"/>
                </a:lnTo>
                <a:lnTo>
                  <a:pt x="13692" y="7690"/>
                </a:lnTo>
                <a:lnTo>
                  <a:pt x="13678" y="7704"/>
                </a:lnTo>
                <a:lnTo>
                  <a:pt x="13665" y="7718"/>
                </a:lnTo>
                <a:lnTo>
                  <a:pt x="13650" y="7732"/>
                </a:lnTo>
                <a:lnTo>
                  <a:pt x="13635" y="7744"/>
                </a:lnTo>
                <a:lnTo>
                  <a:pt x="13619" y="7756"/>
                </a:lnTo>
                <a:lnTo>
                  <a:pt x="13603" y="7767"/>
                </a:lnTo>
                <a:lnTo>
                  <a:pt x="13586" y="7778"/>
                </a:lnTo>
                <a:lnTo>
                  <a:pt x="13568" y="7788"/>
                </a:lnTo>
                <a:lnTo>
                  <a:pt x="13550" y="7796"/>
                </a:lnTo>
                <a:lnTo>
                  <a:pt x="13532" y="7804"/>
                </a:lnTo>
                <a:lnTo>
                  <a:pt x="13512" y="7811"/>
                </a:lnTo>
                <a:lnTo>
                  <a:pt x="13493" y="7818"/>
                </a:lnTo>
                <a:lnTo>
                  <a:pt x="13473" y="7823"/>
                </a:lnTo>
                <a:lnTo>
                  <a:pt x="13453" y="7828"/>
                </a:lnTo>
                <a:lnTo>
                  <a:pt x="13433" y="7832"/>
                </a:lnTo>
                <a:lnTo>
                  <a:pt x="13411" y="7834"/>
                </a:lnTo>
                <a:lnTo>
                  <a:pt x="13391" y="7836"/>
                </a:lnTo>
                <a:lnTo>
                  <a:pt x="13370" y="7836"/>
                </a:lnTo>
                <a:lnTo>
                  <a:pt x="5028" y="7836"/>
                </a:lnTo>
                <a:lnTo>
                  <a:pt x="5007" y="7836"/>
                </a:lnTo>
                <a:lnTo>
                  <a:pt x="4985" y="7834"/>
                </a:lnTo>
                <a:lnTo>
                  <a:pt x="4964" y="7832"/>
                </a:lnTo>
                <a:lnTo>
                  <a:pt x="4943" y="7828"/>
                </a:lnTo>
                <a:lnTo>
                  <a:pt x="4923" y="7823"/>
                </a:lnTo>
                <a:lnTo>
                  <a:pt x="4904" y="7818"/>
                </a:lnTo>
                <a:lnTo>
                  <a:pt x="4884" y="7811"/>
                </a:lnTo>
                <a:lnTo>
                  <a:pt x="4865" y="7804"/>
                </a:lnTo>
                <a:lnTo>
                  <a:pt x="4847" y="7796"/>
                </a:lnTo>
                <a:lnTo>
                  <a:pt x="4829" y="7788"/>
                </a:lnTo>
                <a:lnTo>
                  <a:pt x="4811" y="7778"/>
                </a:lnTo>
                <a:lnTo>
                  <a:pt x="4795" y="7767"/>
                </a:lnTo>
                <a:lnTo>
                  <a:pt x="4778" y="7756"/>
                </a:lnTo>
                <a:lnTo>
                  <a:pt x="4762" y="7744"/>
                </a:lnTo>
                <a:lnTo>
                  <a:pt x="4747" y="7732"/>
                </a:lnTo>
                <a:lnTo>
                  <a:pt x="4732" y="7718"/>
                </a:lnTo>
                <a:lnTo>
                  <a:pt x="4718" y="7704"/>
                </a:lnTo>
                <a:lnTo>
                  <a:pt x="4705" y="7690"/>
                </a:lnTo>
                <a:lnTo>
                  <a:pt x="4693" y="7675"/>
                </a:lnTo>
                <a:lnTo>
                  <a:pt x="4680" y="7659"/>
                </a:lnTo>
                <a:lnTo>
                  <a:pt x="4670" y="7643"/>
                </a:lnTo>
                <a:lnTo>
                  <a:pt x="4660" y="7627"/>
                </a:lnTo>
                <a:lnTo>
                  <a:pt x="4651" y="7609"/>
                </a:lnTo>
                <a:lnTo>
                  <a:pt x="4642" y="7591"/>
                </a:lnTo>
                <a:lnTo>
                  <a:pt x="4635" y="7574"/>
                </a:lnTo>
                <a:lnTo>
                  <a:pt x="4627" y="7554"/>
                </a:lnTo>
                <a:lnTo>
                  <a:pt x="4622" y="7536"/>
                </a:lnTo>
                <a:lnTo>
                  <a:pt x="4617" y="7517"/>
                </a:lnTo>
                <a:lnTo>
                  <a:pt x="4614" y="7497"/>
                </a:lnTo>
                <a:lnTo>
                  <a:pt x="4611" y="7477"/>
                </a:lnTo>
                <a:lnTo>
                  <a:pt x="4609" y="7457"/>
                </a:lnTo>
                <a:lnTo>
                  <a:pt x="4609" y="7436"/>
                </a:lnTo>
                <a:lnTo>
                  <a:pt x="4609" y="7416"/>
                </a:lnTo>
                <a:lnTo>
                  <a:pt x="4611" y="7396"/>
                </a:lnTo>
                <a:lnTo>
                  <a:pt x="4614" y="7376"/>
                </a:lnTo>
                <a:lnTo>
                  <a:pt x="4617" y="7356"/>
                </a:lnTo>
                <a:lnTo>
                  <a:pt x="4622" y="7337"/>
                </a:lnTo>
                <a:lnTo>
                  <a:pt x="4627" y="7319"/>
                </a:lnTo>
                <a:lnTo>
                  <a:pt x="4635" y="7299"/>
                </a:lnTo>
                <a:lnTo>
                  <a:pt x="4642" y="7282"/>
                </a:lnTo>
                <a:lnTo>
                  <a:pt x="4651" y="7264"/>
                </a:lnTo>
                <a:lnTo>
                  <a:pt x="4660" y="7246"/>
                </a:lnTo>
                <a:lnTo>
                  <a:pt x="4670" y="7230"/>
                </a:lnTo>
                <a:lnTo>
                  <a:pt x="4680" y="7214"/>
                </a:lnTo>
                <a:lnTo>
                  <a:pt x="4693" y="7198"/>
                </a:lnTo>
                <a:lnTo>
                  <a:pt x="4705" y="7183"/>
                </a:lnTo>
                <a:lnTo>
                  <a:pt x="4718" y="7169"/>
                </a:lnTo>
                <a:lnTo>
                  <a:pt x="4732" y="7155"/>
                </a:lnTo>
                <a:lnTo>
                  <a:pt x="4747" y="7141"/>
                </a:lnTo>
                <a:lnTo>
                  <a:pt x="4762" y="7129"/>
                </a:lnTo>
                <a:lnTo>
                  <a:pt x="4778" y="7117"/>
                </a:lnTo>
                <a:lnTo>
                  <a:pt x="4795" y="7106"/>
                </a:lnTo>
                <a:lnTo>
                  <a:pt x="4811" y="7095"/>
                </a:lnTo>
                <a:lnTo>
                  <a:pt x="4829" y="7085"/>
                </a:lnTo>
                <a:lnTo>
                  <a:pt x="4847" y="7077"/>
                </a:lnTo>
                <a:lnTo>
                  <a:pt x="4865" y="7069"/>
                </a:lnTo>
                <a:lnTo>
                  <a:pt x="4884" y="7062"/>
                </a:lnTo>
                <a:lnTo>
                  <a:pt x="4904" y="7056"/>
                </a:lnTo>
                <a:lnTo>
                  <a:pt x="4923" y="7049"/>
                </a:lnTo>
                <a:lnTo>
                  <a:pt x="4943" y="7045"/>
                </a:lnTo>
                <a:lnTo>
                  <a:pt x="4964" y="7041"/>
                </a:lnTo>
                <a:lnTo>
                  <a:pt x="4985" y="7039"/>
                </a:lnTo>
                <a:lnTo>
                  <a:pt x="5007" y="7037"/>
                </a:lnTo>
                <a:lnTo>
                  <a:pt x="5028" y="7037"/>
                </a:lnTo>
                <a:lnTo>
                  <a:pt x="13370" y="7037"/>
                </a:lnTo>
                <a:close/>
                <a:moveTo>
                  <a:pt x="10253" y="4790"/>
                </a:moveTo>
                <a:lnTo>
                  <a:pt x="10375" y="4790"/>
                </a:lnTo>
                <a:lnTo>
                  <a:pt x="10381" y="4790"/>
                </a:lnTo>
                <a:lnTo>
                  <a:pt x="10386" y="4791"/>
                </a:lnTo>
                <a:lnTo>
                  <a:pt x="10391" y="4792"/>
                </a:lnTo>
                <a:lnTo>
                  <a:pt x="10396" y="4794"/>
                </a:lnTo>
                <a:lnTo>
                  <a:pt x="10407" y="4799"/>
                </a:lnTo>
                <a:lnTo>
                  <a:pt x="10414" y="4806"/>
                </a:lnTo>
                <a:lnTo>
                  <a:pt x="10421" y="4814"/>
                </a:lnTo>
                <a:lnTo>
                  <a:pt x="10426" y="4823"/>
                </a:lnTo>
                <a:lnTo>
                  <a:pt x="10428" y="4828"/>
                </a:lnTo>
                <a:lnTo>
                  <a:pt x="10429" y="4834"/>
                </a:lnTo>
                <a:lnTo>
                  <a:pt x="10430" y="4839"/>
                </a:lnTo>
                <a:lnTo>
                  <a:pt x="10430" y="4845"/>
                </a:lnTo>
                <a:lnTo>
                  <a:pt x="10430" y="6330"/>
                </a:lnTo>
                <a:lnTo>
                  <a:pt x="10430" y="6336"/>
                </a:lnTo>
                <a:lnTo>
                  <a:pt x="10429" y="6341"/>
                </a:lnTo>
                <a:lnTo>
                  <a:pt x="10428" y="6346"/>
                </a:lnTo>
                <a:lnTo>
                  <a:pt x="10426" y="6351"/>
                </a:lnTo>
                <a:lnTo>
                  <a:pt x="10421" y="6360"/>
                </a:lnTo>
                <a:lnTo>
                  <a:pt x="10414" y="6368"/>
                </a:lnTo>
                <a:lnTo>
                  <a:pt x="10407" y="6375"/>
                </a:lnTo>
                <a:lnTo>
                  <a:pt x="10396" y="6381"/>
                </a:lnTo>
                <a:lnTo>
                  <a:pt x="10391" y="6383"/>
                </a:lnTo>
                <a:lnTo>
                  <a:pt x="10386" y="6384"/>
                </a:lnTo>
                <a:lnTo>
                  <a:pt x="10381" y="6385"/>
                </a:lnTo>
                <a:lnTo>
                  <a:pt x="10375" y="6385"/>
                </a:lnTo>
                <a:lnTo>
                  <a:pt x="10253" y="6385"/>
                </a:lnTo>
                <a:lnTo>
                  <a:pt x="10247" y="6385"/>
                </a:lnTo>
                <a:lnTo>
                  <a:pt x="10241" y="6384"/>
                </a:lnTo>
                <a:lnTo>
                  <a:pt x="10236" y="6383"/>
                </a:lnTo>
                <a:lnTo>
                  <a:pt x="10231" y="6381"/>
                </a:lnTo>
                <a:lnTo>
                  <a:pt x="10222" y="6375"/>
                </a:lnTo>
                <a:lnTo>
                  <a:pt x="10214" y="6368"/>
                </a:lnTo>
                <a:lnTo>
                  <a:pt x="10207" y="6360"/>
                </a:lnTo>
                <a:lnTo>
                  <a:pt x="10202" y="6351"/>
                </a:lnTo>
                <a:lnTo>
                  <a:pt x="10200" y="6346"/>
                </a:lnTo>
                <a:lnTo>
                  <a:pt x="10199" y="6341"/>
                </a:lnTo>
                <a:lnTo>
                  <a:pt x="10198" y="6336"/>
                </a:lnTo>
                <a:lnTo>
                  <a:pt x="10198" y="6330"/>
                </a:lnTo>
                <a:lnTo>
                  <a:pt x="10198" y="4845"/>
                </a:lnTo>
                <a:lnTo>
                  <a:pt x="10198" y="4839"/>
                </a:lnTo>
                <a:lnTo>
                  <a:pt x="10199" y="4834"/>
                </a:lnTo>
                <a:lnTo>
                  <a:pt x="10200" y="4828"/>
                </a:lnTo>
                <a:lnTo>
                  <a:pt x="10202" y="4823"/>
                </a:lnTo>
                <a:lnTo>
                  <a:pt x="10207" y="4814"/>
                </a:lnTo>
                <a:lnTo>
                  <a:pt x="10214" y="4806"/>
                </a:lnTo>
                <a:lnTo>
                  <a:pt x="10222" y="4799"/>
                </a:lnTo>
                <a:lnTo>
                  <a:pt x="10231" y="4794"/>
                </a:lnTo>
                <a:lnTo>
                  <a:pt x="10236" y="4792"/>
                </a:lnTo>
                <a:lnTo>
                  <a:pt x="10241" y="4791"/>
                </a:lnTo>
                <a:lnTo>
                  <a:pt x="10247" y="4790"/>
                </a:lnTo>
                <a:lnTo>
                  <a:pt x="10253" y="4790"/>
                </a:lnTo>
                <a:close/>
                <a:moveTo>
                  <a:pt x="8899" y="4790"/>
                </a:moveTo>
                <a:lnTo>
                  <a:pt x="9022" y="4790"/>
                </a:lnTo>
                <a:lnTo>
                  <a:pt x="9027" y="4790"/>
                </a:lnTo>
                <a:lnTo>
                  <a:pt x="9033" y="4791"/>
                </a:lnTo>
                <a:lnTo>
                  <a:pt x="9039" y="4792"/>
                </a:lnTo>
                <a:lnTo>
                  <a:pt x="9044" y="4794"/>
                </a:lnTo>
                <a:lnTo>
                  <a:pt x="9053" y="4799"/>
                </a:lnTo>
                <a:lnTo>
                  <a:pt x="9061" y="4806"/>
                </a:lnTo>
                <a:lnTo>
                  <a:pt x="9067" y="4814"/>
                </a:lnTo>
                <a:lnTo>
                  <a:pt x="9072" y="4823"/>
                </a:lnTo>
                <a:lnTo>
                  <a:pt x="9074" y="4828"/>
                </a:lnTo>
                <a:lnTo>
                  <a:pt x="9075" y="4834"/>
                </a:lnTo>
                <a:lnTo>
                  <a:pt x="9076" y="4839"/>
                </a:lnTo>
                <a:lnTo>
                  <a:pt x="9076" y="4845"/>
                </a:lnTo>
                <a:lnTo>
                  <a:pt x="9076" y="6330"/>
                </a:lnTo>
                <a:lnTo>
                  <a:pt x="9076" y="6336"/>
                </a:lnTo>
                <a:lnTo>
                  <a:pt x="9075" y="6341"/>
                </a:lnTo>
                <a:lnTo>
                  <a:pt x="9074" y="6346"/>
                </a:lnTo>
                <a:lnTo>
                  <a:pt x="9072" y="6351"/>
                </a:lnTo>
                <a:lnTo>
                  <a:pt x="9067" y="6360"/>
                </a:lnTo>
                <a:lnTo>
                  <a:pt x="9061" y="6368"/>
                </a:lnTo>
                <a:lnTo>
                  <a:pt x="9053" y="6375"/>
                </a:lnTo>
                <a:lnTo>
                  <a:pt x="9044" y="6381"/>
                </a:lnTo>
                <a:lnTo>
                  <a:pt x="9039" y="6383"/>
                </a:lnTo>
                <a:lnTo>
                  <a:pt x="9033" y="6384"/>
                </a:lnTo>
                <a:lnTo>
                  <a:pt x="9027" y="6385"/>
                </a:lnTo>
                <a:lnTo>
                  <a:pt x="9022" y="6385"/>
                </a:lnTo>
                <a:lnTo>
                  <a:pt x="8899" y="6385"/>
                </a:lnTo>
                <a:lnTo>
                  <a:pt x="8893" y="6385"/>
                </a:lnTo>
                <a:lnTo>
                  <a:pt x="8888" y="6384"/>
                </a:lnTo>
                <a:lnTo>
                  <a:pt x="8883" y="6383"/>
                </a:lnTo>
                <a:lnTo>
                  <a:pt x="8878" y="6381"/>
                </a:lnTo>
                <a:lnTo>
                  <a:pt x="8868" y="6375"/>
                </a:lnTo>
                <a:lnTo>
                  <a:pt x="8860" y="6368"/>
                </a:lnTo>
                <a:lnTo>
                  <a:pt x="8853" y="6360"/>
                </a:lnTo>
                <a:lnTo>
                  <a:pt x="8848" y="6351"/>
                </a:lnTo>
                <a:lnTo>
                  <a:pt x="8846" y="6346"/>
                </a:lnTo>
                <a:lnTo>
                  <a:pt x="8845" y="6341"/>
                </a:lnTo>
                <a:lnTo>
                  <a:pt x="8844" y="6336"/>
                </a:lnTo>
                <a:lnTo>
                  <a:pt x="8844" y="6330"/>
                </a:lnTo>
                <a:lnTo>
                  <a:pt x="8844" y="4845"/>
                </a:lnTo>
                <a:lnTo>
                  <a:pt x="8844" y="4839"/>
                </a:lnTo>
                <a:lnTo>
                  <a:pt x="8845" y="4834"/>
                </a:lnTo>
                <a:lnTo>
                  <a:pt x="8846" y="4828"/>
                </a:lnTo>
                <a:lnTo>
                  <a:pt x="8848" y="4823"/>
                </a:lnTo>
                <a:lnTo>
                  <a:pt x="8853" y="4814"/>
                </a:lnTo>
                <a:lnTo>
                  <a:pt x="8860" y="4806"/>
                </a:lnTo>
                <a:lnTo>
                  <a:pt x="8868" y="4799"/>
                </a:lnTo>
                <a:lnTo>
                  <a:pt x="8878" y="4794"/>
                </a:lnTo>
                <a:lnTo>
                  <a:pt x="8883" y="4792"/>
                </a:lnTo>
                <a:lnTo>
                  <a:pt x="8888" y="4791"/>
                </a:lnTo>
                <a:lnTo>
                  <a:pt x="8893" y="4790"/>
                </a:lnTo>
                <a:lnTo>
                  <a:pt x="8899" y="4790"/>
                </a:lnTo>
                <a:close/>
                <a:moveTo>
                  <a:pt x="9350" y="4790"/>
                </a:moveTo>
                <a:lnTo>
                  <a:pt x="9473" y="4790"/>
                </a:lnTo>
                <a:lnTo>
                  <a:pt x="9479" y="4790"/>
                </a:lnTo>
                <a:lnTo>
                  <a:pt x="9484" y="4791"/>
                </a:lnTo>
                <a:lnTo>
                  <a:pt x="9489" y="4792"/>
                </a:lnTo>
                <a:lnTo>
                  <a:pt x="9494" y="4794"/>
                </a:lnTo>
                <a:lnTo>
                  <a:pt x="9503" y="4799"/>
                </a:lnTo>
                <a:lnTo>
                  <a:pt x="9512" y="4806"/>
                </a:lnTo>
                <a:lnTo>
                  <a:pt x="9519" y="4814"/>
                </a:lnTo>
                <a:lnTo>
                  <a:pt x="9524" y="4823"/>
                </a:lnTo>
                <a:lnTo>
                  <a:pt x="9526" y="4828"/>
                </a:lnTo>
                <a:lnTo>
                  <a:pt x="9527" y="4834"/>
                </a:lnTo>
                <a:lnTo>
                  <a:pt x="9528" y="4839"/>
                </a:lnTo>
                <a:lnTo>
                  <a:pt x="9528" y="4845"/>
                </a:lnTo>
                <a:lnTo>
                  <a:pt x="9528" y="6330"/>
                </a:lnTo>
                <a:lnTo>
                  <a:pt x="9528" y="6336"/>
                </a:lnTo>
                <a:lnTo>
                  <a:pt x="9527" y="6341"/>
                </a:lnTo>
                <a:lnTo>
                  <a:pt x="9526" y="6346"/>
                </a:lnTo>
                <a:lnTo>
                  <a:pt x="9524" y="6351"/>
                </a:lnTo>
                <a:lnTo>
                  <a:pt x="9519" y="6360"/>
                </a:lnTo>
                <a:lnTo>
                  <a:pt x="9512" y="6368"/>
                </a:lnTo>
                <a:lnTo>
                  <a:pt x="9503" y="6375"/>
                </a:lnTo>
                <a:lnTo>
                  <a:pt x="9494" y="6381"/>
                </a:lnTo>
                <a:lnTo>
                  <a:pt x="9489" y="6383"/>
                </a:lnTo>
                <a:lnTo>
                  <a:pt x="9484" y="6384"/>
                </a:lnTo>
                <a:lnTo>
                  <a:pt x="9479" y="6385"/>
                </a:lnTo>
                <a:lnTo>
                  <a:pt x="9473" y="6385"/>
                </a:lnTo>
                <a:lnTo>
                  <a:pt x="9350" y="6385"/>
                </a:lnTo>
                <a:lnTo>
                  <a:pt x="9344" y="6385"/>
                </a:lnTo>
                <a:lnTo>
                  <a:pt x="9339" y="6384"/>
                </a:lnTo>
                <a:lnTo>
                  <a:pt x="9333" y="6383"/>
                </a:lnTo>
                <a:lnTo>
                  <a:pt x="9329" y="6381"/>
                </a:lnTo>
                <a:lnTo>
                  <a:pt x="9319" y="6375"/>
                </a:lnTo>
                <a:lnTo>
                  <a:pt x="9311" y="6368"/>
                </a:lnTo>
                <a:lnTo>
                  <a:pt x="9305" y="6360"/>
                </a:lnTo>
                <a:lnTo>
                  <a:pt x="9300" y="6351"/>
                </a:lnTo>
                <a:lnTo>
                  <a:pt x="9298" y="6346"/>
                </a:lnTo>
                <a:lnTo>
                  <a:pt x="9297" y="6341"/>
                </a:lnTo>
                <a:lnTo>
                  <a:pt x="9296" y="6336"/>
                </a:lnTo>
                <a:lnTo>
                  <a:pt x="9296" y="6330"/>
                </a:lnTo>
                <a:lnTo>
                  <a:pt x="9296" y="4845"/>
                </a:lnTo>
                <a:lnTo>
                  <a:pt x="9296" y="4839"/>
                </a:lnTo>
                <a:lnTo>
                  <a:pt x="9297" y="4834"/>
                </a:lnTo>
                <a:lnTo>
                  <a:pt x="9298" y="4828"/>
                </a:lnTo>
                <a:lnTo>
                  <a:pt x="9300" y="4823"/>
                </a:lnTo>
                <a:lnTo>
                  <a:pt x="9305" y="4814"/>
                </a:lnTo>
                <a:lnTo>
                  <a:pt x="9311" y="4806"/>
                </a:lnTo>
                <a:lnTo>
                  <a:pt x="9319" y="4799"/>
                </a:lnTo>
                <a:lnTo>
                  <a:pt x="9329" y="4794"/>
                </a:lnTo>
                <a:lnTo>
                  <a:pt x="9333" y="4792"/>
                </a:lnTo>
                <a:lnTo>
                  <a:pt x="9339" y="4791"/>
                </a:lnTo>
                <a:lnTo>
                  <a:pt x="9344" y="4790"/>
                </a:lnTo>
                <a:lnTo>
                  <a:pt x="9350" y="4790"/>
                </a:lnTo>
                <a:close/>
                <a:moveTo>
                  <a:pt x="9801" y="4790"/>
                </a:moveTo>
                <a:lnTo>
                  <a:pt x="9924" y="4790"/>
                </a:lnTo>
                <a:lnTo>
                  <a:pt x="9930" y="4790"/>
                </a:lnTo>
                <a:lnTo>
                  <a:pt x="9936" y="4791"/>
                </a:lnTo>
                <a:lnTo>
                  <a:pt x="9941" y="4792"/>
                </a:lnTo>
                <a:lnTo>
                  <a:pt x="9946" y="4794"/>
                </a:lnTo>
                <a:lnTo>
                  <a:pt x="9955" y="4799"/>
                </a:lnTo>
                <a:lnTo>
                  <a:pt x="9963" y="4806"/>
                </a:lnTo>
                <a:lnTo>
                  <a:pt x="9969" y="4814"/>
                </a:lnTo>
                <a:lnTo>
                  <a:pt x="9974" y="4823"/>
                </a:lnTo>
                <a:lnTo>
                  <a:pt x="9976" y="4828"/>
                </a:lnTo>
                <a:lnTo>
                  <a:pt x="9977" y="4834"/>
                </a:lnTo>
                <a:lnTo>
                  <a:pt x="9978" y="4839"/>
                </a:lnTo>
                <a:lnTo>
                  <a:pt x="9979" y="4845"/>
                </a:lnTo>
                <a:lnTo>
                  <a:pt x="9979" y="6330"/>
                </a:lnTo>
                <a:lnTo>
                  <a:pt x="9978" y="6336"/>
                </a:lnTo>
                <a:lnTo>
                  <a:pt x="9977" y="6341"/>
                </a:lnTo>
                <a:lnTo>
                  <a:pt x="9976" y="6346"/>
                </a:lnTo>
                <a:lnTo>
                  <a:pt x="9974" y="6351"/>
                </a:lnTo>
                <a:lnTo>
                  <a:pt x="9969" y="6360"/>
                </a:lnTo>
                <a:lnTo>
                  <a:pt x="9963" y="6368"/>
                </a:lnTo>
                <a:lnTo>
                  <a:pt x="9955" y="6375"/>
                </a:lnTo>
                <a:lnTo>
                  <a:pt x="9946" y="6381"/>
                </a:lnTo>
                <a:lnTo>
                  <a:pt x="9941" y="6383"/>
                </a:lnTo>
                <a:lnTo>
                  <a:pt x="9936" y="6384"/>
                </a:lnTo>
                <a:lnTo>
                  <a:pt x="9930" y="6385"/>
                </a:lnTo>
                <a:lnTo>
                  <a:pt x="9924" y="6385"/>
                </a:lnTo>
                <a:lnTo>
                  <a:pt x="9801" y="6385"/>
                </a:lnTo>
                <a:lnTo>
                  <a:pt x="9796" y="6385"/>
                </a:lnTo>
                <a:lnTo>
                  <a:pt x="9790" y="6384"/>
                </a:lnTo>
                <a:lnTo>
                  <a:pt x="9785" y="6383"/>
                </a:lnTo>
                <a:lnTo>
                  <a:pt x="9780" y="6381"/>
                </a:lnTo>
                <a:lnTo>
                  <a:pt x="9771" y="6375"/>
                </a:lnTo>
                <a:lnTo>
                  <a:pt x="9762" y="6368"/>
                </a:lnTo>
                <a:lnTo>
                  <a:pt x="9755" y="6360"/>
                </a:lnTo>
                <a:lnTo>
                  <a:pt x="9750" y="6351"/>
                </a:lnTo>
                <a:lnTo>
                  <a:pt x="9749" y="6346"/>
                </a:lnTo>
                <a:lnTo>
                  <a:pt x="9747" y="6341"/>
                </a:lnTo>
                <a:lnTo>
                  <a:pt x="9746" y="6336"/>
                </a:lnTo>
                <a:lnTo>
                  <a:pt x="9746" y="6330"/>
                </a:lnTo>
                <a:lnTo>
                  <a:pt x="9746" y="4845"/>
                </a:lnTo>
                <a:lnTo>
                  <a:pt x="9746" y="4839"/>
                </a:lnTo>
                <a:lnTo>
                  <a:pt x="9747" y="4834"/>
                </a:lnTo>
                <a:lnTo>
                  <a:pt x="9749" y="4828"/>
                </a:lnTo>
                <a:lnTo>
                  <a:pt x="9750" y="4823"/>
                </a:lnTo>
                <a:lnTo>
                  <a:pt x="9755" y="4814"/>
                </a:lnTo>
                <a:lnTo>
                  <a:pt x="9762" y="4806"/>
                </a:lnTo>
                <a:lnTo>
                  <a:pt x="9771" y="4799"/>
                </a:lnTo>
                <a:lnTo>
                  <a:pt x="9780" y="4794"/>
                </a:lnTo>
                <a:lnTo>
                  <a:pt x="9785" y="4792"/>
                </a:lnTo>
                <a:lnTo>
                  <a:pt x="9790" y="4791"/>
                </a:lnTo>
                <a:lnTo>
                  <a:pt x="9796" y="4790"/>
                </a:lnTo>
                <a:lnTo>
                  <a:pt x="9801" y="4790"/>
                </a:lnTo>
                <a:close/>
                <a:moveTo>
                  <a:pt x="3710" y="2812"/>
                </a:moveTo>
                <a:lnTo>
                  <a:pt x="3710" y="685"/>
                </a:lnTo>
                <a:lnTo>
                  <a:pt x="2995" y="685"/>
                </a:lnTo>
                <a:lnTo>
                  <a:pt x="2996" y="355"/>
                </a:lnTo>
                <a:lnTo>
                  <a:pt x="3485" y="0"/>
                </a:lnTo>
                <a:lnTo>
                  <a:pt x="7844" y="397"/>
                </a:lnTo>
                <a:lnTo>
                  <a:pt x="7844" y="685"/>
                </a:lnTo>
                <a:lnTo>
                  <a:pt x="3986" y="685"/>
                </a:lnTo>
                <a:lnTo>
                  <a:pt x="3986" y="2812"/>
                </a:lnTo>
                <a:lnTo>
                  <a:pt x="6106" y="2812"/>
                </a:lnTo>
                <a:lnTo>
                  <a:pt x="5967" y="2461"/>
                </a:lnTo>
                <a:lnTo>
                  <a:pt x="5948" y="2463"/>
                </a:lnTo>
                <a:lnTo>
                  <a:pt x="5929" y="2463"/>
                </a:lnTo>
                <a:lnTo>
                  <a:pt x="5910" y="2462"/>
                </a:lnTo>
                <a:lnTo>
                  <a:pt x="5891" y="2459"/>
                </a:lnTo>
                <a:lnTo>
                  <a:pt x="5872" y="2456"/>
                </a:lnTo>
                <a:lnTo>
                  <a:pt x="5853" y="2450"/>
                </a:lnTo>
                <a:lnTo>
                  <a:pt x="5834" y="2443"/>
                </a:lnTo>
                <a:lnTo>
                  <a:pt x="5816" y="2435"/>
                </a:lnTo>
                <a:lnTo>
                  <a:pt x="5803" y="2429"/>
                </a:lnTo>
                <a:lnTo>
                  <a:pt x="5790" y="2422"/>
                </a:lnTo>
                <a:lnTo>
                  <a:pt x="5779" y="2415"/>
                </a:lnTo>
                <a:lnTo>
                  <a:pt x="5768" y="2407"/>
                </a:lnTo>
                <a:lnTo>
                  <a:pt x="5757" y="2398"/>
                </a:lnTo>
                <a:lnTo>
                  <a:pt x="5747" y="2389"/>
                </a:lnTo>
                <a:lnTo>
                  <a:pt x="5736" y="2379"/>
                </a:lnTo>
                <a:lnTo>
                  <a:pt x="5727" y="2370"/>
                </a:lnTo>
                <a:lnTo>
                  <a:pt x="5719" y="2360"/>
                </a:lnTo>
                <a:lnTo>
                  <a:pt x="5711" y="2348"/>
                </a:lnTo>
                <a:lnTo>
                  <a:pt x="5703" y="2337"/>
                </a:lnTo>
                <a:lnTo>
                  <a:pt x="5696" y="2326"/>
                </a:lnTo>
                <a:lnTo>
                  <a:pt x="5689" y="2315"/>
                </a:lnTo>
                <a:lnTo>
                  <a:pt x="5683" y="2303"/>
                </a:lnTo>
                <a:lnTo>
                  <a:pt x="5678" y="2290"/>
                </a:lnTo>
                <a:lnTo>
                  <a:pt x="5673" y="2277"/>
                </a:lnTo>
                <a:lnTo>
                  <a:pt x="5669" y="2265"/>
                </a:lnTo>
                <a:lnTo>
                  <a:pt x="5666" y="2252"/>
                </a:lnTo>
                <a:lnTo>
                  <a:pt x="5663" y="2239"/>
                </a:lnTo>
                <a:lnTo>
                  <a:pt x="5660" y="2226"/>
                </a:lnTo>
                <a:lnTo>
                  <a:pt x="5659" y="2213"/>
                </a:lnTo>
                <a:lnTo>
                  <a:pt x="5658" y="2200"/>
                </a:lnTo>
                <a:lnTo>
                  <a:pt x="5657" y="2185"/>
                </a:lnTo>
                <a:lnTo>
                  <a:pt x="5658" y="2172"/>
                </a:lnTo>
                <a:lnTo>
                  <a:pt x="5658" y="2159"/>
                </a:lnTo>
                <a:lnTo>
                  <a:pt x="5660" y="2146"/>
                </a:lnTo>
                <a:lnTo>
                  <a:pt x="5662" y="2131"/>
                </a:lnTo>
                <a:lnTo>
                  <a:pt x="5665" y="2118"/>
                </a:lnTo>
                <a:lnTo>
                  <a:pt x="5669" y="2105"/>
                </a:lnTo>
                <a:lnTo>
                  <a:pt x="5673" y="2091"/>
                </a:lnTo>
                <a:lnTo>
                  <a:pt x="5678" y="2078"/>
                </a:lnTo>
                <a:lnTo>
                  <a:pt x="5684" y="2065"/>
                </a:lnTo>
                <a:lnTo>
                  <a:pt x="5690" y="2053"/>
                </a:lnTo>
                <a:lnTo>
                  <a:pt x="5698" y="2041"/>
                </a:lnTo>
                <a:lnTo>
                  <a:pt x="5705" y="2028"/>
                </a:lnTo>
                <a:lnTo>
                  <a:pt x="5713" y="2017"/>
                </a:lnTo>
                <a:lnTo>
                  <a:pt x="5722" y="2006"/>
                </a:lnTo>
                <a:lnTo>
                  <a:pt x="5731" y="1996"/>
                </a:lnTo>
                <a:lnTo>
                  <a:pt x="5740" y="1986"/>
                </a:lnTo>
                <a:lnTo>
                  <a:pt x="5751" y="1977"/>
                </a:lnTo>
                <a:lnTo>
                  <a:pt x="5761" y="1968"/>
                </a:lnTo>
                <a:lnTo>
                  <a:pt x="5771" y="1960"/>
                </a:lnTo>
                <a:lnTo>
                  <a:pt x="5782" y="1952"/>
                </a:lnTo>
                <a:lnTo>
                  <a:pt x="5793" y="1946"/>
                </a:lnTo>
                <a:lnTo>
                  <a:pt x="5806" y="1939"/>
                </a:lnTo>
                <a:lnTo>
                  <a:pt x="5817" y="1932"/>
                </a:lnTo>
                <a:lnTo>
                  <a:pt x="5829" y="1927"/>
                </a:lnTo>
                <a:lnTo>
                  <a:pt x="5842" y="1922"/>
                </a:lnTo>
                <a:lnTo>
                  <a:pt x="5855" y="1918"/>
                </a:lnTo>
                <a:lnTo>
                  <a:pt x="5868" y="1915"/>
                </a:lnTo>
                <a:lnTo>
                  <a:pt x="5880" y="1912"/>
                </a:lnTo>
                <a:lnTo>
                  <a:pt x="5893" y="1910"/>
                </a:lnTo>
                <a:lnTo>
                  <a:pt x="5907" y="1908"/>
                </a:lnTo>
                <a:lnTo>
                  <a:pt x="5921" y="1907"/>
                </a:lnTo>
                <a:lnTo>
                  <a:pt x="5934" y="1907"/>
                </a:lnTo>
                <a:lnTo>
                  <a:pt x="5947" y="1907"/>
                </a:lnTo>
                <a:lnTo>
                  <a:pt x="5961" y="1908"/>
                </a:lnTo>
                <a:lnTo>
                  <a:pt x="5975" y="1909"/>
                </a:lnTo>
                <a:lnTo>
                  <a:pt x="5988" y="1912"/>
                </a:lnTo>
                <a:lnTo>
                  <a:pt x="6001" y="1914"/>
                </a:lnTo>
                <a:lnTo>
                  <a:pt x="6015" y="1918"/>
                </a:lnTo>
                <a:lnTo>
                  <a:pt x="6028" y="1922"/>
                </a:lnTo>
                <a:lnTo>
                  <a:pt x="6041" y="1927"/>
                </a:lnTo>
                <a:lnTo>
                  <a:pt x="6054" y="1933"/>
                </a:lnTo>
                <a:lnTo>
                  <a:pt x="6068" y="1940"/>
                </a:lnTo>
                <a:lnTo>
                  <a:pt x="6080" y="1947"/>
                </a:lnTo>
                <a:lnTo>
                  <a:pt x="6091" y="1955"/>
                </a:lnTo>
                <a:lnTo>
                  <a:pt x="6102" y="1963"/>
                </a:lnTo>
                <a:lnTo>
                  <a:pt x="6113" y="1971"/>
                </a:lnTo>
                <a:lnTo>
                  <a:pt x="6124" y="1980"/>
                </a:lnTo>
                <a:lnTo>
                  <a:pt x="6134" y="1990"/>
                </a:lnTo>
                <a:lnTo>
                  <a:pt x="6143" y="2000"/>
                </a:lnTo>
                <a:lnTo>
                  <a:pt x="6151" y="2010"/>
                </a:lnTo>
                <a:lnTo>
                  <a:pt x="6159" y="2020"/>
                </a:lnTo>
                <a:lnTo>
                  <a:pt x="6167" y="2031"/>
                </a:lnTo>
                <a:lnTo>
                  <a:pt x="6175" y="2043"/>
                </a:lnTo>
                <a:lnTo>
                  <a:pt x="6181" y="2055"/>
                </a:lnTo>
                <a:lnTo>
                  <a:pt x="6187" y="2067"/>
                </a:lnTo>
                <a:lnTo>
                  <a:pt x="6192" y="2079"/>
                </a:lnTo>
                <a:lnTo>
                  <a:pt x="6197" y="2091"/>
                </a:lnTo>
                <a:lnTo>
                  <a:pt x="6201" y="2104"/>
                </a:lnTo>
                <a:lnTo>
                  <a:pt x="6204" y="2117"/>
                </a:lnTo>
                <a:lnTo>
                  <a:pt x="6207" y="2130"/>
                </a:lnTo>
                <a:lnTo>
                  <a:pt x="6210" y="2143"/>
                </a:lnTo>
                <a:lnTo>
                  <a:pt x="6211" y="2157"/>
                </a:lnTo>
                <a:lnTo>
                  <a:pt x="6212" y="2170"/>
                </a:lnTo>
                <a:lnTo>
                  <a:pt x="6213" y="2183"/>
                </a:lnTo>
                <a:lnTo>
                  <a:pt x="6212" y="2197"/>
                </a:lnTo>
                <a:lnTo>
                  <a:pt x="6212" y="2211"/>
                </a:lnTo>
                <a:lnTo>
                  <a:pt x="6210" y="2224"/>
                </a:lnTo>
                <a:lnTo>
                  <a:pt x="6208" y="2237"/>
                </a:lnTo>
                <a:lnTo>
                  <a:pt x="6205" y="2251"/>
                </a:lnTo>
                <a:lnTo>
                  <a:pt x="6201" y="2265"/>
                </a:lnTo>
                <a:lnTo>
                  <a:pt x="6197" y="2278"/>
                </a:lnTo>
                <a:lnTo>
                  <a:pt x="6192" y="2291"/>
                </a:lnTo>
                <a:lnTo>
                  <a:pt x="6186" y="2304"/>
                </a:lnTo>
                <a:lnTo>
                  <a:pt x="6178" y="2321"/>
                </a:lnTo>
                <a:lnTo>
                  <a:pt x="6169" y="2336"/>
                </a:lnTo>
                <a:lnTo>
                  <a:pt x="6158" y="2351"/>
                </a:lnTo>
                <a:lnTo>
                  <a:pt x="6147" y="2365"/>
                </a:lnTo>
                <a:lnTo>
                  <a:pt x="6135" y="2378"/>
                </a:lnTo>
                <a:lnTo>
                  <a:pt x="6122" y="2390"/>
                </a:lnTo>
                <a:lnTo>
                  <a:pt x="6108" y="2401"/>
                </a:lnTo>
                <a:lnTo>
                  <a:pt x="6094" y="2412"/>
                </a:lnTo>
                <a:lnTo>
                  <a:pt x="6254" y="2812"/>
                </a:lnTo>
                <a:lnTo>
                  <a:pt x="6428" y="2812"/>
                </a:lnTo>
                <a:lnTo>
                  <a:pt x="6611" y="2446"/>
                </a:lnTo>
                <a:lnTo>
                  <a:pt x="9108" y="3608"/>
                </a:lnTo>
                <a:lnTo>
                  <a:pt x="9108" y="1765"/>
                </a:lnTo>
                <a:lnTo>
                  <a:pt x="9109" y="1752"/>
                </a:lnTo>
                <a:lnTo>
                  <a:pt x="9111" y="1738"/>
                </a:lnTo>
                <a:lnTo>
                  <a:pt x="9114" y="1724"/>
                </a:lnTo>
                <a:lnTo>
                  <a:pt x="9119" y="1712"/>
                </a:lnTo>
                <a:lnTo>
                  <a:pt x="9125" y="1700"/>
                </a:lnTo>
                <a:lnTo>
                  <a:pt x="9131" y="1689"/>
                </a:lnTo>
                <a:lnTo>
                  <a:pt x="9140" y="1677"/>
                </a:lnTo>
                <a:lnTo>
                  <a:pt x="9149" y="1668"/>
                </a:lnTo>
                <a:lnTo>
                  <a:pt x="9159" y="1659"/>
                </a:lnTo>
                <a:lnTo>
                  <a:pt x="9169" y="1651"/>
                </a:lnTo>
                <a:lnTo>
                  <a:pt x="9180" y="1644"/>
                </a:lnTo>
                <a:lnTo>
                  <a:pt x="9193" y="1638"/>
                </a:lnTo>
                <a:lnTo>
                  <a:pt x="9206" y="1634"/>
                </a:lnTo>
                <a:lnTo>
                  <a:pt x="9219" y="1630"/>
                </a:lnTo>
                <a:lnTo>
                  <a:pt x="9232" y="1628"/>
                </a:lnTo>
                <a:lnTo>
                  <a:pt x="9247" y="1628"/>
                </a:lnTo>
                <a:lnTo>
                  <a:pt x="9284" y="1628"/>
                </a:lnTo>
                <a:lnTo>
                  <a:pt x="9284" y="100"/>
                </a:lnTo>
                <a:lnTo>
                  <a:pt x="9284" y="94"/>
                </a:lnTo>
                <a:lnTo>
                  <a:pt x="9285" y="89"/>
                </a:lnTo>
                <a:lnTo>
                  <a:pt x="9286" y="84"/>
                </a:lnTo>
                <a:lnTo>
                  <a:pt x="9288" y="79"/>
                </a:lnTo>
                <a:lnTo>
                  <a:pt x="9294" y="68"/>
                </a:lnTo>
                <a:lnTo>
                  <a:pt x="9301" y="60"/>
                </a:lnTo>
                <a:lnTo>
                  <a:pt x="9309" y="54"/>
                </a:lnTo>
                <a:lnTo>
                  <a:pt x="9318" y="49"/>
                </a:lnTo>
                <a:lnTo>
                  <a:pt x="9323" y="47"/>
                </a:lnTo>
                <a:lnTo>
                  <a:pt x="9328" y="46"/>
                </a:lnTo>
                <a:lnTo>
                  <a:pt x="9333" y="45"/>
                </a:lnTo>
                <a:lnTo>
                  <a:pt x="9339" y="45"/>
                </a:lnTo>
                <a:lnTo>
                  <a:pt x="9463" y="45"/>
                </a:lnTo>
                <a:lnTo>
                  <a:pt x="9468" y="45"/>
                </a:lnTo>
                <a:lnTo>
                  <a:pt x="9473" y="46"/>
                </a:lnTo>
                <a:lnTo>
                  <a:pt x="9479" y="47"/>
                </a:lnTo>
                <a:lnTo>
                  <a:pt x="9484" y="49"/>
                </a:lnTo>
                <a:lnTo>
                  <a:pt x="9493" y="54"/>
                </a:lnTo>
                <a:lnTo>
                  <a:pt x="9501" y="60"/>
                </a:lnTo>
                <a:lnTo>
                  <a:pt x="9505" y="64"/>
                </a:lnTo>
                <a:lnTo>
                  <a:pt x="9508" y="68"/>
                </a:lnTo>
                <a:lnTo>
                  <a:pt x="9511" y="73"/>
                </a:lnTo>
                <a:lnTo>
                  <a:pt x="9513" y="79"/>
                </a:lnTo>
                <a:lnTo>
                  <a:pt x="9515" y="84"/>
                </a:lnTo>
                <a:lnTo>
                  <a:pt x="9516" y="89"/>
                </a:lnTo>
                <a:lnTo>
                  <a:pt x="9517" y="94"/>
                </a:lnTo>
                <a:lnTo>
                  <a:pt x="9517" y="100"/>
                </a:lnTo>
                <a:lnTo>
                  <a:pt x="9517" y="1628"/>
                </a:lnTo>
                <a:lnTo>
                  <a:pt x="9555" y="1628"/>
                </a:lnTo>
                <a:lnTo>
                  <a:pt x="9569" y="1628"/>
                </a:lnTo>
                <a:lnTo>
                  <a:pt x="9583" y="1630"/>
                </a:lnTo>
                <a:lnTo>
                  <a:pt x="9596" y="1634"/>
                </a:lnTo>
                <a:lnTo>
                  <a:pt x="9608" y="1638"/>
                </a:lnTo>
                <a:lnTo>
                  <a:pt x="9621" y="1644"/>
                </a:lnTo>
                <a:lnTo>
                  <a:pt x="9632" y="1651"/>
                </a:lnTo>
                <a:lnTo>
                  <a:pt x="9643" y="1659"/>
                </a:lnTo>
                <a:lnTo>
                  <a:pt x="9652" y="1668"/>
                </a:lnTo>
                <a:lnTo>
                  <a:pt x="9661" y="1677"/>
                </a:lnTo>
                <a:lnTo>
                  <a:pt x="9670" y="1689"/>
                </a:lnTo>
                <a:lnTo>
                  <a:pt x="9677" y="1700"/>
                </a:lnTo>
                <a:lnTo>
                  <a:pt x="9683" y="1712"/>
                </a:lnTo>
                <a:lnTo>
                  <a:pt x="9687" y="1724"/>
                </a:lnTo>
                <a:lnTo>
                  <a:pt x="9690" y="1738"/>
                </a:lnTo>
                <a:lnTo>
                  <a:pt x="9693" y="1752"/>
                </a:lnTo>
                <a:lnTo>
                  <a:pt x="9693" y="1765"/>
                </a:lnTo>
                <a:lnTo>
                  <a:pt x="9693" y="3859"/>
                </a:lnTo>
                <a:lnTo>
                  <a:pt x="9693" y="3869"/>
                </a:lnTo>
                <a:lnTo>
                  <a:pt x="9692" y="3879"/>
                </a:lnTo>
                <a:lnTo>
                  <a:pt x="10884" y="4433"/>
                </a:lnTo>
                <a:lnTo>
                  <a:pt x="15127" y="4433"/>
                </a:lnTo>
                <a:lnTo>
                  <a:pt x="15162" y="4433"/>
                </a:lnTo>
                <a:lnTo>
                  <a:pt x="15195" y="4452"/>
                </a:lnTo>
                <a:lnTo>
                  <a:pt x="16072" y="4958"/>
                </a:lnTo>
                <a:lnTo>
                  <a:pt x="16141" y="4999"/>
                </a:lnTo>
                <a:lnTo>
                  <a:pt x="16141" y="5077"/>
                </a:lnTo>
                <a:lnTo>
                  <a:pt x="16141" y="6570"/>
                </a:lnTo>
                <a:lnTo>
                  <a:pt x="16169" y="6570"/>
                </a:lnTo>
                <a:lnTo>
                  <a:pt x="16308" y="6570"/>
                </a:lnTo>
                <a:lnTo>
                  <a:pt x="16308" y="6708"/>
                </a:lnTo>
                <a:lnTo>
                  <a:pt x="16308" y="7828"/>
                </a:lnTo>
                <a:lnTo>
                  <a:pt x="16308" y="7966"/>
                </a:lnTo>
                <a:lnTo>
                  <a:pt x="16169" y="7966"/>
                </a:lnTo>
                <a:lnTo>
                  <a:pt x="14120" y="7966"/>
                </a:lnTo>
                <a:lnTo>
                  <a:pt x="14105" y="7986"/>
                </a:lnTo>
                <a:lnTo>
                  <a:pt x="14089" y="8004"/>
                </a:lnTo>
                <a:lnTo>
                  <a:pt x="14073" y="8022"/>
                </a:lnTo>
                <a:lnTo>
                  <a:pt x="14056" y="8041"/>
                </a:lnTo>
                <a:lnTo>
                  <a:pt x="14039" y="8058"/>
                </a:lnTo>
                <a:lnTo>
                  <a:pt x="14021" y="8075"/>
                </a:lnTo>
                <a:lnTo>
                  <a:pt x="14002" y="8092"/>
                </a:lnTo>
                <a:lnTo>
                  <a:pt x="13984" y="8108"/>
                </a:lnTo>
                <a:lnTo>
                  <a:pt x="13965" y="8123"/>
                </a:lnTo>
                <a:lnTo>
                  <a:pt x="13945" y="8139"/>
                </a:lnTo>
                <a:lnTo>
                  <a:pt x="13925" y="8153"/>
                </a:lnTo>
                <a:lnTo>
                  <a:pt x="13905" y="8166"/>
                </a:lnTo>
                <a:lnTo>
                  <a:pt x="13884" y="8180"/>
                </a:lnTo>
                <a:lnTo>
                  <a:pt x="13863" y="8193"/>
                </a:lnTo>
                <a:lnTo>
                  <a:pt x="13841" y="8205"/>
                </a:lnTo>
                <a:lnTo>
                  <a:pt x="13819" y="8216"/>
                </a:lnTo>
                <a:lnTo>
                  <a:pt x="13798" y="8227"/>
                </a:lnTo>
                <a:lnTo>
                  <a:pt x="13774" y="8237"/>
                </a:lnTo>
                <a:lnTo>
                  <a:pt x="13752" y="8248"/>
                </a:lnTo>
                <a:lnTo>
                  <a:pt x="13728" y="8256"/>
                </a:lnTo>
                <a:lnTo>
                  <a:pt x="13705" y="8265"/>
                </a:lnTo>
                <a:lnTo>
                  <a:pt x="13680" y="8272"/>
                </a:lnTo>
                <a:lnTo>
                  <a:pt x="13656" y="8279"/>
                </a:lnTo>
                <a:lnTo>
                  <a:pt x="13631" y="8285"/>
                </a:lnTo>
                <a:lnTo>
                  <a:pt x="13607" y="8292"/>
                </a:lnTo>
                <a:lnTo>
                  <a:pt x="13583" y="8297"/>
                </a:lnTo>
                <a:lnTo>
                  <a:pt x="13557" y="8301"/>
                </a:lnTo>
                <a:lnTo>
                  <a:pt x="13532" y="8304"/>
                </a:lnTo>
                <a:lnTo>
                  <a:pt x="13506" y="8307"/>
                </a:lnTo>
                <a:lnTo>
                  <a:pt x="13480" y="8309"/>
                </a:lnTo>
                <a:lnTo>
                  <a:pt x="13453" y="8310"/>
                </a:lnTo>
                <a:lnTo>
                  <a:pt x="13428" y="8310"/>
                </a:lnTo>
                <a:lnTo>
                  <a:pt x="4970" y="8310"/>
                </a:lnTo>
                <a:lnTo>
                  <a:pt x="4925" y="8309"/>
                </a:lnTo>
                <a:lnTo>
                  <a:pt x="4881" y="8306"/>
                </a:lnTo>
                <a:lnTo>
                  <a:pt x="4837" y="8300"/>
                </a:lnTo>
                <a:lnTo>
                  <a:pt x="4795" y="8293"/>
                </a:lnTo>
                <a:lnTo>
                  <a:pt x="4753" y="8282"/>
                </a:lnTo>
                <a:lnTo>
                  <a:pt x="4711" y="8270"/>
                </a:lnTo>
                <a:lnTo>
                  <a:pt x="4670" y="8257"/>
                </a:lnTo>
                <a:lnTo>
                  <a:pt x="4630" y="8242"/>
                </a:lnTo>
                <a:lnTo>
                  <a:pt x="4592" y="8223"/>
                </a:lnTo>
                <a:lnTo>
                  <a:pt x="4555" y="8204"/>
                </a:lnTo>
                <a:lnTo>
                  <a:pt x="4518" y="8183"/>
                </a:lnTo>
                <a:lnTo>
                  <a:pt x="4483" y="8160"/>
                </a:lnTo>
                <a:lnTo>
                  <a:pt x="4448" y="8136"/>
                </a:lnTo>
                <a:lnTo>
                  <a:pt x="4415" y="8110"/>
                </a:lnTo>
                <a:lnTo>
                  <a:pt x="4384" y="8082"/>
                </a:lnTo>
                <a:lnTo>
                  <a:pt x="4353" y="8054"/>
                </a:lnTo>
                <a:lnTo>
                  <a:pt x="4325" y="8023"/>
                </a:lnTo>
                <a:lnTo>
                  <a:pt x="4297" y="7992"/>
                </a:lnTo>
                <a:lnTo>
                  <a:pt x="4271" y="7958"/>
                </a:lnTo>
                <a:lnTo>
                  <a:pt x="4246" y="7924"/>
                </a:lnTo>
                <a:lnTo>
                  <a:pt x="4224" y="7889"/>
                </a:lnTo>
                <a:lnTo>
                  <a:pt x="4202" y="7852"/>
                </a:lnTo>
                <a:lnTo>
                  <a:pt x="4183" y="7814"/>
                </a:lnTo>
                <a:lnTo>
                  <a:pt x="4166" y="7776"/>
                </a:lnTo>
                <a:lnTo>
                  <a:pt x="4150" y="7736"/>
                </a:lnTo>
                <a:lnTo>
                  <a:pt x="4136" y="7696"/>
                </a:lnTo>
                <a:lnTo>
                  <a:pt x="4124" y="7654"/>
                </a:lnTo>
                <a:lnTo>
                  <a:pt x="4115" y="7612"/>
                </a:lnTo>
                <a:lnTo>
                  <a:pt x="4107" y="7570"/>
                </a:lnTo>
                <a:lnTo>
                  <a:pt x="4101" y="7526"/>
                </a:lnTo>
                <a:lnTo>
                  <a:pt x="4098" y="7482"/>
                </a:lnTo>
                <a:lnTo>
                  <a:pt x="4096" y="7437"/>
                </a:lnTo>
                <a:lnTo>
                  <a:pt x="4096" y="7436"/>
                </a:lnTo>
                <a:lnTo>
                  <a:pt x="4097" y="7423"/>
                </a:lnTo>
                <a:lnTo>
                  <a:pt x="4096" y="7428"/>
                </a:lnTo>
                <a:lnTo>
                  <a:pt x="3950" y="7428"/>
                </a:lnTo>
                <a:lnTo>
                  <a:pt x="3950" y="7157"/>
                </a:lnTo>
                <a:lnTo>
                  <a:pt x="3791" y="7157"/>
                </a:lnTo>
                <a:lnTo>
                  <a:pt x="4142" y="8131"/>
                </a:lnTo>
                <a:lnTo>
                  <a:pt x="4208" y="8316"/>
                </a:lnTo>
                <a:lnTo>
                  <a:pt x="4013" y="8316"/>
                </a:lnTo>
                <a:lnTo>
                  <a:pt x="3770" y="8316"/>
                </a:lnTo>
                <a:lnTo>
                  <a:pt x="3529" y="8316"/>
                </a:lnTo>
                <a:lnTo>
                  <a:pt x="3286" y="8316"/>
                </a:lnTo>
                <a:lnTo>
                  <a:pt x="3044" y="8316"/>
                </a:lnTo>
                <a:lnTo>
                  <a:pt x="2802" y="8316"/>
                </a:lnTo>
                <a:lnTo>
                  <a:pt x="2560" y="8316"/>
                </a:lnTo>
                <a:lnTo>
                  <a:pt x="2318" y="8316"/>
                </a:lnTo>
                <a:lnTo>
                  <a:pt x="2076" y="8316"/>
                </a:lnTo>
                <a:lnTo>
                  <a:pt x="1835" y="8316"/>
                </a:lnTo>
                <a:lnTo>
                  <a:pt x="1592" y="8316"/>
                </a:lnTo>
                <a:lnTo>
                  <a:pt x="1351" y="8316"/>
                </a:lnTo>
                <a:lnTo>
                  <a:pt x="1108" y="8316"/>
                </a:lnTo>
                <a:lnTo>
                  <a:pt x="866" y="8316"/>
                </a:lnTo>
                <a:lnTo>
                  <a:pt x="624" y="8316"/>
                </a:lnTo>
                <a:lnTo>
                  <a:pt x="382" y="8316"/>
                </a:lnTo>
                <a:lnTo>
                  <a:pt x="140" y="8316"/>
                </a:lnTo>
                <a:lnTo>
                  <a:pt x="2" y="8316"/>
                </a:lnTo>
                <a:lnTo>
                  <a:pt x="2" y="8177"/>
                </a:lnTo>
                <a:lnTo>
                  <a:pt x="0" y="7018"/>
                </a:lnTo>
                <a:lnTo>
                  <a:pt x="0" y="6880"/>
                </a:lnTo>
                <a:lnTo>
                  <a:pt x="138" y="6880"/>
                </a:lnTo>
                <a:lnTo>
                  <a:pt x="147" y="6880"/>
                </a:lnTo>
                <a:lnTo>
                  <a:pt x="147" y="6529"/>
                </a:lnTo>
                <a:lnTo>
                  <a:pt x="148" y="6508"/>
                </a:lnTo>
                <a:lnTo>
                  <a:pt x="150" y="6488"/>
                </a:lnTo>
                <a:lnTo>
                  <a:pt x="152" y="6466"/>
                </a:lnTo>
                <a:lnTo>
                  <a:pt x="156" y="6446"/>
                </a:lnTo>
                <a:lnTo>
                  <a:pt x="160" y="6426"/>
                </a:lnTo>
                <a:lnTo>
                  <a:pt x="166" y="6406"/>
                </a:lnTo>
                <a:lnTo>
                  <a:pt x="172" y="6388"/>
                </a:lnTo>
                <a:lnTo>
                  <a:pt x="180" y="6368"/>
                </a:lnTo>
                <a:lnTo>
                  <a:pt x="189" y="6350"/>
                </a:lnTo>
                <a:lnTo>
                  <a:pt x="198" y="6333"/>
                </a:lnTo>
                <a:lnTo>
                  <a:pt x="208" y="6315"/>
                </a:lnTo>
                <a:lnTo>
                  <a:pt x="218" y="6298"/>
                </a:lnTo>
                <a:lnTo>
                  <a:pt x="229" y="6282"/>
                </a:lnTo>
                <a:lnTo>
                  <a:pt x="243" y="6266"/>
                </a:lnTo>
                <a:lnTo>
                  <a:pt x="255" y="6251"/>
                </a:lnTo>
                <a:lnTo>
                  <a:pt x="269" y="6237"/>
                </a:lnTo>
                <a:lnTo>
                  <a:pt x="283" y="6222"/>
                </a:lnTo>
                <a:lnTo>
                  <a:pt x="299" y="6210"/>
                </a:lnTo>
                <a:lnTo>
                  <a:pt x="314" y="6198"/>
                </a:lnTo>
                <a:lnTo>
                  <a:pt x="330" y="6186"/>
                </a:lnTo>
                <a:lnTo>
                  <a:pt x="347" y="6176"/>
                </a:lnTo>
                <a:lnTo>
                  <a:pt x="365" y="6165"/>
                </a:lnTo>
                <a:lnTo>
                  <a:pt x="382" y="6156"/>
                </a:lnTo>
                <a:lnTo>
                  <a:pt x="401" y="6148"/>
                </a:lnTo>
                <a:lnTo>
                  <a:pt x="420" y="6140"/>
                </a:lnTo>
                <a:lnTo>
                  <a:pt x="438" y="6134"/>
                </a:lnTo>
                <a:lnTo>
                  <a:pt x="459" y="6128"/>
                </a:lnTo>
                <a:lnTo>
                  <a:pt x="478" y="6124"/>
                </a:lnTo>
                <a:lnTo>
                  <a:pt x="498" y="6119"/>
                </a:lnTo>
                <a:lnTo>
                  <a:pt x="520" y="6117"/>
                </a:lnTo>
                <a:lnTo>
                  <a:pt x="540" y="6115"/>
                </a:lnTo>
                <a:lnTo>
                  <a:pt x="562" y="6115"/>
                </a:lnTo>
                <a:lnTo>
                  <a:pt x="1507" y="6115"/>
                </a:lnTo>
                <a:lnTo>
                  <a:pt x="1507" y="6076"/>
                </a:lnTo>
                <a:lnTo>
                  <a:pt x="1507" y="5938"/>
                </a:lnTo>
                <a:lnTo>
                  <a:pt x="1646" y="5938"/>
                </a:lnTo>
                <a:lnTo>
                  <a:pt x="2302" y="5938"/>
                </a:lnTo>
                <a:lnTo>
                  <a:pt x="2302" y="5647"/>
                </a:lnTo>
                <a:lnTo>
                  <a:pt x="2302" y="5633"/>
                </a:lnTo>
                <a:lnTo>
                  <a:pt x="2304" y="5619"/>
                </a:lnTo>
                <a:lnTo>
                  <a:pt x="2306" y="5605"/>
                </a:lnTo>
                <a:lnTo>
                  <a:pt x="2308" y="5591"/>
                </a:lnTo>
                <a:lnTo>
                  <a:pt x="2311" y="5578"/>
                </a:lnTo>
                <a:lnTo>
                  <a:pt x="2315" y="5565"/>
                </a:lnTo>
                <a:lnTo>
                  <a:pt x="2319" y="5552"/>
                </a:lnTo>
                <a:lnTo>
                  <a:pt x="2324" y="5539"/>
                </a:lnTo>
                <a:lnTo>
                  <a:pt x="2330" y="5527"/>
                </a:lnTo>
                <a:lnTo>
                  <a:pt x="2336" y="5515"/>
                </a:lnTo>
                <a:lnTo>
                  <a:pt x="2342" y="5504"/>
                </a:lnTo>
                <a:lnTo>
                  <a:pt x="2349" y="5492"/>
                </a:lnTo>
                <a:lnTo>
                  <a:pt x="2358" y="5481"/>
                </a:lnTo>
                <a:lnTo>
                  <a:pt x="2366" y="5471"/>
                </a:lnTo>
                <a:lnTo>
                  <a:pt x="2374" y="5461"/>
                </a:lnTo>
                <a:lnTo>
                  <a:pt x="2383" y="5452"/>
                </a:lnTo>
                <a:lnTo>
                  <a:pt x="2384" y="5452"/>
                </a:lnTo>
                <a:lnTo>
                  <a:pt x="2393" y="5442"/>
                </a:lnTo>
                <a:lnTo>
                  <a:pt x="2403" y="5434"/>
                </a:lnTo>
                <a:lnTo>
                  <a:pt x="2414" y="5426"/>
                </a:lnTo>
                <a:lnTo>
                  <a:pt x="2425" y="5418"/>
                </a:lnTo>
                <a:lnTo>
                  <a:pt x="2436" y="5411"/>
                </a:lnTo>
                <a:lnTo>
                  <a:pt x="2447" y="5404"/>
                </a:lnTo>
                <a:lnTo>
                  <a:pt x="2459" y="5397"/>
                </a:lnTo>
                <a:lnTo>
                  <a:pt x="2472" y="5392"/>
                </a:lnTo>
                <a:lnTo>
                  <a:pt x="2484" y="5387"/>
                </a:lnTo>
                <a:lnTo>
                  <a:pt x="2497" y="5383"/>
                </a:lnTo>
                <a:lnTo>
                  <a:pt x="2510" y="5379"/>
                </a:lnTo>
                <a:lnTo>
                  <a:pt x="2524" y="5376"/>
                </a:lnTo>
                <a:lnTo>
                  <a:pt x="2537" y="5374"/>
                </a:lnTo>
                <a:lnTo>
                  <a:pt x="2551" y="5372"/>
                </a:lnTo>
                <a:lnTo>
                  <a:pt x="2564" y="5371"/>
                </a:lnTo>
                <a:lnTo>
                  <a:pt x="2579" y="5370"/>
                </a:lnTo>
                <a:lnTo>
                  <a:pt x="3076" y="5370"/>
                </a:lnTo>
                <a:lnTo>
                  <a:pt x="3705" y="3047"/>
                </a:lnTo>
                <a:lnTo>
                  <a:pt x="3708" y="3048"/>
                </a:lnTo>
                <a:lnTo>
                  <a:pt x="3708" y="2812"/>
                </a:lnTo>
                <a:lnTo>
                  <a:pt x="3710" y="2812"/>
                </a:lnTo>
                <a:close/>
                <a:moveTo>
                  <a:pt x="14262" y="7689"/>
                </a:moveTo>
                <a:lnTo>
                  <a:pt x="14272" y="7659"/>
                </a:lnTo>
                <a:lnTo>
                  <a:pt x="14279" y="7629"/>
                </a:lnTo>
                <a:lnTo>
                  <a:pt x="14285" y="7597"/>
                </a:lnTo>
                <a:lnTo>
                  <a:pt x="14291" y="7565"/>
                </a:lnTo>
                <a:lnTo>
                  <a:pt x="14295" y="7534"/>
                </a:lnTo>
                <a:lnTo>
                  <a:pt x="14298" y="7502"/>
                </a:lnTo>
                <a:lnTo>
                  <a:pt x="14299" y="7470"/>
                </a:lnTo>
                <a:lnTo>
                  <a:pt x="14300" y="7437"/>
                </a:lnTo>
                <a:lnTo>
                  <a:pt x="14300" y="7436"/>
                </a:lnTo>
                <a:lnTo>
                  <a:pt x="14299" y="7394"/>
                </a:lnTo>
                <a:lnTo>
                  <a:pt x="14296" y="7352"/>
                </a:lnTo>
                <a:lnTo>
                  <a:pt x="14291" y="7312"/>
                </a:lnTo>
                <a:lnTo>
                  <a:pt x="14284" y="7271"/>
                </a:lnTo>
                <a:lnTo>
                  <a:pt x="14276" y="7230"/>
                </a:lnTo>
                <a:lnTo>
                  <a:pt x="14264" y="7191"/>
                </a:lnTo>
                <a:lnTo>
                  <a:pt x="14252" y="7152"/>
                </a:lnTo>
                <a:lnTo>
                  <a:pt x="14238" y="7115"/>
                </a:lnTo>
                <a:lnTo>
                  <a:pt x="14223" y="7078"/>
                </a:lnTo>
                <a:lnTo>
                  <a:pt x="14205" y="7041"/>
                </a:lnTo>
                <a:lnTo>
                  <a:pt x="14186" y="7007"/>
                </a:lnTo>
                <a:lnTo>
                  <a:pt x="14166" y="6972"/>
                </a:lnTo>
                <a:lnTo>
                  <a:pt x="14144" y="6939"/>
                </a:lnTo>
                <a:lnTo>
                  <a:pt x="14121" y="6907"/>
                </a:lnTo>
                <a:lnTo>
                  <a:pt x="14095" y="6876"/>
                </a:lnTo>
                <a:lnTo>
                  <a:pt x="14070" y="6847"/>
                </a:lnTo>
                <a:lnTo>
                  <a:pt x="16032" y="6847"/>
                </a:lnTo>
                <a:lnTo>
                  <a:pt x="16032" y="7689"/>
                </a:lnTo>
                <a:lnTo>
                  <a:pt x="14262" y="7689"/>
                </a:lnTo>
                <a:close/>
                <a:moveTo>
                  <a:pt x="3843" y="3595"/>
                </a:moveTo>
                <a:lnTo>
                  <a:pt x="3950" y="3595"/>
                </a:lnTo>
                <a:lnTo>
                  <a:pt x="3950" y="5938"/>
                </a:lnTo>
                <a:lnTo>
                  <a:pt x="3695" y="5938"/>
                </a:lnTo>
                <a:lnTo>
                  <a:pt x="3695" y="5647"/>
                </a:lnTo>
                <a:lnTo>
                  <a:pt x="3694" y="5633"/>
                </a:lnTo>
                <a:lnTo>
                  <a:pt x="3693" y="5619"/>
                </a:lnTo>
                <a:lnTo>
                  <a:pt x="3691" y="5606"/>
                </a:lnTo>
                <a:lnTo>
                  <a:pt x="3689" y="5591"/>
                </a:lnTo>
                <a:lnTo>
                  <a:pt x="3686" y="5578"/>
                </a:lnTo>
                <a:lnTo>
                  <a:pt x="3682" y="5566"/>
                </a:lnTo>
                <a:lnTo>
                  <a:pt x="3677" y="5552"/>
                </a:lnTo>
                <a:lnTo>
                  <a:pt x="3672" y="5540"/>
                </a:lnTo>
                <a:lnTo>
                  <a:pt x="3667" y="5528"/>
                </a:lnTo>
                <a:lnTo>
                  <a:pt x="3661" y="5516"/>
                </a:lnTo>
                <a:lnTo>
                  <a:pt x="3654" y="5505"/>
                </a:lnTo>
                <a:lnTo>
                  <a:pt x="3647" y="5493"/>
                </a:lnTo>
                <a:lnTo>
                  <a:pt x="3640" y="5482"/>
                </a:lnTo>
                <a:lnTo>
                  <a:pt x="3631" y="5472"/>
                </a:lnTo>
                <a:lnTo>
                  <a:pt x="3622" y="5462"/>
                </a:lnTo>
                <a:lnTo>
                  <a:pt x="3613" y="5453"/>
                </a:lnTo>
                <a:lnTo>
                  <a:pt x="3612" y="5452"/>
                </a:lnTo>
                <a:lnTo>
                  <a:pt x="3603" y="5442"/>
                </a:lnTo>
                <a:lnTo>
                  <a:pt x="3593" y="5433"/>
                </a:lnTo>
                <a:lnTo>
                  <a:pt x="3583" y="5425"/>
                </a:lnTo>
                <a:lnTo>
                  <a:pt x="3571" y="5418"/>
                </a:lnTo>
                <a:lnTo>
                  <a:pt x="3560" y="5411"/>
                </a:lnTo>
                <a:lnTo>
                  <a:pt x="3549" y="5404"/>
                </a:lnTo>
                <a:lnTo>
                  <a:pt x="3537" y="5397"/>
                </a:lnTo>
                <a:lnTo>
                  <a:pt x="3525" y="5392"/>
                </a:lnTo>
                <a:lnTo>
                  <a:pt x="3512" y="5387"/>
                </a:lnTo>
                <a:lnTo>
                  <a:pt x="3499" y="5383"/>
                </a:lnTo>
                <a:lnTo>
                  <a:pt x="3487" y="5379"/>
                </a:lnTo>
                <a:lnTo>
                  <a:pt x="3474" y="5376"/>
                </a:lnTo>
                <a:lnTo>
                  <a:pt x="3459" y="5374"/>
                </a:lnTo>
                <a:lnTo>
                  <a:pt x="3446" y="5372"/>
                </a:lnTo>
                <a:lnTo>
                  <a:pt x="3432" y="5371"/>
                </a:lnTo>
                <a:lnTo>
                  <a:pt x="3418" y="5370"/>
                </a:lnTo>
                <a:lnTo>
                  <a:pt x="3363" y="5370"/>
                </a:lnTo>
                <a:lnTo>
                  <a:pt x="3843" y="3595"/>
                </a:lnTo>
                <a:close/>
                <a:moveTo>
                  <a:pt x="3950" y="6214"/>
                </a:moveTo>
                <a:lnTo>
                  <a:pt x="3950" y="6880"/>
                </a:lnTo>
                <a:lnTo>
                  <a:pt x="3691" y="6880"/>
                </a:lnTo>
                <a:lnTo>
                  <a:pt x="3594" y="6880"/>
                </a:lnTo>
                <a:lnTo>
                  <a:pt x="1785" y="6880"/>
                </a:lnTo>
                <a:lnTo>
                  <a:pt x="1785" y="6253"/>
                </a:lnTo>
                <a:lnTo>
                  <a:pt x="1785" y="6214"/>
                </a:lnTo>
                <a:lnTo>
                  <a:pt x="2302" y="6214"/>
                </a:lnTo>
                <a:lnTo>
                  <a:pt x="2440" y="6214"/>
                </a:lnTo>
                <a:lnTo>
                  <a:pt x="3556" y="6214"/>
                </a:lnTo>
                <a:lnTo>
                  <a:pt x="3695" y="6214"/>
                </a:lnTo>
                <a:lnTo>
                  <a:pt x="3950" y="6214"/>
                </a:lnTo>
                <a:close/>
                <a:moveTo>
                  <a:pt x="2579" y="5938"/>
                </a:moveTo>
                <a:lnTo>
                  <a:pt x="3418" y="5938"/>
                </a:lnTo>
                <a:lnTo>
                  <a:pt x="3418" y="5647"/>
                </a:lnTo>
                <a:lnTo>
                  <a:pt x="3418" y="5646"/>
                </a:lnTo>
                <a:lnTo>
                  <a:pt x="3418" y="5646"/>
                </a:lnTo>
                <a:lnTo>
                  <a:pt x="3418" y="5647"/>
                </a:lnTo>
                <a:lnTo>
                  <a:pt x="2579" y="5647"/>
                </a:lnTo>
                <a:lnTo>
                  <a:pt x="2579" y="5647"/>
                </a:lnTo>
                <a:lnTo>
                  <a:pt x="2579" y="5647"/>
                </a:lnTo>
                <a:lnTo>
                  <a:pt x="2579" y="5938"/>
                </a:lnTo>
                <a:close/>
                <a:moveTo>
                  <a:pt x="3419" y="5647"/>
                </a:moveTo>
                <a:lnTo>
                  <a:pt x="3419" y="5647"/>
                </a:lnTo>
                <a:lnTo>
                  <a:pt x="3418" y="5647"/>
                </a:lnTo>
                <a:lnTo>
                  <a:pt x="3419" y="5647"/>
                </a:lnTo>
                <a:close/>
                <a:moveTo>
                  <a:pt x="3419" y="5647"/>
                </a:moveTo>
                <a:lnTo>
                  <a:pt x="3418" y="5646"/>
                </a:lnTo>
                <a:lnTo>
                  <a:pt x="3419" y="5647"/>
                </a:lnTo>
                <a:close/>
                <a:moveTo>
                  <a:pt x="424" y="6880"/>
                </a:moveTo>
                <a:lnTo>
                  <a:pt x="1468" y="6880"/>
                </a:lnTo>
                <a:lnTo>
                  <a:pt x="1507" y="6880"/>
                </a:lnTo>
                <a:lnTo>
                  <a:pt x="1507" y="6392"/>
                </a:lnTo>
                <a:lnTo>
                  <a:pt x="562" y="6392"/>
                </a:lnTo>
                <a:lnTo>
                  <a:pt x="547" y="6392"/>
                </a:lnTo>
                <a:lnTo>
                  <a:pt x="534" y="6395"/>
                </a:lnTo>
                <a:lnTo>
                  <a:pt x="521" y="6398"/>
                </a:lnTo>
                <a:lnTo>
                  <a:pt x="509" y="6403"/>
                </a:lnTo>
                <a:lnTo>
                  <a:pt x="496" y="6408"/>
                </a:lnTo>
                <a:lnTo>
                  <a:pt x="485" y="6415"/>
                </a:lnTo>
                <a:lnTo>
                  <a:pt x="474" y="6423"/>
                </a:lnTo>
                <a:lnTo>
                  <a:pt x="465" y="6433"/>
                </a:lnTo>
                <a:lnTo>
                  <a:pt x="456" y="6442"/>
                </a:lnTo>
                <a:lnTo>
                  <a:pt x="447" y="6453"/>
                </a:lnTo>
                <a:lnTo>
                  <a:pt x="440" y="6464"/>
                </a:lnTo>
                <a:lnTo>
                  <a:pt x="434" y="6476"/>
                </a:lnTo>
                <a:lnTo>
                  <a:pt x="430" y="6489"/>
                </a:lnTo>
                <a:lnTo>
                  <a:pt x="426" y="6502"/>
                </a:lnTo>
                <a:lnTo>
                  <a:pt x="424" y="6516"/>
                </a:lnTo>
                <a:lnTo>
                  <a:pt x="424" y="6529"/>
                </a:lnTo>
                <a:lnTo>
                  <a:pt x="424" y="6880"/>
                </a:lnTo>
                <a:close/>
                <a:moveTo>
                  <a:pt x="1744" y="7157"/>
                </a:moveTo>
                <a:lnTo>
                  <a:pt x="1744" y="7459"/>
                </a:lnTo>
                <a:lnTo>
                  <a:pt x="3607" y="7459"/>
                </a:lnTo>
                <a:lnTo>
                  <a:pt x="3497" y="7157"/>
                </a:lnTo>
                <a:lnTo>
                  <a:pt x="1785" y="7157"/>
                </a:lnTo>
                <a:lnTo>
                  <a:pt x="1744" y="7157"/>
                </a:lnTo>
                <a:close/>
                <a:moveTo>
                  <a:pt x="3707" y="7737"/>
                </a:moveTo>
                <a:lnTo>
                  <a:pt x="1744" y="7737"/>
                </a:lnTo>
                <a:lnTo>
                  <a:pt x="1744" y="8040"/>
                </a:lnTo>
                <a:lnTo>
                  <a:pt x="3816" y="8040"/>
                </a:lnTo>
                <a:lnTo>
                  <a:pt x="3707" y="7737"/>
                </a:lnTo>
                <a:close/>
                <a:moveTo>
                  <a:pt x="276" y="7459"/>
                </a:moveTo>
                <a:lnTo>
                  <a:pt x="1468" y="7459"/>
                </a:lnTo>
                <a:lnTo>
                  <a:pt x="1468" y="7157"/>
                </a:lnTo>
                <a:lnTo>
                  <a:pt x="285" y="7157"/>
                </a:lnTo>
                <a:lnTo>
                  <a:pt x="276" y="7157"/>
                </a:lnTo>
                <a:lnTo>
                  <a:pt x="276" y="7459"/>
                </a:lnTo>
                <a:close/>
                <a:moveTo>
                  <a:pt x="1468" y="7737"/>
                </a:moveTo>
                <a:lnTo>
                  <a:pt x="277" y="7737"/>
                </a:lnTo>
                <a:lnTo>
                  <a:pt x="277" y="8040"/>
                </a:lnTo>
                <a:lnTo>
                  <a:pt x="1468" y="8040"/>
                </a:lnTo>
                <a:lnTo>
                  <a:pt x="1468" y="7737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katok"/>
          <p:cNvSpPr>
            <a:spLocks noChangeAspect="1" noEditPoints="1"/>
          </p:cNvSpPr>
          <p:nvPr>
            <p:custDataLst>
              <p:tags r:id="rId12"/>
            </p:custDataLst>
          </p:nvPr>
        </p:nvSpPr>
        <p:spPr bwMode="auto">
          <a:xfrm>
            <a:off x="6727009" y="2755812"/>
            <a:ext cx="582930" cy="394335"/>
          </a:xfrm>
          <a:custGeom>
            <a:avLst/>
            <a:gdLst>
              <a:gd name="T0" fmla="*/ 8412 w 16320"/>
              <a:gd name="T1" fmla="*/ 7538 h 11039"/>
              <a:gd name="T2" fmla="*/ 12561 w 16320"/>
              <a:gd name="T3" fmla="*/ 10473 h 11039"/>
              <a:gd name="T4" fmla="*/ 14782 w 16320"/>
              <a:gd name="T5" fmla="*/ 10924 h 11039"/>
              <a:gd name="T6" fmla="*/ 15927 w 16320"/>
              <a:gd name="T7" fmla="*/ 10051 h 11039"/>
              <a:gd name="T8" fmla="*/ 16318 w 16320"/>
              <a:gd name="T9" fmla="*/ 8874 h 11039"/>
              <a:gd name="T10" fmla="*/ 16251 w 16320"/>
              <a:gd name="T11" fmla="*/ 8222 h 11039"/>
              <a:gd name="T12" fmla="*/ 10175 w 16320"/>
              <a:gd name="T13" fmla="*/ 4016 h 11039"/>
              <a:gd name="T14" fmla="*/ 10102 w 16320"/>
              <a:gd name="T15" fmla="*/ 3553 h 11039"/>
              <a:gd name="T16" fmla="*/ 9689 w 16320"/>
              <a:gd name="T17" fmla="*/ 3739 h 11039"/>
              <a:gd name="T18" fmla="*/ 9787 w 16320"/>
              <a:gd name="T19" fmla="*/ 4030 h 11039"/>
              <a:gd name="T20" fmla="*/ 12667 w 16320"/>
              <a:gd name="T21" fmla="*/ 7388 h 11039"/>
              <a:gd name="T22" fmla="*/ 11883 w 16320"/>
              <a:gd name="T23" fmla="*/ 5700 h 11039"/>
              <a:gd name="T24" fmla="*/ 15995 w 16320"/>
              <a:gd name="T25" fmla="*/ 8405 h 11039"/>
              <a:gd name="T26" fmla="*/ 15333 w 16320"/>
              <a:gd name="T27" fmla="*/ 10281 h 11039"/>
              <a:gd name="T28" fmla="*/ 13057 w 16320"/>
              <a:gd name="T29" fmla="*/ 10470 h 11039"/>
              <a:gd name="T30" fmla="*/ 12095 w 16320"/>
              <a:gd name="T31" fmla="*/ 8628 h 11039"/>
              <a:gd name="T32" fmla="*/ 12328 w 16320"/>
              <a:gd name="T33" fmla="*/ 7841 h 11039"/>
              <a:gd name="T34" fmla="*/ 13359 w 16320"/>
              <a:gd name="T35" fmla="*/ 6939 h 11039"/>
              <a:gd name="T36" fmla="*/ 3330 w 16320"/>
              <a:gd name="T37" fmla="*/ 8268 h 11039"/>
              <a:gd name="T38" fmla="*/ 3640 w 16320"/>
              <a:gd name="T39" fmla="*/ 8399 h 11039"/>
              <a:gd name="T40" fmla="*/ 3525 w 16320"/>
              <a:gd name="T41" fmla="*/ 9464 h 11039"/>
              <a:gd name="T42" fmla="*/ 887 w 16320"/>
              <a:gd name="T43" fmla="*/ 9365 h 11039"/>
              <a:gd name="T44" fmla="*/ 969 w 16320"/>
              <a:gd name="T45" fmla="*/ 8279 h 11039"/>
              <a:gd name="T46" fmla="*/ 897 w 16320"/>
              <a:gd name="T47" fmla="*/ 7624 h 11039"/>
              <a:gd name="T48" fmla="*/ 497 w 16320"/>
              <a:gd name="T49" fmla="*/ 8485 h 11039"/>
              <a:gd name="T50" fmla="*/ 778 w 16320"/>
              <a:gd name="T51" fmla="*/ 9778 h 11039"/>
              <a:gd name="T52" fmla="*/ 1989 w 16320"/>
              <a:gd name="T53" fmla="*/ 10546 h 11039"/>
              <a:gd name="T54" fmla="*/ 3399 w 16320"/>
              <a:gd name="T55" fmla="*/ 10158 h 11039"/>
              <a:gd name="T56" fmla="*/ 4047 w 16320"/>
              <a:gd name="T57" fmla="*/ 8871 h 11039"/>
              <a:gd name="T58" fmla="*/ 3824 w 16320"/>
              <a:gd name="T59" fmla="*/ 7909 h 11039"/>
              <a:gd name="T60" fmla="*/ 3252 w 16320"/>
              <a:gd name="T61" fmla="*/ 7514 h 11039"/>
              <a:gd name="T62" fmla="*/ 2961 w 16320"/>
              <a:gd name="T63" fmla="*/ 6939 h 11039"/>
              <a:gd name="T64" fmla="*/ 1171 w 16320"/>
              <a:gd name="T65" fmla="*/ 8558 h 11039"/>
              <a:gd name="T66" fmla="*/ 2326 w 16320"/>
              <a:gd name="T67" fmla="*/ 10748 h 11039"/>
              <a:gd name="T68" fmla="*/ 436 w 16320"/>
              <a:gd name="T69" fmla="*/ 9530 h 11039"/>
              <a:gd name="T70" fmla="*/ 380 w 16320"/>
              <a:gd name="T71" fmla="*/ 8194 h 11039"/>
              <a:gd name="T72" fmla="*/ 772 w 16320"/>
              <a:gd name="T73" fmla="*/ 7492 h 11039"/>
              <a:gd name="T74" fmla="*/ 1500 w 16320"/>
              <a:gd name="T75" fmla="*/ 6963 h 11039"/>
              <a:gd name="T76" fmla="*/ 4642 w 16320"/>
              <a:gd name="T77" fmla="*/ 5827 h 11039"/>
              <a:gd name="T78" fmla="*/ 4633 w 16320"/>
              <a:gd name="T79" fmla="*/ 6302 h 11039"/>
              <a:gd name="T80" fmla="*/ 3895 w 16320"/>
              <a:gd name="T81" fmla="*/ 7681 h 11039"/>
              <a:gd name="T82" fmla="*/ 4125 w 16320"/>
              <a:gd name="T83" fmla="*/ 9417 h 11039"/>
              <a:gd name="T84" fmla="*/ 6147 w 16320"/>
              <a:gd name="T85" fmla="*/ 5861 h 11039"/>
              <a:gd name="T86" fmla="*/ 5301 w 16320"/>
              <a:gd name="T87" fmla="*/ 4870 h 11039"/>
              <a:gd name="T88" fmla="*/ 223 w 16320"/>
              <a:gd name="T89" fmla="*/ 7799 h 11039"/>
              <a:gd name="T90" fmla="*/ 1 w 16320"/>
              <a:gd name="T91" fmla="*/ 8721 h 11039"/>
              <a:gd name="T92" fmla="*/ 1397 w 16320"/>
              <a:gd name="T93" fmla="*/ 10863 h 11039"/>
              <a:gd name="T94" fmla="*/ 3905 w 16320"/>
              <a:gd name="T95" fmla="*/ 10331 h 11039"/>
              <a:gd name="T96" fmla="*/ 12679 w 16320"/>
              <a:gd name="T97" fmla="*/ 9318 h 11039"/>
              <a:gd name="T98" fmla="*/ 12823 w 16320"/>
              <a:gd name="T99" fmla="*/ 8268 h 11039"/>
              <a:gd name="T100" fmla="*/ 12584 w 16320"/>
              <a:gd name="T101" fmla="*/ 7769 h 11039"/>
              <a:gd name="T102" fmla="*/ 12275 w 16320"/>
              <a:gd name="T103" fmla="*/ 8662 h 11039"/>
              <a:gd name="T104" fmla="*/ 12736 w 16320"/>
              <a:gd name="T105" fmla="*/ 9981 h 11039"/>
              <a:gd name="T106" fmla="*/ 14059 w 16320"/>
              <a:gd name="T107" fmla="*/ 10566 h 11039"/>
              <a:gd name="T108" fmla="*/ 15383 w 16320"/>
              <a:gd name="T109" fmla="*/ 9981 h 11039"/>
              <a:gd name="T110" fmla="*/ 15844 w 16320"/>
              <a:gd name="T111" fmla="*/ 8660 h 11039"/>
              <a:gd name="T112" fmla="*/ 15525 w 16320"/>
              <a:gd name="T113" fmla="*/ 7757 h 11039"/>
              <a:gd name="T114" fmla="*/ 15309 w 16320"/>
              <a:gd name="T115" fmla="*/ 8269 h 11039"/>
              <a:gd name="T116" fmla="*/ 15439 w 16320"/>
              <a:gd name="T117" fmla="*/ 9322 h 11039"/>
              <a:gd name="T118" fmla="*/ 15291 w 16320"/>
              <a:gd name="T119" fmla="*/ 9467 h 11039"/>
              <a:gd name="T120" fmla="*/ 12679 w 16320"/>
              <a:gd name="T121" fmla="*/ 9322 h 11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320" h="11039">
                <a:moveTo>
                  <a:pt x="13382" y="7282"/>
                </a:moveTo>
                <a:lnTo>
                  <a:pt x="13377" y="7330"/>
                </a:lnTo>
                <a:lnTo>
                  <a:pt x="13280" y="8268"/>
                </a:lnTo>
                <a:lnTo>
                  <a:pt x="14818" y="8268"/>
                </a:lnTo>
                <a:lnTo>
                  <a:pt x="14719" y="7313"/>
                </a:lnTo>
                <a:lnTo>
                  <a:pt x="14715" y="7282"/>
                </a:lnTo>
                <a:lnTo>
                  <a:pt x="14638" y="7279"/>
                </a:lnTo>
                <a:lnTo>
                  <a:pt x="14629" y="7280"/>
                </a:lnTo>
                <a:lnTo>
                  <a:pt x="14621" y="7282"/>
                </a:lnTo>
                <a:lnTo>
                  <a:pt x="13501" y="7282"/>
                </a:lnTo>
                <a:lnTo>
                  <a:pt x="13477" y="7282"/>
                </a:lnTo>
                <a:lnTo>
                  <a:pt x="13382" y="7282"/>
                </a:lnTo>
                <a:close/>
                <a:moveTo>
                  <a:pt x="8412" y="7538"/>
                </a:moveTo>
                <a:lnTo>
                  <a:pt x="7407" y="7538"/>
                </a:lnTo>
                <a:lnTo>
                  <a:pt x="7407" y="8920"/>
                </a:lnTo>
                <a:lnTo>
                  <a:pt x="8412" y="8920"/>
                </a:lnTo>
                <a:lnTo>
                  <a:pt x="8412" y="7538"/>
                </a:lnTo>
                <a:close/>
                <a:moveTo>
                  <a:pt x="7297" y="7428"/>
                </a:moveTo>
                <a:lnTo>
                  <a:pt x="8522" y="7428"/>
                </a:lnTo>
                <a:lnTo>
                  <a:pt x="8522" y="9030"/>
                </a:lnTo>
                <a:lnTo>
                  <a:pt x="7297" y="9030"/>
                </a:lnTo>
                <a:lnTo>
                  <a:pt x="7297" y="8975"/>
                </a:lnTo>
                <a:lnTo>
                  <a:pt x="7297" y="7428"/>
                </a:lnTo>
                <a:close/>
                <a:moveTo>
                  <a:pt x="6951" y="5745"/>
                </a:moveTo>
                <a:lnTo>
                  <a:pt x="6951" y="9510"/>
                </a:lnTo>
                <a:lnTo>
                  <a:pt x="11919" y="9510"/>
                </a:lnTo>
                <a:lnTo>
                  <a:pt x="11974" y="9654"/>
                </a:lnTo>
                <a:lnTo>
                  <a:pt x="12036" y="9791"/>
                </a:lnTo>
                <a:lnTo>
                  <a:pt x="12106" y="9922"/>
                </a:lnTo>
                <a:lnTo>
                  <a:pt x="12185" y="10045"/>
                </a:lnTo>
                <a:lnTo>
                  <a:pt x="12270" y="10163"/>
                </a:lnTo>
                <a:lnTo>
                  <a:pt x="12361" y="10273"/>
                </a:lnTo>
                <a:lnTo>
                  <a:pt x="12458" y="10376"/>
                </a:lnTo>
                <a:lnTo>
                  <a:pt x="12561" y="10473"/>
                </a:lnTo>
                <a:lnTo>
                  <a:pt x="12670" y="10563"/>
                </a:lnTo>
                <a:lnTo>
                  <a:pt x="12784" y="10644"/>
                </a:lnTo>
                <a:lnTo>
                  <a:pt x="12901" y="10719"/>
                </a:lnTo>
                <a:lnTo>
                  <a:pt x="13023" y="10786"/>
                </a:lnTo>
                <a:lnTo>
                  <a:pt x="13149" y="10845"/>
                </a:lnTo>
                <a:lnTo>
                  <a:pt x="13277" y="10897"/>
                </a:lnTo>
                <a:lnTo>
                  <a:pt x="13409" y="10941"/>
                </a:lnTo>
                <a:lnTo>
                  <a:pt x="13543" y="10977"/>
                </a:lnTo>
                <a:lnTo>
                  <a:pt x="13678" y="11005"/>
                </a:lnTo>
                <a:lnTo>
                  <a:pt x="13815" y="11025"/>
                </a:lnTo>
                <a:lnTo>
                  <a:pt x="13954" y="11036"/>
                </a:lnTo>
                <a:lnTo>
                  <a:pt x="14092" y="11039"/>
                </a:lnTo>
                <a:lnTo>
                  <a:pt x="14231" y="11033"/>
                </a:lnTo>
                <a:lnTo>
                  <a:pt x="14371" y="11019"/>
                </a:lnTo>
                <a:lnTo>
                  <a:pt x="14508" y="10996"/>
                </a:lnTo>
                <a:lnTo>
                  <a:pt x="14646" y="10965"/>
                </a:lnTo>
                <a:lnTo>
                  <a:pt x="14782" y="10924"/>
                </a:lnTo>
                <a:lnTo>
                  <a:pt x="14916" y="10874"/>
                </a:lnTo>
                <a:lnTo>
                  <a:pt x="15048" y="10815"/>
                </a:lnTo>
                <a:lnTo>
                  <a:pt x="15177" y="10746"/>
                </a:lnTo>
                <a:lnTo>
                  <a:pt x="15303" y="10668"/>
                </a:lnTo>
                <a:lnTo>
                  <a:pt x="15425" y="10581"/>
                </a:lnTo>
                <a:lnTo>
                  <a:pt x="15544" y="10483"/>
                </a:lnTo>
                <a:lnTo>
                  <a:pt x="15658" y="10377"/>
                </a:lnTo>
                <a:lnTo>
                  <a:pt x="15665" y="10368"/>
                </a:lnTo>
                <a:lnTo>
                  <a:pt x="15687" y="10347"/>
                </a:lnTo>
                <a:lnTo>
                  <a:pt x="15719" y="10313"/>
                </a:lnTo>
                <a:lnTo>
                  <a:pt x="15761" y="10266"/>
                </a:lnTo>
                <a:lnTo>
                  <a:pt x="15786" y="10238"/>
                </a:lnTo>
                <a:lnTo>
                  <a:pt x="15811" y="10207"/>
                </a:lnTo>
                <a:lnTo>
                  <a:pt x="15839" y="10172"/>
                </a:lnTo>
                <a:lnTo>
                  <a:pt x="15867" y="10135"/>
                </a:lnTo>
                <a:lnTo>
                  <a:pt x="15897" y="10095"/>
                </a:lnTo>
                <a:lnTo>
                  <a:pt x="15927" y="10051"/>
                </a:lnTo>
                <a:lnTo>
                  <a:pt x="15958" y="10005"/>
                </a:lnTo>
                <a:lnTo>
                  <a:pt x="15989" y="9956"/>
                </a:lnTo>
                <a:lnTo>
                  <a:pt x="16020" y="9903"/>
                </a:lnTo>
                <a:lnTo>
                  <a:pt x="16051" y="9848"/>
                </a:lnTo>
                <a:lnTo>
                  <a:pt x="16081" y="9790"/>
                </a:lnTo>
                <a:lnTo>
                  <a:pt x="16111" y="9729"/>
                </a:lnTo>
                <a:lnTo>
                  <a:pt x="16139" y="9666"/>
                </a:lnTo>
                <a:lnTo>
                  <a:pt x="16166" y="9599"/>
                </a:lnTo>
                <a:lnTo>
                  <a:pt x="16193" y="9529"/>
                </a:lnTo>
                <a:lnTo>
                  <a:pt x="16217" y="9457"/>
                </a:lnTo>
                <a:lnTo>
                  <a:pt x="16238" y="9381"/>
                </a:lnTo>
                <a:lnTo>
                  <a:pt x="16259" y="9304"/>
                </a:lnTo>
                <a:lnTo>
                  <a:pt x="16276" y="9223"/>
                </a:lnTo>
                <a:lnTo>
                  <a:pt x="16291" y="9140"/>
                </a:lnTo>
                <a:lnTo>
                  <a:pt x="16304" y="9053"/>
                </a:lnTo>
                <a:lnTo>
                  <a:pt x="16313" y="8965"/>
                </a:lnTo>
                <a:lnTo>
                  <a:pt x="16318" y="8874"/>
                </a:lnTo>
                <a:lnTo>
                  <a:pt x="16320" y="8779"/>
                </a:lnTo>
                <a:lnTo>
                  <a:pt x="16320" y="8743"/>
                </a:lnTo>
                <a:lnTo>
                  <a:pt x="16319" y="8708"/>
                </a:lnTo>
                <a:lnTo>
                  <a:pt x="16318" y="8672"/>
                </a:lnTo>
                <a:lnTo>
                  <a:pt x="16316" y="8636"/>
                </a:lnTo>
                <a:lnTo>
                  <a:pt x="16313" y="8601"/>
                </a:lnTo>
                <a:lnTo>
                  <a:pt x="16310" y="8566"/>
                </a:lnTo>
                <a:lnTo>
                  <a:pt x="16307" y="8530"/>
                </a:lnTo>
                <a:lnTo>
                  <a:pt x="16303" y="8496"/>
                </a:lnTo>
                <a:lnTo>
                  <a:pt x="16298" y="8461"/>
                </a:lnTo>
                <a:lnTo>
                  <a:pt x="16292" y="8426"/>
                </a:lnTo>
                <a:lnTo>
                  <a:pt x="16287" y="8392"/>
                </a:lnTo>
                <a:lnTo>
                  <a:pt x="16280" y="8358"/>
                </a:lnTo>
                <a:lnTo>
                  <a:pt x="16274" y="8323"/>
                </a:lnTo>
                <a:lnTo>
                  <a:pt x="16267" y="8290"/>
                </a:lnTo>
                <a:lnTo>
                  <a:pt x="16259" y="8256"/>
                </a:lnTo>
                <a:lnTo>
                  <a:pt x="16251" y="8222"/>
                </a:lnTo>
                <a:lnTo>
                  <a:pt x="16242" y="8190"/>
                </a:lnTo>
                <a:lnTo>
                  <a:pt x="16233" y="8156"/>
                </a:lnTo>
                <a:lnTo>
                  <a:pt x="16223" y="8124"/>
                </a:lnTo>
                <a:lnTo>
                  <a:pt x="16213" y="8091"/>
                </a:lnTo>
                <a:lnTo>
                  <a:pt x="16203" y="8058"/>
                </a:lnTo>
                <a:lnTo>
                  <a:pt x="16191" y="8026"/>
                </a:lnTo>
                <a:lnTo>
                  <a:pt x="16180" y="7994"/>
                </a:lnTo>
                <a:lnTo>
                  <a:pt x="16168" y="7962"/>
                </a:lnTo>
                <a:lnTo>
                  <a:pt x="16143" y="7899"/>
                </a:lnTo>
                <a:lnTo>
                  <a:pt x="16115" y="7837"/>
                </a:lnTo>
                <a:lnTo>
                  <a:pt x="16085" y="7777"/>
                </a:lnTo>
                <a:lnTo>
                  <a:pt x="16055" y="7717"/>
                </a:lnTo>
                <a:lnTo>
                  <a:pt x="16254" y="7030"/>
                </a:lnTo>
                <a:lnTo>
                  <a:pt x="10813" y="4439"/>
                </a:lnTo>
                <a:lnTo>
                  <a:pt x="10398" y="4694"/>
                </a:lnTo>
                <a:lnTo>
                  <a:pt x="10139" y="4044"/>
                </a:lnTo>
                <a:lnTo>
                  <a:pt x="10175" y="4016"/>
                </a:lnTo>
                <a:lnTo>
                  <a:pt x="10203" y="3988"/>
                </a:lnTo>
                <a:lnTo>
                  <a:pt x="10227" y="3959"/>
                </a:lnTo>
                <a:lnTo>
                  <a:pt x="10245" y="3929"/>
                </a:lnTo>
                <a:lnTo>
                  <a:pt x="10258" y="3898"/>
                </a:lnTo>
                <a:lnTo>
                  <a:pt x="10267" y="3868"/>
                </a:lnTo>
                <a:lnTo>
                  <a:pt x="10271" y="3837"/>
                </a:lnTo>
                <a:lnTo>
                  <a:pt x="10271" y="3805"/>
                </a:lnTo>
                <a:lnTo>
                  <a:pt x="10267" y="3775"/>
                </a:lnTo>
                <a:lnTo>
                  <a:pt x="10260" y="3745"/>
                </a:lnTo>
                <a:lnTo>
                  <a:pt x="10249" y="3716"/>
                </a:lnTo>
                <a:lnTo>
                  <a:pt x="10236" y="3688"/>
                </a:lnTo>
                <a:lnTo>
                  <a:pt x="10218" y="3661"/>
                </a:lnTo>
                <a:lnTo>
                  <a:pt x="10199" y="3636"/>
                </a:lnTo>
                <a:lnTo>
                  <a:pt x="10178" y="3612"/>
                </a:lnTo>
                <a:lnTo>
                  <a:pt x="10154" y="3590"/>
                </a:lnTo>
                <a:lnTo>
                  <a:pt x="10129" y="3570"/>
                </a:lnTo>
                <a:lnTo>
                  <a:pt x="10102" y="3553"/>
                </a:lnTo>
                <a:lnTo>
                  <a:pt x="10074" y="3538"/>
                </a:lnTo>
                <a:lnTo>
                  <a:pt x="10044" y="3526"/>
                </a:lnTo>
                <a:lnTo>
                  <a:pt x="10014" y="3517"/>
                </a:lnTo>
                <a:lnTo>
                  <a:pt x="9984" y="3511"/>
                </a:lnTo>
                <a:lnTo>
                  <a:pt x="9953" y="3509"/>
                </a:lnTo>
                <a:lnTo>
                  <a:pt x="9922" y="3511"/>
                </a:lnTo>
                <a:lnTo>
                  <a:pt x="9892" y="3516"/>
                </a:lnTo>
                <a:lnTo>
                  <a:pt x="9861" y="3525"/>
                </a:lnTo>
                <a:lnTo>
                  <a:pt x="9833" y="3538"/>
                </a:lnTo>
                <a:lnTo>
                  <a:pt x="9805" y="3557"/>
                </a:lnTo>
                <a:lnTo>
                  <a:pt x="9779" y="3580"/>
                </a:lnTo>
                <a:lnTo>
                  <a:pt x="9753" y="3609"/>
                </a:lnTo>
                <a:lnTo>
                  <a:pt x="9730" y="3641"/>
                </a:lnTo>
                <a:lnTo>
                  <a:pt x="9709" y="3680"/>
                </a:lnTo>
                <a:lnTo>
                  <a:pt x="9701" y="3700"/>
                </a:lnTo>
                <a:lnTo>
                  <a:pt x="9694" y="3720"/>
                </a:lnTo>
                <a:lnTo>
                  <a:pt x="9689" y="3739"/>
                </a:lnTo>
                <a:lnTo>
                  <a:pt x="9685" y="3758"/>
                </a:lnTo>
                <a:lnTo>
                  <a:pt x="9682" y="3778"/>
                </a:lnTo>
                <a:lnTo>
                  <a:pt x="9681" y="3797"/>
                </a:lnTo>
                <a:lnTo>
                  <a:pt x="9681" y="3817"/>
                </a:lnTo>
                <a:lnTo>
                  <a:pt x="9683" y="3836"/>
                </a:lnTo>
                <a:lnTo>
                  <a:pt x="9685" y="3855"/>
                </a:lnTo>
                <a:lnTo>
                  <a:pt x="9689" y="3874"/>
                </a:lnTo>
                <a:lnTo>
                  <a:pt x="9694" y="3891"/>
                </a:lnTo>
                <a:lnTo>
                  <a:pt x="9700" y="3909"/>
                </a:lnTo>
                <a:lnTo>
                  <a:pt x="9708" y="3927"/>
                </a:lnTo>
                <a:lnTo>
                  <a:pt x="9717" y="3943"/>
                </a:lnTo>
                <a:lnTo>
                  <a:pt x="9726" y="3959"/>
                </a:lnTo>
                <a:lnTo>
                  <a:pt x="9736" y="3975"/>
                </a:lnTo>
                <a:lnTo>
                  <a:pt x="9747" y="3990"/>
                </a:lnTo>
                <a:lnTo>
                  <a:pt x="9760" y="4003"/>
                </a:lnTo>
                <a:lnTo>
                  <a:pt x="9773" y="4016"/>
                </a:lnTo>
                <a:lnTo>
                  <a:pt x="9787" y="4030"/>
                </a:lnTo>
                <a:lnTo>
                  <a:pt x="9802" y="4041"/>
                </a:lnTo>
                <a:lnTo>
                  <a:pt x="9818" y="4051"/>
                </a:lnTo>
                <a:lnTo>
                  <a:pt x="9834" y="4061"/>
                </a:lnTo>
                <a:lnTo>
                  <a:pt x="9850" y="4069"/>
                </a:lnTo>
                <a:lnTo>
                  <a:pt x="9869" y="4078"/>
                </a:lnTo>
                <a:lnTo>
                  <a:pt x="9886" y="4084"/>
                </a:lnTo>
                <a:lnTo>
                  <a:pt x="9905" y="4089"/>
                </a:lnTo>
                <a:lnTo>
                  <a:pt x="9925" y="4093"/>
                </a:lnTo>
                <a:lnTo>
                  <a:pt x="9944" y="4095"/>
                </a:lnTo>
                <a:lnTo>
                  <a:pt x="9964" y="4096"/>
                </a:lnTo>
                <a:lnTo>
                  <a:pt x="9985" y="4096"/>
                </a:lnTo>
                <a:lnTo>
                  <a:pt x="10005" y="4094"/>
                </a:lnTo>
                <a:lnTo>
                  <a:pt x="10273" y="4768"/>
                </a:lnTo>
                <a:lnTo>
                  <a:pt x="9882" y="5000"/>
                </a:lnTo>
                <a:lnTo>
                  <a:pt x="9882" y="5745"/>
                </a:lnTo>
                <a:lnTo>
                  <a:pt x="6951" y="5745"/>
                </a:lnTo>
                <a:close/>
                <a:moveTo>
                  <a:pt x="12667" y="7388"/>
                </a:moveTo>
                <a:lnTo>
                  <a:pt x="12667" y="7388"/>
                </a:lnTo>
                <a:lnTo>
                  <a:pt x="12667" y="7388"/>
                </a:lnTo>
                <a:close/>
                <a:moveTo>
                  <a:pt x="15451" y="10170"/>
                </a:moveTo>
                <a:lnTo>
                  <a:pt x="15451" y="10170"/>
                </a:lnTo>
                <a:lnTo>
                  <a:pt x="15451" y="10170"/>
                </a:lnTo>
                <a:close/>
                <a:moveTo>
                  <a:pt x="12667" y="7388"/>
                </a:moveTo>
                <a:lnTo>
                  <a:pt x="12703" y="7353"/>
                </a:lnTo>
                <a:lnTo>
                  <a:pt x="12740" y="7319"/>
                </a:lnTo>
                <a:lnTo>
                  <a:pt x="12778" y="7286"/>
                </a:lnTo>
                <a:lnTo>
                  <a:pt x="12815" y="7254"/>
                </a:lnTo>
                <a:lnTo>
                  <a:pt x="12855" y="7222"/>
                </a:lnTo>
                <a:lnTo>
                  <a:pt x="12895" y="7193"/>
                </a:lnTo>
                <a:lnTo>
                  <a:pt x="12936" y="7163"/>
                </a:lnTo>
                <a:lnTo>
                  <a:pt x="12977" y="7136"/>
                </a:lnTo>
                <a:lnTo>
                  <a:pt x="11744" y="6369"/>
                </a:lnTo>
                <a:lnTo>
                  <a:pt x="11676" y="5830"/>
                </a:lnTo>
                <a:lnTo>
                  <a:pt x="11883" y="5700"/>
                </a:lnTo>
                <a:lnTo>
                  <a:pt x="14715" y="6924"/>
                </a:lnTo>
                <a:lnTo>
                  <a:pt x="14849" y="6981"/>
                </a:lnTo>
                <a:lnTo>
                  <a:pt x="14977" y="7044"/>
                </a:lnTo>
                <a:lnTo>
                  <a:pt x="15096" y="7114"/>
                </a:lnTo>
                <a:lnTo>
                  <a:pt x="15209" y="7190"/>
                </a:lnTo>
                <a:lnTo>
                  <a:pt x="15314" y="7270"/>
                </a:lnTo>
                <a:lnTo>
                  <a:pt x="15412" y="7355"/>
                </a:lnTo>
                <a:lnTo>
                  <a:pt x="15503" y="7446"/>
                </a:lnTo>
                <a:lnTo>
                  <a:pt x="15587" y="7539"/>
                </a:lnTo>
                <a:lnTo>
                  <a:pt x="15662" y="7638"/>
                </a:lnTo>
                <a:lnTo>
                  <a:pt x="15731" y="7739"/>
                </a:lnTo>
                <a:lnTo>
                  <a:pt x="15794" y="7844"/>
                </a:lnTo>
                <a:lnTo>
                  <a:pt x="15848" y="7952"/>
                </a:lnTo>
                <a:lnTo>
                  <a:pt x="15896" y="8062"/>
                </a:lnTo>
                <a:lnTo>
                  <a:pt x="15935" y="8174"/>
                </a:lnTo>
                <a:lnTo>
                  <a:pt x="15969" y="8289"/>
                </a:lnTo>
                <a:lnTo>
                  <a:pt x="15995" y="8405"/>
                </a:lnTo>
                <a:lnTo>
                  <a:pt x="16014" y="8521"/>
                </a:lnTo>
                <a:lnTo>
                  <a:pt x="16025" y="8638"/>
                </a:lnTo>
                <a:lnTo>
                  <a:pt x="16030" y="8757"/>
                </a:lnTo>
                <a:lnTo>
                  <a:pt x="16027" y="8875"/>
                </a:lnTo>
                <a:lnTo>
                  <a:pt x="16018" y="8992"/>
                </a:lnTo>
                <a:lnTo>
                  <a:pt x="16002" y="9109"/>
                </a:lnTo>
                <a:lnTo>
                  <a:pt x="15978" y="9225"/>
                </a:lnTo>
                <a:lnTo>
                  <a:pt x="15948" y="9341"/>
                </a:lnTo>
                <a:lnTo>
                  <a:pt x="15910" y="9454"/>
                </a:lnTo>
                <a:lnTo>
                  <a:pt x="15865" y="9565"/>
                </a:lnTo>
                <a:lnTo>
                  <a:pt x="15814" y="9674"/>
                </a:lnTo>
                <a:lnTo>
                  <a:pt x="15755" y="9780"/>
                </a:lnTo>
                <a:lnTo>
                  <a:pt x="15690" y="9883"/>
                </a:lnTo>
                <a:lnTo>
                  <a:pt x="15617" y="9983"/>
                </a:lnTo>
                <a:lnTo>
                  <a:pt x="15538" y="10079"/>
                </a:lnTo>
                <a:lnTo>
                  <a:pt x="15451" y="10170"/>
                </a:lnTo>
                <a:lnTo>
                  <a:pt x="15333" y="10281"/>
                </a:lnTo>
                <a:lnTo>
                  <a:pt x="15209" y="10378"/>
                </a:lnTo>
                <a:lnTo>
                  <a:pt x="15083" y="10464"/>
                </a:lnTo>
                <a:lnTo>
                  <a:pt x="14951" y="10537"/>
                </a:lnTo>
                <a:lnTo>
                  <a:pt x="14818" y="10601"/>
                </a:lnTo>
                <a:lnTo>
                  <a:pt x="14682" y="10652"/>
                </a:lnTo>
                <a:lnTo>
                  <a:pt x="14543" y="10691"/>
                </a:lnTo>
                <a:lnTo>
                  <a:pt x="14404" y="10721"/>
                </a:lnTo>
                <a:lnTo>
                  <a:pt x="14264" y="10739"/>
                </a:lnTo>
                <a:lnTo>
                  <a:pt x="14123" y="10748"/>
                </a:lnTo>
                <a:lnTo>
                  <a:pt x="13983" y="10746"/>
                </a:lnTo>
                <a:lnTo>
                  <a:pt x="13843" y="10735"/>
                </a:lnTo>
                <a:lnTo>
                  <a:pt x="13706" y="10714"/>
                </a:lnTo>
                <a:lnTo>
                  <a:pt x="13570" y="10683"/>
                </a:lnTo>
                <a:lnTo>
                  <a:pt x="13436" y="10642"/>
                </a:lnTo>
                <a:lnTo>
                  <a:pt x="13307" y="10595"/>
                </a:lnTo>
                <a:lnTo>
                  <a:pt x="13179" y="10536"/>
                </a:lnTo>
                <a:lnTo>
                  <a:pt x="13057" y="10470"/>
                </a:lnTo>
                <a:lnTo>
                  <a:pt x="12940" y="10396"/>
                </a:lnTo>
                <a:lnTo>
                  <a:pt x="12828" y="10313"/>
                </a:lnTo>
                <a:lnTo>
                  <a:pt x="12720" y="10223"/>
                </a:lnTo>
                <a:lnTo>
                  <a:pt x="12620" y="10126"/>
                </a:lnTo>
                <a:lnTo>
                  <a:pt x="12527" y="10021"/>
                </a:lnTo>
                <a:lnTo>
                  <a:pt x="12441" y="9907"/>
                </a:lnTo>
                <a:lnTo>
                  <a:pt x="12363" y="9788"/>
                </a:lnTo>
                <a:lnTo>
                  <a:pt x="12294" y="9663"/>
                </a:lnTo>
                <a:lnTo>
                  <a:pt x="12234" y="9530"/>
                </a:lnTo>
                <a:lnTo>
                  <a:pt x="12184" y="9392"/>
                </a:lnTo>
                <a:lnTo>
                  <a:pt x="12143" y="9247"/>
                </a:lnTo>
                <a:lnTo>
                  <a:pt x="12114" y="9096"/>
                </a:lnTo>
                <a:lnTo>
                  <a:pt x="12096" y="8940"/>
                </a:lnTo>
                <a:lnTo>
                  <a:pt x="12090" y="8779"/>
                </a:lnTo>
                <a:lnTo>
                  <a:pt x="12090" y="8728"/>
                </a:lnTo>
                <a:lnTo>
                  <a:pt x="12092" y="8678"/>
                </a:lnTo>
                <a:lnTo>
                  <a:pt x="12095" y="8628"/>
                </a:lnTo>
                <a:lnTo>
                  <a:pt x="12100" y="8578"/>
                </a:lnTo>
                <a:lnTo>
                  <a:pt x="12105" y="8528"/>
                </a:lnTo>
                <a:lnTo>
                  <a:pt x="12113" y="8479"/>
                </a:lnTo>
                <a:lnTo>
                  <a:pt x="12121" y="8430"/>
                </a:lnTo>
                <a:lnTo>
                  <a:pt x="12130" y="8382"/>
                </a:lnTo>
                <a:lnTo>
                  <a:pt x="12140" y="8335"/>
                </a:lnTo>
                <a:lnTo>
                  <a:pt x="12152" y="8288"/>
                </a:lnTo>
                <a:lnTo>
                  <a:pt x="12165" y="8241"/>
                </a:lnTo>
                <a:lnTo>
                  <a:pt x="12179" y="8194"/>
                </a:lnTo>
                <a:lnTo>
                  <a:pt x="12193" y="8148"/>
                </a:lnTo>
                <a:lnTo>
                  <a:pt x="12209" y="8102"/>
                </a:lnTo>
                <a:lnTo>
                  <a:pt x="12227" y="8057"/>
                </a:lnTo>
                <a:lnTo>
                  <a:pt x="12245" y="8013"/>
                </a:lnTo>
                <a:lnTo>
                  <a:pt x="12263" y="7970"/>
                </a:lnTo>
                <a:lnTo>
                  <a:pt x="12284" y="7926"/>
                </a:lnTo>
                <a:lnTo>
                  <a:pt x="12305" y="7883"/>
                </a:lnTo>
                <a:lnTo>
                  <a:pt x="12328" y="7841"/>
                </a:lnTo>
                <a:lnTo>
                  <a:pt x="12351" y="7799"/>
                </a:lnTo>
                <a:lnTo>
                  <a:pt x="12375" y="7759"/>
                </a:lnTo>
                <a:lnTo>
                  <a:pt x="12400" y="7719"/>
                </a:lnTo>
                <a:lnTo>
                  <a:pt x="12427" y="7679"/>
                </a:lnTo>
                <a:lnTo>
                  <a:pt x="12453" y="7640"/>
                </a:lnTo>
                <a:lnTo>
                  <a:pt x="12482" y="7602"/>
                </a:lnTo>
                <a:lnTo>
                  <a:pt x="12510" y="7564"/>
                </a:lnTo>
                <a:lnTo>
                  <a:pt x="12540" y="7527"/>
                </a:lnTo>
                <a:lnTo>
                  <a:pt x="12570" y="7492"/>
                </a:lnTo>
                <a:lnTo>
                  <a:pt x="12602" y="7456"/>
                </a:lnTo>
                <a:lnTo>
                  <a:pt x="12634" y="7422"/>
                </a:lnTo>
                <a:lnTo>
                  <a:pt x="12667" y="7388"/>
                </a:lnTo>
                <a:close/>
                <a:moveTo>
                  <a:pt x="11965" y="6165"/>
                </a:moveTo>
                <a:lnTo>
                  <a:pt x="13269" y="6977"/>
                </a:lnTo>
                <a:lnTo>
                  <a:pt x="13299" y="6963"/>
                </a:lnTo>
                <a:lnTo>
                  <a:pt x="13329" y="6951"/>
                </a:lnTo>
                <a:lnTo>
                  <a:pt x="13359" y="6939"/>
                </a:lnTo>
                <a:lnTo>
                  <a:pt x="13391" y="6928"/>
                </a:lnTo>
                <a:lnTo>
                  <a:pt x="13421" y="6917"/>
                </a:lnTo>
                <a:lnTo>
                  <a:pt x="13453" y="6906"/>
                </a:lnTo>
                <a:lnTo>
                  <a:pt x="13483" y="6897"/>
                </a:lnTo>
                <a:lnTo>
                  <a:pt x="13515" y="6887"/>
                </a:lnTo>
                <a:lnTo>
                  <a:pt x="13548" y="6879"/>
                </a:lnTo>
                <a:lnTo>
                  <a:pt x="13579" y="6870"/>
                </a:lnTo>
                <a:lnTo>
                  <a:pt x="13612" y="6863"/>
                </a:lnTo>
                <a:lnTo>
                  <a:pt x="13644" y="6855"/>
                </a:lnTo>
                <a:lnTo>
                  <a:pt x="13676" y="6848"/>
                </a:lnTo>
                <a:lnTo>
                  <a:pt x="13710" y="6842"/>
                </a:lnTo>
                <a:lnTo>
                  <a:pt x="13742" y="6836"/>
                </a:lnTo>
                <a:lnTo>
                  <a:pt x="13776" y="6831"/>
                </a:lnTo>
                <a:lnTo>
                  <a:pt x="11965" y="6049"/>
                </a:lnTo>
                <a:lnTo>
                  <a:pt x="11965" y="6165"/>
                </a:lnTo>
                <a:close/>
                <a:moveTo>
                  <a:pt x="3252" y="7514"/>
                </a:moveTo>
                <a:lnTo>
                  <a:pt x="3330" y="8268"/>
                </a:lnTo>
                <a:lnTo>
                  <a:pt x="3492" y="8268"/>
                </a:lnTo>
                <a:lnTo>
                  <a:pt x="3497" y="8268"/>
                </a:lnTo>
                <a:lnTo>
                  <a:pt x="3511" y="8269"/>
                </a:lnTo>
                <a:lnTo>
                  <a:pt x="3525" y="8271"/>
                </a:lnTo>
                <a:lnTo>
                  <a:pt x="3539" y="8275"/>
                </a:lnTo>
                <a:lnTo>
                  <a:pt x="3553" y="8279"/>
                </a:lnTo>
                <a:lnTo>
                  <a:pt x="3565" y="8286"/>
                </a:lnTo>
                <a:lnTo>
                  <a:pt x="3577" y="8293"/>
                </a:lnTo>
                <a:lnTo>
                  <a:pt x="3588" y="8302"/>
                </a:lnTo>
                <a:lnTo>
                  <a:pt x="3599" y="8311"/>
                </a:lnTo>
                <a:lnTo>
                  <a:pt x="3608" y="8321"/>
                </a:lnTo>
                <a:lnTo>
                  <a:pt x="3617" y="8332"/>
                </a:lnTo>
                <a:lnTo>
                  <a:pt x="3624" y="8344"/>
                </a:lnTo>
                <a:lnTo>
                  <a:pt x="3630" y="8357"/>
                </a:lnTo>
                <a:lnTo>
                  <a:pt x="3634" y="8370"/>
                </a:lnTo>
                <a:lnTo>
                  <a:pt x="3638" y="8383"/>
                </a:lnTo>
                <a:lnTo>
                  <a:pt x="3640" y="8399"/>
                </a:lnTo>
                <a:lnTo>
                  <a:pt x="3641" y="8413"/>
                </a:lnTo>
                <a:lnTo>
                  <a:pt x="3641" y="9318"/>
                </a:lnTo>
                <a:lnTo>
                  <a:pt x="3641" y="9322"/>
                </a:lnTo>
                <a:lnTo>
                  <a:pt x="3640" y="9338"/>
                </a:lnTo>
                <a:lnTo>
                  <a:pt x="3638" y="9352"/>
                </a:lnTo>
                <a:lnTo>
                  <a:pt x="3634" y="9365"/>
                </a:lnTo>
                <a:lnTo>
                  <a:pt x="3630" y="9378"/>
                </a:lnTo>
                <a:lnTo>
                  <a:pt x="3624" y="9392"/>
                </a:lnTo>
                <a:lnTo>
                  <a:pt x="3617" y="9403"/>
                </a:lnTo>
                <a:lnTo>
                  <a:pt x="3608" y="9414"/>
                </a:lnTo>
                <a:lnTo>
                  <a:pt x="3599" y="9424"/>
                </a:lnTo>
                <a:lnTo>
                  <a:pt x="3588" y="9434"/>
                </a:lnTo>
                <a:lnTo>
                  <a:pt x="3577" y="9443"/>
                </a:lnTo>
                <a:lnTo>
                  <a:pt x="3565" y="9450"/>
                </a:lnTo>
                <a:lnTo>
                  <a:pt x="3553" y="9456"/>
                </a:lnTo>
                <a:lnTo>
                  <a:pt x="3539" y="9461"/>
                </a:lnTo>
                <a:lnTo>
                  <a:pt x="3525" y="9464"/>
                </a:lnTo>
                <a:lnTo>
                  <a:pt x="3511" y="9466"/>
                </a:lnTo>
                <a:lnTo>
                  <a:pt x="3497" y="9467"/>
                </a:lnTo>
                <a:lnTo>
                  <a:pt x="1029" y="9467"/>
                </a:lnTo>
                <a:lnTo>
                  <a:pt x="1026" y="9467"/>
                </a:lnTo>
                <a:lnTo>
                  <a:pt x="1011" y="9466"/>
                </a:lnTo>
                <a:lnTo>
                  <a:pt x="997" y="9464"/>
                </a:lnTo>
                <a:lnTo>
                  <a:pt x="982" y="9461"/>
                </a:lnTo>
                <a:lnTo>
                  <a:pt x="969" y="9456"/>
                </a:lnTo>
                <a:lnTo>
                  <a:pt x="957" y="9450"/>
                </a:lnTo>
                <a:lnTo>
                  <a:pt x="945" y="9443"/>
                </a:lnTo>
                <a:lnTo>
                  <a:pt x="933" y="9434"/>
                </a:lnTo>
                <a:lnTo>
                  <a:pt x="923" y="9424"/>
                </a:lnTo>
                <a:lnTo>
                  <a:pt x="914" y="9414"/>
                </a:lnTo>
                <a:lnTo>
                  <a:pt x="906" y="9403"/>
                </a:lnTo>
                <a:lnTo>
                  <a:pt x="899" y="9392"/>
                </a:lnTo>
                <a:lnTo>
                  <a:pt x="893" y="9378"/>
                </a:lnTo>
                <a:lnTo>
                  <a:pt x="887" y="9365"/>
                </a:lnTo>
                <a:lnTo>
                  <a:pt x="884" y="9352"/>
                </a:lnTo>
                <a:lnTo>
                  <a:pt x="881" y="9338"/>
                </a:lnTo>
                <a:lnTo>
                  <a:pt x="881" y="9322"/>
                </a:lnTo>
                <a:lnTo>
                  <a:pt x="881" y="8417"/>
                </a:lnTo>
                <a:lnTo>
                  <a:pt x="881" y="8413"/>
                </a:lnTo>
                <a:lnTo>
                  <a:pt x="881" y="8399"/>
                </a:lnTo>
                <a:lnTo>
                  <a:pt x="884" y="8383"/>
                </a:lnTo>
                <a:lnTo>
                  <a:pt x="887" y="8370"/>
                </a:lnTo>
                <a:lnTo>
                  <a:pt x="893" y="8357"/>
                </a:lnTo>
                <a:lnTo>
                  <a:pt x="899" y="8344"/>
                </a:lnTo>
                <a:lnTo>
                  <a:pt x="906" y="8332"/>
                </a:lnTo>
                <a:lnTo>
                  <a:pt x="914" y="8321"/>
                </a:lnTo>
                <a:lnTo>
                  <a:pt x="923" y="8311"/>
                </a:lnTo>
                <a:lnTo>
                  <a:pt x="933" y="8302"/>
                </a:lnTo>
                <a:lnTo>
                  <a:pt x="945" y="8293"/>
                </a:lnTo>
                <a:lnTo>
                  <a:pt x="957" y="8286"/>
                </a:lnTo>
                <a:lnTo>
                  <a:pt x="969" y="8279"/>
                </a:lnTo>
                <a:lnTo>
                  <a:pt x="982" y="8275"/>
                </a:lnTo>
                <a:lnTo>
                  <a:pt x="997" y="8271"/>
                </a:lnTo>
                <a:lnTo>
                  <a:pt x="1011" y="8269"/>
                </a:lnTo>
                <a:lnTo>
                  <a:pt x="1026" y="8268"/>
                </a:lnTo>
                <a:lnTo>
                  <a:pt x="1212" y="8268"/>
                </a:lnTo>
                <a:lnTo>
                  <a:pt x="1293" y="7484"/>
                </a:lnTo>
                <a:lnTo>
                  <a:pt x="1317" y="7261"/>
                </a:lnTo>
                <a:lnTo>
                  <a:pt x="1270" y="7292"/>
                </a:lnTo>
                <a:lnTo>
                  <a:pt x="1224" y="7323"/>
                </a:lnTo>
                <a:lnTo>
                  <a:pt x="1179" y="7356"/>
                </a:lnTo>
                <a:lnTo>
                  <a:pt x="1135" y="7391"/>
                </a:lnTo>
                <a:lnTo>
                  <a:pt x="1092" y="7426"/>
                </a:lnTo>
                <a:lnTo>
                  <a:pt x="1051" y="7464"/>
                </a:lnTo>
                <a:lnTo>
                  <a:pt x="1011" y="7502"/>
                </a:lnTo>
                <a:lnTo>
                  <a:pt x="971" y="7541"/>
                </a:lnTo>
                <a:lnTo>
                  <a:pt x="933" y="7582"/>
                </a:lnTo>
                <a:lnTo>
                  <a:pt x="897" y="7624"/>
                </a:lnTo>
                <a:lnTo>
                  <a:pt x="861" y="7667"/>
                </a:lnTo>
                <a:lnTo>
                  <a:pt x="827" y="7711"/>
                </a:lnTo>
                <a:lnTo>
                  <a:pt x="795" y="7757"/>
                </a:lnTo>
                <a:lnTo>
                  <a:pt x="763" y="7802"/>
                </a:lnTo>
                <a:lnTo>
                  <a:pt x="733" y="7850"/>
                </a:lnTo>
                <a:lnTo>
                  <a:pt x="705" y="7898"/>
                </a:lnTo>
                <a:lnTo>
                  <a:pt x="678" y="7947"/>
                </a:lnTo>
                <a:lnTo>
                  <a:pt x="653" y="7997"/>
                </a:lnTo>
                <a:lnTo>
                  <a:pt x="628" y="8048"/>
                </a:lnTo>
                <a:lnTo>
                  <a:pt x="606" y="8100"/>
                </a:lnTo>
                <a:lnTo>
                  <a:pt x="585" y="8153"/>
                </a:lnTo>
                <a:lnTo>
                  <a:pt x="566" y="8207"/>
                </a:lnTo>
                <a:lnTo>
                  <a:pt x="549" y="8261"/>
                </a:lnTo>
                <a:lnTo>
                  <a:pt x="533" y="8316"/>
                </a:lnTo>
                <a:lnTo>
                  <a:pt x="519" y="8372"/>
                </a:lnTo>
                <a:lnTo>
                  <a:pt x="507" y="8428"/>
                </a:lnTo>
                <a:lnTo>
                  <a:pt x="497" y="8485"/>
                </a:lnTo>
                <a:lnTo>
                  <a:pt x="489" y="8542"/>
                </a:lnTo>
                <a:lnTo>
                  <a:pt x="481" y="8602"/>
                </a:lnTo>
                <a:lnTo>
                  <a:pt x="476" y="8660"/>
                </a:lnTo>
                <a:lnTo>
                  <a:pt x="474" y="8719"/>
                </a:lnTo>
                <a:lnTo>
                  <a:pt x="473" y="8779"/>
                </a:lnTo>
                <a:lnTo>
                  <a:pt x="475" y="8871"/>
                </a:lnTo>
                <a:lnTo>
                  <a:pt x="482" y="8961"/>
                </a:lnTo>
                <a:lnTo>
                  <a:pt x="494" y="9051"/>
                </a:lnTo>
                <a:lnTo>
                  <a:pt x="509" y="9139"/>
                </a:lnTo>
                <a:lnTo>
                  <a:pt x="529" y="9225"/>
                </a:lnTo>
                <a:lnTo>
                  <a:pt x="553" y="9311"/>
                </a:lnTo>
                <a:lnTo>
                  <a:pt x="581" y="9394"/>
                </a:lnTo>
                <a:lnTo>
                  <a:pt x="613" y="9475"/>
                </a:lnTo>
                <a:lnTo>
                  <a:pt x="649" y="9554"/>
                </a:lnTo>
                <a:lnTo>
                  <a:pt x="689" y="9631"/>
                </a:lnTo>
                <a:lnTo>
                  <a:pt x="731" y="9706"/>
                </a:lnTo>
                <a:lnTo>
                  <a:pt x="778" y="9778"/>
                </a:lnTo>
                <a:lnTo>
                  <a:pt x="828" y="9848"/>
                </a:lnTo>
                <a:lnTo>
                  <a:pt x="881" y="9916"/>
                </a:lnTo>
                <a:lnTo>
                  <a:pt x="937" y="9981"/>
                </a:lnTo>
                <a:lnTo>
                  <a:pt x="997" y="10043"/>
                </a:lnTo>
                <a:lnTo>
                  <a:pt x="1059" y="10102"/>
                </a:lnTo>
                <a:lnTo>
                  <a:pt x="1124" y="10158"/>
                </a:lnTo>
                <a:lnTo>
                  <a:pt x="1191" y="10211"/>
                </a:lnTo>
                <a:lnTo>
                  <a:pt x="1261" y="10261"/>
                </a:lnTo>
                <a:lnTo>
                  <a:pt x="1334" y="10308"/>
                </a:lnTo>
                <a:lnTo>
                  <a:pt x="1409" y="10351"/>
                </a:lnTo>
                <a:lnTo>
                  <a:pt x="1486" y="10390"/>
                </a:lnTo>
                <a:lnTo>
                  <a:pt x="1565" y="10426"/>
                </a:lnTo>
                <a:lnTo>
                  <a:pt x="1646" y="10458"/>
                </a:lnTo>
                <a:lnTo>
                  <a:pt x="1729" y="10486"/>
                </a:lnTo>
                <a:lnTo>
                  <a:pt x="1815" y="10510"/>
                </a:lnTo>
                <a:lnTo>
                  <a:pt x="1900" y="10530"/>
                </a:lnTo>
                <a:lnTo>
                  <a:pt x="1989" y="10546"/>
                </a:lnTo>
                <a:lnTo>
                  <a:pt x="2078" y="10557"/>
                </a:lnTo>
                <a:lnTo>
                  <a:pt x="2169" y="10564"/>
                </a:lnTo>
                <a:lnTo>
                  <a:pt x="2261" y="10566"/>
                </a:lnTo>
                <a:lnTo>
                  <a:pt x="2353" y="10564"/>
                </a:lnTo>
                <a:lnTo>
                  <a:pt x="2444" y="10557"/>
                </a:lnTo>
                <a:lnTo>
                  <a:pt x="2534" y="10546"/>
                </a:lnTo>
                <a:lnTo>
                  <a:pt x="2621" y="10530"/>
                </a:lnTo>
                <a:lnTo>
                  <a:pt x="2708" y="10510"/>
                </a:lnTo>
                <a:lnTo>
                  <a:pt x="2793" y="10486"/>
                </a:lnTo>
                <a:lnTo>
                  <a:pt x="2876" y="10458"/>
                </a:lnTo>
                <a:lnTo>
                  <a:pt x="2957" y="10426"/>
                </a:lnTo>
                <a:lnTo>
                  <a:pt x="3037" y="10390"/>
                </a:lnTo>
                <a:lnTo>
                  <a:pt x="3113" y="10351"/>
                </a:lnTo>
                <a:lnTo>
                  <a:pt x="3189" y="10308"/>
                </a:lnTo>
                <a:lnTo>
                  <a:pt x="3261" y="10261"/>
                </a:lnTo>
                <a:lnTo>
                  <a:pt x="3331" y="10211"/>
                </a:lnTo>
                <a:lnTo>
                  <a:pt x="3399" y="10158"/>
                </a:lnTo>
                <a:lnTo>
                  <a:pt x="3463" y="10102"/>
                </a:lnTo>
                <a:lnTo>
                  <a:pt x="3525" y="10043"/>
                </a:lnTo>
                <a:lnTo>
                  <a:pt x="3584" y="9981"/>
                </a:lnTo>
                <a:lnTo>
                  <a:pt x="3641" y="9916"/>
                </a:lnTo>
                <a:lnTo>
                  <a:pt x="3694" y="9848"/>
                </a:lnTo>
                <a:lnTo>
                  <a:pt x="3743" y="9778"/>
                </a:lnTo>
                <a:lnTo>
                  <a:pt x="3790" y="9706"/>
                </a:lnTo>
                <a:lnTo>
                  <a:pt x="3833" y="9631"/>
                </a:lnTo>
                <a:lnTo>
                  <a:pt x="3873" y="9554"/>
                </a:lnTo>
                <a:lnTo>
                  <a:pt x="3909" y="9475"/>
                </a:lnTo>
                <a:lnTo>
                  <a:pt x="3940" y="9394"/>
                </a:lnTo>
                <a:lnTo>
                  <a:pt x="3969" y="9311"/>
                </a:lnTo>
                <a:lnTo>
                  <a:pt x="3993" y="9225"/>
                </a:lnTo>
                <a:lnTo>
                  <a:pt x="4013" y="9139"/>
                </a:lnTo>
                <a:lnTo>
                  <a:pt x="4029" y="9051"/>
                </a:lnTo>
                <a:lnTo>
                  <a:pt x="4040" y="8961"/>
                </a:lnTo>
                <a:lnTo>
                  <a:pt x="4047" y="8871"/>
                </a:lnTo>
                <a:lnTo>
                  <a:pt x="4049" y="8779"/>
                </a:lnTo>
                <a:lnTo>
                  <a:pt x="4048" y="8720"/>
                </a:lnTo>
                <a:lnTo>
                  <a:pt x="4045" y="8662"/>
                </a:lnTo>
                <a:lnTo>
                  <a:pt x="4041" y="8604"/>
                </a:lnTo>
                <a:lnTo>
                  <a:pt x="4034" y="8547"/>
                </a:lnTo>
                <a:lnTo>
                  <a:pt x="4026" y="8489"/>
                </a:lnTo>
                <a:lnTo>
                  <a:pt x="4016" y="8433"/>
                </a:lnTo>
                <a:lnTo>
                  <a:pt x="4004" y="8377"/>
                </a:lnTo>
                <a:lnTo>
                  <a:pt x="3990" y="8322"/>
                </a:lnTo>
                <a:lnTo>
                  <a:pt x="3975" y="8268"/>
                </a:lnTo>
                <a:lnTo>
                  <a:pt x="3959" y="8214"/>
                </a:lnTo>
                <a:lnTo>
                  <a:pt x="3939" y="8161"/>
                </a:lnTo>
                <a:lnTo>
                  <a:pt x="3920" y="8109"/>
                </a:lnTo>
                <a:lnTo>
                  <a:pt x="3897" y="8058"/>
                </a:lnTo>
                <a:lnTo>
                  <a:pt x="3875" y="8007"/>
                </a:lnTo>
                <a:lnTo>
                  <a:pt x="3849" y="7958"/>
                </a:lnTo>
                <a:lnTo>
                  <a:pt x="3824" y="7909"/>
                </a:lnTo>
                <a:lnTo>
                  <a:pt x="3795" y="7862"/>
                </a:lnTo>
                <a:lnTo>
                  <a:pt x="3767" y="7815"/>
                </a:lnTo>
                <a:lnTo>
                  <a:pt x="3736" y="7769"/>
                </a:lnTo>
                <a:lnTo>
                  <a:pt x="3705" y="7724"/>
                </a:lnTo>
                <a:lnTo>
                  <a:pt x="3671" y="7680"/>
                </a:lnTo>
                <a:lnTo>
                  <a:pt x="3636" y="7637"/>
                </a:lnTo>
                <a:lnTo>
                  <a:pt x="3601" y="7595"/>
                </a:lnTo>
                <a:lnTo>
                  <a:pt x="3564" y="7555"/>
                </a:lnTo>
                <a:lnTo>
                  <a:pt x="3526" y="7516"/>
                </a:lnTo>
                <a:lnTo>
                  <a:pt x="3486" y="7477"/>
                </a:lnTo>
                <a:lnTo>
                  <a:pt x="3446" y="7441"/>
                </a:lnTo>
                <a:lnTo>
                  <a:pt x="3404" y="7405"/>
                </a:lnTo>
                <a:lnTo>
                  <a:pt x="3362" y="7370"/>
                </a:lnTo>
                <a:lnTo>
                  <a:pt x="3318" y="7337"/>
                </a:lnTo>
                <a:lnTo>
                  <a:pt x="3273" y="7305"/>
                </a:lnTo>
                <a:lnTo>
                  <a:pt x="3227" y="7274"/>
                </a:lnTo>
                <a:lnTo>
                  <a:pt x="3252" y="7514"/>
                </a:lnTo>
                <a:close/>
                <a:moveTo>
                  <a:pt x="3051" y="6977"/>
                </a:moveTo>
                <a:lnTo>
                  <a:pt x="4355" y="6165"/>
                </a:lnTo>
                <a:lnTo>
                  <a:pt x="4355" y="6049"/>
                </a:lnTo>
                <a:lnTo>
                  <a:pt x="2544" y="6831"/>
                </a:lnTo>
                <a:lnTo>
                  <a:pt x="2578" y="6836"/>
                </a:lnTo>
                <a:lnTo>
                  <a:pt x="2610" y="6842"/>
                </a:lnTo>
                <a:lnTo>
                  <a:pt x="2644" y="6848"/>
                </a:lnTo>
                <a:lnTo>
                  <a:pt x="2676" y="6855"/>
                </a:lnTo>
                <a:lnTo>
                  <a:pt x="2708" y="6863"/>
                </a:lnTo>
                <a:lnTo>
                  <a:pt x="2741" y="6870"/>
                </a:lnTo>
                <a:lnTo>
                  <a:pt x="2772" y="6879"/>
                </a:lnTo>
                <a:lnTo>
                  <a:pt x="2805" y="6887"/>
                </a:lnTo>
                <a:lnTo>
                  <a:pt x="2837" y="6896"/>
                </a:lnTo>
                <a:lnTo>
                  <a:pt x="2867" y="6906"/>
                </a:lnTo>
                <a:lnTo>
                  <a:pt x="2899" y="6917"/>
                </a:lnTo>
                <a:lnTo>
                  <a:pt x="2929" y="6928"/>
                </a:lnTo>
                <a:lnTo>
                  <a:pt x="2961" y="6939"/>
                </a:lnTo>
                <a:lnTo>
                  <a:pt x="2991" y="6951"/>
                </a:lnTo>
                <a:lnTo>
                  <a:pt x="3021" y="6963"/>
                </a:lnTo>
                <a:lnTo>
                  <a:pt x="3051" y="6977"/>
                </a:lnTo>
                <a:close/>
                <a:moveTo>
                  <a:pt x="3040" y="8268"/>
                </a:moveTo>
                <a:lnTo>
                  <a:pt x="2942" y="7323"/>
                </a:lnTo>
                <a:lnTo>
                  <a:pt x="2938" y="7282"/>
                </a:lnTo>
                <a:lnTo>
                  <a:pt x="2846" y="7282"/>
                </a:lnTo>
                <a:lnTo>
                  <a:pt x="2843" y="7282"/>
                </a:lnTo>
                <a:lnTo>
                  <a:pt x="1702" y="7282"/>
                </a:lnTo>
                <a:lnTo>
                  <a:pt x="1699" y="7282"/>
                </a:lnTo>
                <a:lnTo>
                  <a:pt x="1696" y="7282"/>
                </a:lnTo>
                <a:lnTo>
                  <a:pt x="1605" y="7282"/>
                </a:lnTo>
                <a:lnTo>
                  <a:pt x="1600" y="7321"/>
                </a:lnTo>
                <a:lnTo>
                  <a:pt x="1502" y="8268"/>
                </a:lnTo>
                <a:lnTo>
                  <a:pt x="3040" y="8268"/>
                </a:lnTo>
                <a:close/>
                <a:moveTo>
                  <a:pt x="3352" y="8558"/>
                </a:moveTo>
                <a:lnTo>
                  <a:pt x="1171" y="8558"/>
                </a:lnTo>
                <a:lnTo>
                  <a:pt x="1171" y="9178"/>
                </a:lnTo>
                <a:lnTo>
                  <a:pt x="3352" y="9178"/>
                </a:lnTo>
                <a:lnTo>
                  <a:pt x="3352" y="8558"/>
                </a:lnTo>
                <a:close/>
                <a:moveTo>
                  <a:pt x="869" y="7388"/>
                </a:moveTo>
                <a:lnTo>
                  <a:pt x="869" y="7388"/>
                </a:lnTo>
                <a:lnTo>
                  <a:pt x="869" y="7388"/>
                </a:lnTo>
                <a:close/>
                <a:moveTo>
                  <a:pt x="3654" y="10170"/>
                </a:moveTo>
                <a:lnTo>
                  <a:pt x="3535" y="10281"/>
                </a:lnTo>
                <a:lnTo>
                  <a:pt x="3412" y="10378"/>
                </a:lnTo>
                <a:lnTo>
                  <a:pt x="3284" y="10464"/>
                </a:lnTo>
                <a:lnTo>
                  <a:pt x="3154" y="10537"/>
                </a:lnTo>
                <a:lnTo>
                  <a:pt x="3020" y="10601"/>
                </a:lnTo>
                <a:lnTo>
                  <a:pt x="2884" y="10652"/>
                </a:lnTo>
                <a:lnTo>
                  <a:pt x="2746" y="10691"/>
                </a:lnTo>
                <a:lnTo>
                  <a:pt x="2606" y="10721"/>
                </a:lnTo>
                <a:lnTo>
                  <a:pt x="2466" y="10739"/>
                </a:lnTo>
                <a:lnTo>
                  <a:pt x="2326" y="10748"/>
                </a:lnTo>
                <a:lnTo>
                  <a:pt x="2185" y="10746"/>
                </a:lnTo>
                <a:lnTo>
                  <a:pt x="2046" y="10735"/>
                </a:lnTo>
                <a:lnTo>
                  <a:pt x="1908" y="10714"/>
                </a:lnTo>
                <a:lnTo>
                  <a:pt x="1772" y="10683"/>
                </a:lnTo>
                <a:lnTo>
                  <a:pt x="1639" y="10642"/>
                </a:lnTo>
                <a:lnTo>
                  <a:pt x="1509" y="10595"/>
                </a:lnTo>
                <a:lnTo>
                  <a:pt x="1382" y="10536"/>
                </a:lnTo>
                <a:lnTo>
                  <a:pt x="1260" y="10470"/>
                </a:lnTo>
                <a:lnTo>
                  <a:pt x="1141" y="10396"/>
                </a:lnTo>
                <a:lnTo>
                  <a:pt x="1029" y="10313"/>
                </a:lnTo>
                <a:lnTo>
                  <a:pt x="922" y="10223"/>
                </a:lnTo>
                <a:lnTo>
                  <a:pt x="822" y="10126"/>
                </a:lnTo>
                <a:lnTo>
                  <a:pt x="729" y="10021"/>
                </a:lnTo>
                <a:lnTo>
                  <a:pt x="643" y="9907"/>
                </a:lnTo>
                <a:lnTo>
                  <a:pt x="565" y="9788"/>
                </a:lnTo>
                <a:lnTo>
                  <a:pt x="496" y="9663"/>
                </a:lnTo>
                <a:lnTo>
                  <a:pt x="436" y="9530"/>
                </a:lnTo>
                <a:lnTo>
                  <a:pt x="386" y="9392"/>
                </a:lnTo>
                <a:lnTo>
                  <a:pt x="346" y="9247"/>
                </a:lnTo>
                <a:lnTo>
                  <a:pt x="316" y="9096"/>
                </a:lnTo>
                <a:lnTo>
                  <a:pt x="298" y="8940"/>
                </a:lnTo>
                <a:lnTo>
                  <a:pt x="292" y="8779"/>
                </a:lnTo>
                <a:lnTo>
                  <a:pt x="293" y="8728"/>
                </a:lnTo>
                <a:lnTo>
                  <a:pt x="295" y="8678"/>
                </a:lnTo>
                <a:lnTo>
                  <a:pt x="298" y="8628"/>
                </a:lnTo>
                <a:lnTo>
                  <a:pt x="302" y="8578"/>
                </a:lnTo>
                <a:lnTo>
                  <a:pt x="308" y="8528"/>
                </a:lnTo>
                <a:lnTo>
                  <a:pt x="314" y="8479"/>
                </a:lnTo>
                <a:lnTo>
                  <a:pt x="322" y="8430"/>
                </a:lnTo>
                <a:lnTo>
                  <a:pt x="332" y="8382"/>
                </a:lnTo>
                <a:lnTo>
                  <a:pt x="343" y="8335"/>
                </a:lnTo>
                <a:lnTo>
                  <a:pt x="354" y="8288"/>
                </a:lnTo>
                <a:lnTo>
                  <a:pt x="366" y="8241"/>
                </a:lnTo>
                <a:lnTo>
                  <a:pt x="380" y="8194"/>
                </a:lnTo>
                <a:lnTo>
                  <a:pt x="396" y="8148"/>
                </a:lnTo>
                <a:lnTo>
                  <a:pt x="411" y="8102"/>
                </a:lnTo>
                <a:lnTo>
                  <a:pt x="428" y="8057"/>
                </a:lnTo>
                <a:lnTo>
                  <a:pt x="447" y="8013"/>
                </a:lnTo>
                <a:lnTo>
                  <a:pt x="466" y="7970"/>
                </a:lnTo>
                <a:lnTo>
                  <a:pt x="487" y="7926"/>
                </a:lnTo>
                <a:lnTo>
                  <a:pt x="508" y="7883"/>
                </a:lnTo>
                <a:lnTo>
                  <a:pt x="529" y="7841"/>
                </a:lnTo>
                <a:lnTo>
                  <a:pt x="553" y="7799"/>
                </a:lnTo>
                <a:lnTo>
                  <a:pt x="577" y="7759"/>
                </a:lnTo>
                <a:lnTo>
                  <a:pt x="603" y="7719"/>
                </a:lnTo>
                <a:lnTo>
                  <a:pt x="628" y="7679"/>
                </a:lnTo>
                <a:lnTo>
                  <a:pt x="656" y="7640"/>
                </a:lnTo>
                <a:lnTo>
                  <a:pt x="683" y="7602"/>
                </a:lnTo>
                <a:lnTo>
                  <a:pt x="712" y="7564"/>
                </a:lnTo>
                <a:lnTo>
                  <a:pt x="742" y="7527"/>
                </a:lnTo>
                <a:lnTo>
                  <a:pt x="772" y="7492"/>
                </a:lnTo>
                <a:lnTo>
                  <a:pt x="804" y="7456"/>
                </a:lnTo>
                <a:lnTo>
                  <a:pt x="836" y="7422"/>
                </a:lnTo>
                <a:lnTo>
                  <a:pt x="869" y="7388"/>
                </a:lnTo>
                <a:lnTo>
                  <a:pt x="908" y="7350"/>
                </a:lnTo>
                <a:lnTo>
                  <a:pt x="949" y="7313"/>
                </a:lnTo>
                <a:lnTo>
                  <a:pt x="989" y="7277"/>
                </a:lnTo>
                <a:lnTo>
                  <a:pt x="1031" y="7243"/>
                </a:lnTo>
                <a:lnTo>
                  <a:pt x="1074" y="7209"/>
                </a:lnTo>
                <a:lnTo>
                  <a:pt x="1118" y="7178"/>
                </a:lnTo>
                <a:lnTo>
                  <a:pt x="1163" y="7146"/>
                </a:lnTo>
                <a:lnTo>
                  <a:pt x="1209" y="7116"/>
                </a:lnTo>
                <a:lnTo>
                  <a:pt x="1256" y="7088"/>
                </a:lnTo>
                <a:lnTo>
                  <a:pt x="1303" y="7060"/>
                </a:lnTo>
                <a:lnTo>
                  <a:pt x="1352" y="7034"/>
                </a:lnTo>
                <a:lnTo>
                  <a:pt x="1400" y="7009"/>
                </a:lnTo>
                <a:lnTo>
                  <a:pt x="1450" y="6986"/>
                </a:lnTo>
                <a:lnTo>
                  <a:pt x="1500" y="6963"/>
                </a:lnTo>
                <a:lnTo>
                  <a:pt x="1552" y="6943"/>
                </a:lnTo>
                <a:lnTo>
                  <a:pt x="1604" y="6924"/>
                </a:lnTo>
                <a:lnTo>
                  <a:pt x="4499" y="5686"/>
                </a:lnTo>
                <a:lnTo>
                  <a:pt x="4519" y="5686"/>
                </a:lnTo>
                <a:lnTo>
                  <a:pt x="4535" y="5689"/>
                </a:lnTo>
                <a:lnTo>
                  <a:pt x="4551" y="5693"/>
                </a:lnTo>
                <a:lnTo>
                  <a:pt x="4566" y="5699"/>
                </a:lnTo>
                <a:lnTo>
                  <a:pt x="4578" y="5707"/>
                </a:lnTo>
                <a:lnTo>
                  <a:pt x="4589" y="5715"/>
                </a:lnTo>
                <a:lnTo>
                  <a:pt x="4599" y="5725"/>
                </a:lnTo>
                <a:lnTo>
                  <a:pt x="4608" y="5736"/>
                </a:lnTo>
                <a:lnTo>
                  <a:pt x="4617" y="5748"/>
                </a:lnTo>
                <a:lnTo>
                  <a:pt x="4624" y="5762"/>
                </a:lnTo>
                <a:lnTo>
                  <a:pt x="4629" y="5777"/>
                </a:lnTo>
                <a:lnTo>
                  <a:pt x="4634" y="5792"/>
                </a:lnTo>
                <a:lnTo>
                  <a:pt x="4638" y="5810"/>
                </a:lnTo>
                <a:lnTo>
                  <a:pt x="4642" y="5827"/>
                </a:lnTo>
                <a:lnTo>
                  <a:pt x="4644" y="5845"/>
                </a:lnTo>
                <a:lnTo>
                  <a:pt x="4646" y="5865"/>
                </a:lnTo>
                <a:lnTo>
                  <a:pt x="4648" y="5906"/>
                </a:lnTo>
                <a:lnTo>
                  <a:pt x="4649" y="5949"/>
                </a:lnTo>
                <a:lnTo>
                  <a:pt x="4648" y="5995"/>
                </a:lnTo>
                <a:lnTo>
                  <a:pt x="4647" y="6042"/>
                </a:lnTo>
                <a:lnTo>
                  <a:pt x="4645" y="6090"/>
                </a:lnTo>
                <a:lnTo>
                  <a:pt x="4644" y="6139"/>
                </a:lnTo>
                <a:lnTo>
                  <a:pt x="4643" y="6188"/>
                </a:lnTo>
                <a:lnTo>
                  <a:pt x="4644" y="6236"/>
                </a:lnTo>
                <a:lnTo>
                  <a:pt x="4644" y="6245"/>
                </a:lnTo>
                <a:lnTo>
                  <a:pt x="4644" y="6255"/>
                </a:lnTo>
                <a:lnTo>
                  <a:pt x="4643" y="6264"/>
                </a:lnTo>
                <a:lnTo>
                  <a:pt x="4642" y="6274"/>
                </a:lnTo>
                <a:lnTo>
                  <a:pt x="4640" y="6284"/>
                </a:lnTo>
                <a:lnTo>
                  <a:pt x="4637" y="6293"/>
                </a:lnTo>
                <a:lnTo>
                  <a:pt x="4633" y="6302"/>
                </a:lnTo>
                <a:lnTo>
                  <a:pt x="4629" y="6311"/>
                </a:lnTo>
                <a:lnTo>
                  <a:pt x="4625" y="6319"/>
                </a:lnTo>
                <a:lnTo>
                  <a:pt x="4620" y="6327"/>
                </a:lnTo>
                <a:lnTo>
                  <a:pt x="4613" y="6336"/>
                </a:lnTo>
                <a:lnTo>
                  <a:pt x="4607" y="6343"/>
                </a:lnTo>
                <a:lnTo>
                  <a:pt x="4600" y="6350"/>
                </a:lnTo>
                <a:lnTo>
                  <a:pt x="4593" y="6357"/>
                </a:lnTo>
                <a:lnTo>
                  <a:pt x="4585" y="6363"/>
                </a:lnTo>
                <a:lnTo>
                  <a:pt x="4577" y="6369"/>
                </a:lnTo>
                <a:lnTo>
                  <a:pt x="3344" y="7135"/>
                </a:lnTo>
                <a:lnTo>
                  <a:pt x="3437" y="7201"/>
                </a:lnTo>
                <a:lnTo>
                  <a:pt x="3527" y="7271"/>
                </a:lnTo>
                <a:lnTo>
                  <a:pt x="3611" y="7347"/>
                </a:lnTo>
                <a:lnTo>
                  <a:pt x="3690" y="7425"/>
                </a:lnTo>
                <a:lnTo>
                  <a:pt x="3764" y="7507"/>
                </a:lnTo>
                <a:lnTo>
                  <a:pt x="3832" y="7592"/>
                </a:lnTo>
                <a:lnTo>
                  <a:pt x="3895" y="7681"/>
                </a:lnTo>
                <a:lnTo>
                  <a:pt x="3953" y="7772"/>
                </a:lnTo>
                <a:lnTo>
                  <a:pt x="4006" y="7866"/>
                </a:lnTo>
                <a:lnTo>
                  <a:pt x="4052" y="7962"/>
                </a:lnTo>
                <a:lnTo>
                  <a:pt x="4094" y="8060"/>
                </a:lnTo>
                <a:lnTo>
                  <a:pt x="4130" y="8161"/>
                </a:lnTo>
                <a:lnTo>
                  <a:pt x="4161" y="8263"/>
                </a:lnTo>
                <a:lnTo>
                  <a:pt x="4186" y="8366"/>
                </a:lnTo>
                <a:lnTo>
                  <a:pt x="4205" y="8470"/>
                </a:lnTo>
                <a:lnTo>
                  <a:pt x="4219" y="8575"/>
                </a:lnTo>
                <a:lnTo>
                  <a:pt x="4228" y="8681"/>
                </a:lnTo>
                <a:lnTo>
                  <a:pt x="4230" y="8787"/>
                </a:lnTo>
                <a:lnTo>
                  <a:pt x="4227" y="8893"/>
                </a:lnTo>
                <a:lnTo>
                  <a:pt x="4219" y="8999"/>
                </a:lnTo>
                <a:lnTo>
                  <a:pt x="4203" y="9105"/>
                </a:lnTo>
                <a:lnTo>
                  <a:pt x="4183" y="9210"/>
                </a:lnTo>
                <a:lnTo>
                  <a:pt x="4158" y="9314"/>
                </a:lnTo>
                <a:lnTo>
                  <a:pt x="4125" y="9417"/>
                </a:lnTo>
                <a:lnTo>
                  <a:pt x="4087" y="9519"/>
                </a:lnTo>
                <a:lnTo>
                  <a:pt x="4043" y="9619"/>
                </a:lnTo>
                <a:lnTo>
                  <a:pt x="3993" y="9717"/>
                </a:lnTo>
                <a:lnTo>
                  <a:pt x="3937" y="9814"/>
                </a:lnTo>
                <a:lnTo>
                  <a:pt x="3876" y="9906"/>
                </a:lnTo>
                <a:lnTo>
                  <a:pt x="3808" y="9998"/>
                </a:lnTo>
                <a:lnTo>
                  <a:pt x="3733" y="10086"/>
                </a:lnTo>
                <a:lnTo>
                  <a:pt x="3654" y="10170"/>
                </a:lnTo>
                <a:close/>
                <a:moveTo>
                  <a:pt x="662" y="7182"/>
                </a:moveTo>
                <a:lnTo>
                  <a:pt x="662" y="7182"/>
                </a:lnTo>
                <a:lnTo>
                  <a:pt x="662" y="7182"/>
                </a:lnTo>
                <a:close/>
                <a:moveTo>
                  <a:pt x="3860" y="10377"/>
                </a:moveTo>
                <a:lnTo>
                  <a:pt x="3860" y="10377"/>
                </a:lnTo>
                <a:lnTo>
                  <a:pt x="3860" y="10377"/>
                </a:lnTo>
                <a:close/>
                <a:moveTo>
                  <a:pt x="6036" y="9510"/>
                </a:moveTo>
                <a:lnTo>
                  <a:pt x="6036" y="5733"/>
                </a:lnTo>
                <a:lnTo>
                  <a:pt x="6147" y="5861"/>
                </a:lnTo>
                <a:lnTo>
                  <a:pt x="6147" y="9510"/>
                </a:lnTo>
                <a:lnTo>
                  <a:pt x="6841" y="9510"/>
                </a:lnTo>
                <a:lnTo>
                  <a:pt x="6841" y="5745"/>
                </a:lnTo>
                <a:lnTo>
                  <a:pt x="6427" y="5745"/>
                </a:lnTo>
                <a:lnTo>
                  <a:pt x="5251" y="4366"/>
                </a:lnTo>
                <a:lnTo>
                  <a:pt x="5251" y="290"/>
                </a:lnTo>
                <a:lnTo>
                  <a:pt x="6069" y="290"/>
                </a:lnTo>
                <a:lnTo>
                  <a:pt x="6069" y="2901"/>
                </a:lnTo>
                <a:lnTo>
                  <a:pt x="6358" y="2901"/>
                </a:lnTo>
                <a:lnTo>
                  <a:pt x="6358" y="290"/>
                </a:lnTo>
                <a:lnTo>
                  <a:pt x="9672" y="290"/>
                </a:lnTo>
                <a:lnTo>
                  <a:pt x="10076" y="1911"/>
                </a:lnTo>
                <a:lnTo>
                  <a:pt x="10356" y="1842"/>
                </a:lnTo>
                <a:lnTo>
                  <a:pt x="9898" y="0"/>
                </a:lnTo>
                <a:lnTo>
                  <a:pt x="4961" y="0"/>
                </a:lnTo>
                <a:lnTo>
                  <a:pt x="4961" y="4419"/>
                </a:lnTo>
                <a:lnTo>
                  <a:pt x="5301" y="4870"/>
                </a:lnTo>
                <a:lnTo>
                  <a:pt x="720" y="6726"/>
                </a:lnTo>
                <a:lnTo>
                  <a:pt x="819" y="7040"/>
                </a:lnTo>
                <a:lnTo>
                  <a:pt x="662" y="7182"/>
                </a:lnTo>
                <a:lnTo>
                  <a:pt x="624" y="7220"/>
                </a:lnTo>
                <a:lnTo>
                  <a:pt x="588" y="7260"/>
                </a:lnTo>
                <a:lnTo>
                  <a:pt x="552" y="7300"/>
                </a:lnTo>
                <a:lnTo>
                  <a:pt x="516" y="7342"/>
                </a:lnTo>
                <a:lnTo>
                  <a:pt x="482" y="7383"/>
                </a:lnTo>
                <a:lnTo>
                  <a:pt x="449" y="7427"/>
                </a:lnTo>
                <a:lnTo>
                  <a:pt x="417" y="7471"/>
                </a:lnTo>
                <a:lnTo>
                  <a:pt x="387" y="7516"/>
                </a:lnTo>
                <a:lnTo>
                  <a:pt x="356" y="7561"/>
                </a:lnTo>
                <a:lnTo>
                  <a:pt x="327" y="7608"/>
                </a:lnTo>
                <a:lnTo>
                  <a:pt x="300" y="7655"/>
                </a:lnTo>
                <a:lnTo>
                  <a:pt x="273" y="7701"/>
                </a:lnTo>
                <a:lnTo>
                  <a:pt x="248" y="7750"/>
                </a:lnTo>
                <a:lnTo>
                  <a:pt x="223" y="7799"/>
                </a:lnTo>
                <a:lnTo>
                  <a:pt x="200" y="7849"/>
                </a:lnTo>
                <a:lnTo>
                  <a:pt x="177" y="7899"/>
                </a:lnTo>
                <a:lnTo>
                  <a:pt x="157" y="7950"/>
                </a:lnTo>
                <a:lnTo>
                  <a:pt x="138" y="8002"/>
                </a:lnTo>
                <a:lnTo>
                  <a:pt x="119" y="8054"/>
                </a:lnTo>
                <a:lnTo>
                  <a:pt x="102" y="8107"/>
                </a:lnTo>
                <a:lnTo>
                  <a:pt x="86" y="8160"/>
                </a:lnTo>
                <a:lnTo>
                  <a:pt x="71" y="8214"/>
                </a:lnTo>
                <a:lnTo>
                  <a:pt x="58" y="8268"/>
                </a:lnTo>
                <a:lnTo>
                  <a:pt x="46" y="8323"/>
                </a:lnTo>
                <a:lnTo>
                  <a:pt x="36" y="8379"/>
                </a:lnTo>
                <a:lnTo>
                  <a:pt x="27" y="8435"/>
                </a:lnTo>
                <a:lnTo>
                  <a:pt x="18" y="8492"/>
                </a:lnTo>
                <a:lnTo>
                  <a:pt x="11" y="8548"/>
                </a:lnTo>
                <a:lnTo>
                  <a:pt x="6" y="8606"/>
                </a:lnTo>
                <a:lnTo>
                  <a:pt x="3" y="8663"/>
                </a:lnTo>
                <a:lnTo>
                  <a:pt x="1" y="8721"/>
                </a:lnTo>
                <a:lnTo>
                  <a:pt x="0" y="8779"/>
                </a:lnTo>
                <a:lnTo>
                  <a:pt x="7" y="8965"/>
                </a:lnTo>
                <a:lnTo>
                  <a:pt x="28" y="9143"/>
                </a:lnTo>
                <a:lnTo>
                  <a:pt x="61" y="9315"/>
                </a:lnTo>
                <a:lnTo>
                  <a:pt x="107" y="9481"/>
                </a:lnTo>
                <a:lnTo>
                  <a:pt x="165" y="9640"/>
                </a:lnTo>
                <a:lnTo>
                  <a:pt x="235" y="9792"/>
                </a:lnTo>
                <a:lnTo>
                  <a:pt x="314" y="9937"/>
                </a:lnTo>
                <a:lnTo>
                  <a:pt x="403" y="10075"/>
                </a:lnTo>
                <a:lnTo>
                  <a:pt x="502" y="10203"/>
                </a:lnTo>
                <a:lnTo>
                  <a:pt x="609" y="10324"/>
                </a:lnTo>
                <a:lnTo>
                  <a:pt x="724" y="10437"/>
                </a:lnTo>
                <a:lnTo>
                  <a:pt x="847" y="10540"/>
                </a:lnTo>
                <a:lnTo>
                  <a:pt x="976" y="10635"/>
                </a:lnTo>
                <a:lnTo>
                  <a:pt x="1111" y="10720"/>
                </a:lnTo>
                <a:lnTo>
                  <a:pt x="1252" y="10796"/>
                </a:lnTo>
                <a:lnTo>
                  <a:pt x="1397" y="10863"/>
                </a:lnTo>
                <a:lnTo>
                  <a:pt x="1546" y="10919"/>
                </a:lnTo>
                <a:lnTo>
                  <a:pt x="1699" y="10965"/>
                </a:lnTo>
                <a:lnTo>
                  <a:pt x="1855" y="10999"/>
                </a:lnTo>
                <a:lnTo>
                  <a:pt x="2015" y="11024"/>
                </a:lnTo>
                <a:lnTo>
                  <a:pt x="2174" y="11037"/>
                </a:lnTo>
                <a:lnTo>
                  <a:pt x="2335" y="11039"/>
                </a:lnTo>
                <a:lnTo>
                  <a:pt x="2496" y="11030"/>
                </a:lnTo>
                <a:lnTo>
                  <a:pt x="2657" y="11008"/>
                </a:lnTo>
                <a:lnTo>
                  <a:pt x="2817" y="10975"/>
                </a:lnTo>
                <a:lnTo>
                  <a:pt x="2976" y="10929"/>
                </a:lnTo>
                <a:lnTo>
                  <a:pt x="3132" y="10870"/>
                </a:lnTo>
                <a:lnTo>
                  <a:pt x="3286" y="10798"/>
                </a:lnTo>
                <a:lnTo>
                  <a:pt x="3436" y="10713"/>
                </a:lnTo>
                <a:lnTo>
                  <a:pt x="3582" y="10615"/>
                </a:lnTo>
                <a:lnTo>
                  <a:pt x="3724" y="10503"/>
                </a:lnTo>
                <a:lnTo>
                  <a:pt x="3860" y="10376"/>
                </a:lnTo>
                <a:lnTo>
                  <a:pt x="3905" y="10331"/>
                </a:lnTo>
                <a:lnTo>
                  <a:pt x="3947" y="10284"/>
                </a:lnTo>
                <a:lnTo>
                  <a:pt x="3990" y="10235"/>
                </a:lnTo>
                <a:lnTo>
                  <a:pt x="4030" y="10186"/>
                </a:lnTo>
                <a:lnTo>
                  <a:pt x="4070" y="10135"/>
                </a:lnTo>
                <a:lnTo>
                  <a:pt x="4108" y="10083"/>
                </a:lnTo>
                <a:lnTo>
                  <a:pt x="4143" y="10031"/>
                </a:lnTo>
                <a:lnTo>
                  <a:pt x="4179" y="9977"/>
                </a:lnTo>
                <a:lnTo>
                  <a:pt x="4212" y="9922"/>
                </a:lnTo>
                <a:lnTo>
                  <a:pt x="4244" y="9866"/>
                </a:lnTo>
                <a:lnTo>
                  <a:pt x="4274" y="9809"/>
                </a:lnTo>
                <a:lnTo>
                  <a:pt x="4302" y="9750"/>
                </a:lnTo>
                <a:lnTo>
                  <a:pt x="4330" y="9692"/>
                </a:lnTo>
                <a:lnTo>
                  <a:pt x="4355" y="9632"/>
                </a:lnTo>
                <a:lnTo>
                  <a:pt x="4379" y="9572"/>
                </a:lnTo>
                <a:lnTo>
                  <a:pt x="4401" y="9510"/>
                </a:lnTo>
                <a:lnTo>
                  <a:pt x="6036" y="9510"/>
                </a:lnTo>
                <a:close/>
                <a:moveTo>
                  <a:pt x="12679" y="9318"/>
                </a:moveTo>
                <a:lnTo>
                  <a:pt x="12679" y="8413"/>
                </a:lnTo>
                <a:lnTo>
                  <a:pt x="12680" y="8399"/>
                </a:lnTo>
                <a:lnTo>
                  <a:pt x="12682" y="8383"/>
                </a:lnTo>
                <a:lnTo>
                  <a:pt x="12686" y="8370"/>
                </a:lnTo>
                <a:lnTo>
                  <a:pt x="12690" y="8357"/>
                </a:lnTo>
                <a:lnTo>
                  <a:pt x="12696" y="8344"/>
                </a:lnTo>
                <a:lnTo>
                  <a:pt x="12703" y="8332"/>
                </a:lnTo>
                <a:lnTo>
                  <a:pt x="12712" y="8321"/>
                </a:lnTo>
                <a:lnTo>
                  <a:pt x="12721" y="8311"/>
                </a:lnTo>
                <a:lnTo>
                  <a:pt x="12732" y="8302"/>
                </a:lnTo>
                <a:lnTo>
                  <a:pt x="12743" y="8293"/>
                </a:lnTo>
                <a:lnTo>
                  <a:pt x="12755" y="8286"/>
                </a:lnTo>
                <a:lnTo>
                  <a:pt x="12767" y="8279"/>
                </a:lnTo>
                <a:lnTo>
                  <a:pt x="12781" y="8275"/>
                </a:lnTo>
                <a:lnTo>
                  <a:pt x="12795" y="8271"/>
                </a:lnTo>
                <a:lnTo>
                  <a:pt x="12809" y="8269"/>
                </a:lnTo>
                <a:lnTo>
                  <a:pt x="12823" y="8268"/>
                </a:lnTo>
                <a:lnTo>
                  <a:pt x="12828" y="8268"/>
                </a:lnTo>
                <a:lnTo>
                  <a:pt x="12990" y="8268"/>
                </a:lnTo>
                <a:lnTo>
                  <a:pt x="13070" y="7499"/>
                </a:lnTo>
                <a:lnTo>
                  <a:pt x="13093" y="7274"/>
                </a:lnTo>
                <a:lnTo>
                  <a:pt x="13047" y="7305"/>
                </a:lnTo>
                <a:lnTo>
                  <a:pt x="13002" y="7337"/>
                </a:lnTo>
                <a:lnTo>
                  <a:pt x="12959" y="7370"/>
                </a:lnTo>
                <a:lnTo>
                  <a:pt x="12916" y="7405"/>
                </a:lnTo>
                <a:lnTo>
                  <a:pt x="12874" y="7441"/>
                </a:lnTo>
                <a:lnTo>
                  <a:pt x="12834" y="7477"/>
                </a:lnTo>
                <a:lnTo>
                  <a:pt x="12794" y="7516"/>
                </a:lnTo>
                <a:lnTo>
                  <a:pt x="12756" y="7555"/>
                </a:lnTo>
                <a:lnTo>
                  <a:pt x="12719" y="7595"/>
                </a:lnTo>
                <a:lnTo>
                  <a:pt x="12684" y="7637"/>
                </a:lnTo>
                <a:lnTo>
                  <a:pt x="12649" y="7680"/>
                </a:lnTo>
                <a:lnTo>
                  <a:pt x="12615" y="7724"/>
                </a:lnTo>
                <a:lnTo>
                  <a:pt x="12584" y="7769"/>
                </a:lnTo>
                <a:lnTo>
                  <a:pt x="12553" y="7815"/>
                </a:lnTo>
                <a:lnTo>
                  <a:pt x="12525" y="7862"/>
                </a:lnTo>
                <a:lnTo>
                  <a:pt x="12496" y="7909"/>
                </a:lnTo>
                <a:lnTo>
                  <a:pt x="12471" y="7958"/>
                </a:lnTo>
                <a:lnTo>
                  <a:pt x="12445" y="8007"/>
                </a:lnTo>
                <a:lnTo>
                  <a:pt x="12423" y="8058"/>
                </a:lnTo>
                <a:lnTo>
                  <a:pt x="12400" y="8109"/>
                </a:lnTo>
                <a:lnTo>
                  <a:pt x="12381" y="8161"/>
                </a:lnTo>
                <a:lnTo>
                  <a:pt x="12361" y="8214"/>
                </a:lnTo>
                <a:lnTo>
                  <a:pt x="12345" y="8268"/>
                </a:lnTo>
                <a:lnTo>
                  <a:pt x="12330" y="8322"/>
                </a:lnTo>
                <a:lnTo>
                  <a:pt x="12317" y="8377"/>
                </a:lnTo>
                <a:lnTo>
                  <a:pt x="12304" y="8433"/>
                </a:lnTo>
                <a:lnTo>
                  <a:pt x="12294" y="8489"/>
                </a:lnTo>
                <a:lnTo>
                  <a:pt x="12286" y="8547"/>
                </a:lnTo>
                <a:lnTo>
                  <a:pt x="12279" y="8604"/>
                </a:lnTo>
                <a:lnTo>
                  <a:pt x="12275" y="8662"/>
                </a:lnTo>
                <a:lnTo>
                  <a:pt x="12272" y="8720"/>
                </a:lnTo>
                <a:lnTo>
                  <a:pt x="12271" y="8779"/>
                </a:lnTo>
                <a:lnTo>
                  <a:pt x="12273" y="8871"/>
                </a:lnTo>
                <a:lnTo>
                  <a:pt x="12280" y="8961"/>
                </a:lnTo>
                <a:lnTo>
                  <a:pt x="12291" y="9051"/>
                </a:lnTo>
                <a:lnTo>
                  <a:pt x="12307" y="9139"/>
                </a:lnTo>
                <a:lnTo>
                  <a:pt x="12327" y="9225"/>
                </a:lnTo>
                <a:lnTo>
                  <a:pt x="12351" y="9311"/>
                </a:lnTo>
                <a:lnTo>
                  <a:pt x="12380" y="9394"/>
                </a:lnTo>
                <a:lnTo>
                  <a:pt x="12411" y="9475"/>
                </a:lnTo>
                <a:lnTo>
                  <a:pt x="12447" y="9554"/>
                </a:lnTo>
                <a:lnTo>
                  <a:pt x="12487" y="9631"/>
                </a:lnTo>
                <a:lnTo>
                  <a:pt x="12530" y="9706"/>
                </a:lnTo>
                <a:lnTo>
                  <a:pt x="12577" y="9778"/>
                </a:lnTo>
                <a:lnTo>
                  <a:pt x="12626" y="9848"/>
                </a:lnTo>
                <a:lnTo>
                  <a:pt x="12679" y="9916"/>
                </a:lnTo>
                <a:lnTo>
                  <a:pt x="12736" y="9981"/>
                </a:lnTo>
                <a:lnTo>
                  <a:pt x="12795" y="10043"/>
                </a:lnTo>
                <a:lnTo>
                  <a:pt x="12857" y="10102"/>
                </a:lnTo>
                <a:lnTo>
                  <a:pt x="12921" y="10158"/>
                </a:lnTo>
                <a:lnTo>
                  <a:pt x="12989" y="10211"/>
                </a:lnTo>
                <a:lnTo>
                  <a:pt x="13059" y="10261"/>
                </a:lnTo>
                <a:lnTo>
                  <a:pt x="13131" y="10308"/>
                </a:lnTo>
                <a:lnTo>
                  <a:pt x="13207" y="10351"/>
                </a:lnTo>
                <a:lnTo>
                  <a:pt x="13283" y="10390"/>
                </a:lnTo>
                <a:lnTo>
                  <a:pt x="13363" y="10426"/>
                </a:lnTo>
                <a:lnTo>
                  <a:pt x="13444" y="10458"/>
                </a:lnTo>
                <a:lnTo>
                  <a:pt x="13527" y="10486"/>
                </a:lnTo>
                <a:lnTo>
                  <a:pt x="13612" y="10510"/>
                </a:lnTo>
                <a:lnTo>
                  <a:pt x="13699" y="10530"/>
                </a:lnTo>
                <a:lnTo>
                  <a:pt x="13786" y="10546"/>
                </a:lnTo>
                <a:lnTo>
                  <a:pt x="13876" y="10557"/>
                </a:lnTo>
                <a:lnTo>
                  <a:pt x="13967" y="10564"/>
                </a:lnTo>
                <a:lnTo>
                  <a:pt x="14059" y="10566"/>
                </a:lnTo>
                <a:lnTo>
                  <a:pt x="14151" y="10564"/>
                </a:lnTo>
                <a:lnTo>
                  <a:pt x="14242" y="10557"/>
                </a:lnTo>
                <a:lnTo>
                  <a:pt x="14331" y="10546"/>
                </a:lnTo>
                <a:lnTo>
                  <a:pt x="14420" y="10530"/>
                </a:lnTo>
                <a:lnTo>
                  <a:pt x="14505" y="10510"/>
                </a:lnTo>
                <a:lnTo>
                  <a:pt x="14591" y="10486"/>
                </a:lnTo>
                <a:lnTo>
                  <a:pt x="14674" y="10458"/>
                </a:lnTo>
                <a:lnTo>
                  <a:pt x="14755" y="10426"/>
                </a:lnTo>
                <a:lnTo>
                  <a:pt x="14834" y="10390"/>
                </a:lnTo>
                <a:lnTo>
                  <a:pt x="14911" y="10351"/>
                </a:lnTo>
                <a:lnTo>
                  <a:pt x="14986" y="10308"/>
                </a:lnTo>
                <a:lnTo>
                  <a:pt x="15059" y="10261"/>
                </a:lnTo>
                <a:lnTo>
                  <a:pt x="15129" y="10211"/>
                </a:lnTo>
                <a:lnTo>
                  <a:pt x="15196" y="10158"/>
                </a:lnTo>
                <a:lnTo>
                  <a:pt x="15261" y="10102"/>
                </a:lnTo>
                <a:lnTo>
                  <a:pt x="15323" y="10043"/>
                </a:lnTo>
                <a:lnTo>
                  <a:pt x="15383" y="9981"/>
                </a:lnTo>
                <a:lnTo>
                  <a:pt x="15439" y="9916"/>
                </a:lnTo>
                <a:lnTo>
                  <a:pt x="15492" y="9848"/>
                </a:lnTo>
                <a:lnTo>
                  <a:pt x="15542" y="9778"/>
                </a:lnTo>
                <a:lnTo>
                  <a:pt x="15589" y="9706"/>
                </a:lnTo>
                <a:lnTo>
                  <a:pt x="15632" y="9631"/>
                </a:lnTo>
                <a:lnTo>
                  <a:pt x="15671" y="9554"/>
                </a:lnTo>
                <a:lnTo>
                  <a:pt x="15707" y="9475"/>
                </a:lnTo>
                <a:lnTo>
                  <a:pt x="15739" y="9394"/>
                </a:lnTo>
                <a:lnTo>
                  <a:pt x="15767" y="9311"/>
                </a:lnTo>
                <a:lnTo>
                  <a:pt x="15791" y="9225"/>
                </a:lnTo>
                <a:lnTo>
                  <a:pt x="15811" y="9139"/>
                </a:lnTo>
                <a:lnTo>
                  <a:pt x="15826" y="9051"/>
                </a:lnTo>
                <a:lnTo>
                  <a:pt x="15838" y="8961"/>
                </a:lnTo>
                <a:lnTo>
                  <a:pt x="15845" y="8871"/>
                </a:lnTo>
                <a:lnTo>
                  <a:pt x="15847" y="8779"/>
                </a:lnTo>
                <a:lnTo>
                  <a:pt x="15846" y="8719"/>
                </a:lnTo>
                <a:lnTo>
                  <a:pt x="15844" y="8660"/>
                </a:lnTo>
                <a:lnTo>
                  <a:pt x="15839" y="8602"/>
                </a:lnTo>
                <a:lnTo>
                  <a:pt x="15831" y="8542"/>
                </a:lnTo>
                <a:lnTo>
                  <a:pt x="15823" y="8485"/>
                </a:lnTo>
                <a:lnTo>
                  <a:pt x="15813" y="8428"/>
                </a:lnTo>
                <a:lnTo>
                  <a:pt x="15801" y="8372"/>
                </a:lnTo>
                <a:lnTo>
                  <a:pt x="15787" y="8316"/>
                </a:lnTo>
                <a:lnTo>
                  <a:pt x="15771" y="8261"/>
                </a:lnTo>
                <a:lnTo>
                  <a:pt x="15754" y="8207"/>
                </a:lnTo>
                <a:lnTo>
                  <a:pt x="15735" y="8153"/>
                </a:lnTo>
                <a:lnTo>
                  <a:pt x="15714" y="8100"/>
                </a:lnTo>
                <a:lnTo>
                  <a:pt x="15692" y="8048"/>
                </a:lnTo>
                <a:lnTo>
                  <a:pt x="15667" y="7997"/>
                </a:lnTo>
                <a:lnTo>
                  <a:pt x="15642" y="7947"/>
                </a:lnTo>
                <a:lnTo>
                  <a:pt x="15615" y="7898"/>
                </a:lnTo>
                <a:lnTo>
                  <a:pt x="15587" y="7850"/>
                </a:lnTo>
                <a:lnTo>
                  <a:pt x="15557" y="7802"/>
                </a:lnTo>
                <a:lnTo>
                  <a:pt x="15525" y="7757"/>
                </a:lnTo>
                <a:lnTo>
                  <a:pt x="15493" y="7711"/>
                </a:lnTo>
                <a:lnTo>
                  <a:pt x="15459" y="7667"/>
                </a:lnTo>
                <a:lnTo>
                  <a:pt x="15423" y="7624"/>
                </a:lnTo>
                <a:lnTo>
                  <a:pt x="15387" y="7582"/>
                </a:lnTo>
                <a:lnTo>
                  <a:pt x="15349" y="7541"/>
                </a:lnTo>
                <a:lnTo>
                  <a:pt x="15309" y="7502"/>
                </a:lnTo>
                <a:lnTo>
                  <a:pt x="15269" y="7464"/>
                </a:lnTo>
                <a:lnTo>
                  <a:pt x="15228" y="7426"/>
                </a:lnTo>
                <a:lnTo>
                  <a:pt x="15185" y="7391"/>
                </a:lnTo>
                <a:lnTo>
                  <a:pt x="15141" y="7356"/>
                </a:lnTo>
                <a:lnTo>
                  <a:pt x="15096" y="7323"/>
                </a:lnTo>
                <a:lnTo>
                  <a:pt x="15050" y="7292"/>
                </a:lnTo>
                <a:lnTo>
                  <a:pt x="15003" y="7261"/>
                </a:lnTo>
                <a:lnTo>
                  <a:pt x="15028" y="7497"/>
                </a:lnTo>
                <a:lnTo>
                  <a:pt x="15108" y="8268"/>
                </a:lnTo>
                <a:lnTo>
                  <a:pt x="15294" y="8268"/>
                </a:lnTo>
                <a:lnTo>
                  <a:pt x="15309" y="8269"/>
                </a:lnTo>
                <a:lnTo>
                  <a:pt x="15323" y="8271"/>
                </a:lnTo>
                <a:lnTo>
                  <a:pt x="15338" y="8275"/>
                </a:lnTo>
                <a:lnTo>
                  <a:pt x="15351" y="8279"/>
                </a:lnTo>
                <a:lnTo>
                  <a:pt x="15363" y="8286"/>
                </a:lnTo>
                <a:lnTo>
                  <a:pt x="15375" y="8293"/>
                </a:lnTo>
                <a:lnTo>
                  <a:pt x="15387" y="8302"/>
                </a:lnTo>
                <a:lnTo>
                  <a:pt x="15397" y="8311"/>
                </a:lnTo>
                <a:lnTo>
                  <a:pt x="15406" y="8321"/>
                </a:lnTo>
                <a:lnTo>
                  <a:pt x="15414" y="8332"/>
                </a:lnTo>
                <a:lnTo>
                  <a:pt x="15421" y="8344"/>
                </a:lnTo>
                <a:lnTo>
                  <a:pt x="15428" y="8357"/>
                </a:lnTo>
                <a:lnTo>
                  <a:pt x="15433" y="8370"/>
                </a:lnTo>
                <a:lnTo>
                  <a:pt x="15436" y="8383"/>
                </a:lnTo>
                <a:lnTo>
                  <a:pt x="15439" y="8399"/>
                </a:lnTo>
                <a:lnTo>
                  <a:pt x="15439" y="8413"/>
                </a:lnTo>
                <a:lnTo>
                  <a:pt x="15439" y="8417"/>
                </a:lnTo>
                <a:lnTo>
                  <a:pt x="15439" y="9322"/>
                </a:lnTo>
                <a:lnTo>
                  <a:pt x="15439" y="9338"/>
                </a:lnTo>
                <a:lnTo>
                  <a:pt x="15436" y="9352"/>
                </a:lnTo>
                <a:lnTo>
                  <a:pt x="15433" y="9365"/>
                </a:lnTo>
                <a:lnTo>
                  <a:pt x="15428" y="9378"/>
                </a:lnTo>
                <a:lnTo>
                  <a:pt x="15421" y="9392"/>
                </a:lnTo>
                <a:lnTo>
                  <a:pt x="15414" y="9403"/>
                </a:lnTo>
                <a:lnTo>
                  <a:pt x="15406" y="9414"/>
                </a:lnTo>
                <a:lnTo>
                  <a:pt x="15397" y="9424"/>
                </a:lnTo>
                <a:lnTo>
                  <a:pt x="15387" y="9434"/>
                </a:lnTo>
                <a:lnTo>
                  <a:pt x="15375" y="9443"/>
                </a:lnTo>
                <a:lnTo>
                  <a:pt x="15363" y="9450"/>
                </a:lnTo>
                <a:lnTo>
                  <a:pt x="15351" y="9456"/>
                </a:lnTo>
                <a:lnTo>
                  <a:pt x="15338" y="9461"/>
                </a:lnTo>
                <a:lnTo>
                  <a:pt x="15323" y="9464"/>
                </a:lnTo>
                <a:lnTo>
                  <a:pt x="15309" y="9466"/>
                </a:lnTo>
                <a:lnTo>
                  <a:pt x="15294" y="9467"/>
                </a:lnTo>
                <a:lnTo>
                  <a:pt x="15291" y="9467"/>
                </a:lnTo>
                <a:lnTo>
                  <a:pt x="12823" y="9467"/>
                </a:lnTo>
                <a:lnTo>
                  <a:pt x="12809" y="9466"/>
                </a:lnTo>
                <a:lnTo>
                  <a:pt x="12795" y="9464"/>
                </a:lnTo>
                <a:lnTo>
                  <a:pt x="12781" y="9461"/>
                </a:lnTo>
                <a:lnTo>
                  <a:pt x="12767" y="9456"/>
                </a:lnTo>
                <a:lnTo>
                  <a:pt x="12755" y="9450"/>
                </a:lnTo>
                <a:lnTo>
                  <a:pt x="12743" y="9443"/>
                </a:lnTo>
                <a:lnTo>
                  <a:pt x="12732" y="9434"/>
                </a:lnTo>
                <a:lnTo>
                  <a:pt x="12721" y="9424"/>
                </a:lnTo>
                <a:lnTo>
                  <a:pt x="12712" y="9414"/>
                </a:lnTo>
                <a:lnTo>
                  <a:pt x="12703" y="9403"/>
                </a:lnTo>
                <a:lnTo>
                  <a:pt x="12696" y="9392"/>
                </a:lnTo>
                <a:lnTo>
                  <a:pt x="12690" y="9378"/>
                </a:lnTo>
                <a:lnTo>
                  <a:pt x="12686" y="9365"/>
                </a:lnTo>
                <a:lnTo>
                  <a:pt x="12682" y="9352"/>
                </a:lnTo>
                <a:lnTo>
                  <a:pt x="12680" y="9338"/>
                </a:lnTo>
                <a:lnTo>
                  <a:pt x="12679" y="9322"/>
                </a:lnTo>
                <a:lnTo>
                  <a:pt x="12679" y="9318"/>
                </a:lnTo>
                <a:close/>
                <a:moveTo>
                  <a:pt x="15149" y="8558"/>
                </a:moveTo>
                <a:lnTo>
                  <a:pt x="12968" y="8558"/>
                </a:lnTo>
                <a:lnTo>
                  <a:pt x="12968" y="9178"/>
                </a:lnTo>
                <a:lnTo>
                  <a:pt x="15149" y="9178"/>
                </a:lnTo>
                <a:lnTo>
                  <a:pt x="15149" y="8558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traffic"/>
          <p:cNvSpPr>
            <a:spLocks noChangeAspect="1" noEditPoints="1"/>
          </p:cNvSpPr>
          <p:nvPr>
            <p:custDataLst>
              <p:tags r:id="rId13"/>
            </p:custDataLst>
          </p:nvPr>
        </p:nvSpPr>
        <p:spPr bwMode="auto">
          <a:xfrm>
            <a:off x="7633975" y="2735513"/>
            <a:ext cx="400050" cy="405765"/>
          </a:xfrm>
          <a:custGeom>
            <a:avLst/>
            <a:gdLst>
              <a:gd name="T0" fmla="*/ 10252 w 15960"/>
              <a:gd name="T1" fmla="*/ 16188 h 16188"/>
              <a:gd name="T2" fmla="*/ 10653 w 15960"/>
              <a:gd name="T3" fmla="*/ 12327 h 16188"/>
              <a:gd name="T4" fmla="*/ 11172 w 15960"/>
              <a:gd name="T5" fmla="*/ 11349 h 16188"/>
              <a:gd name="T6" fmla="*/ 10602 w 15960"/>
              <a:gd name="T7" fmla="*/ 10259 h 16188"/>
              <a:gd name="T8" fmla="*/ 8792 w 15960"/>
              <a:gd name="T9" fmla="*/ 7954 h 16188"/>
              <a:gd name="T10" fmla="*/ 5590 w 15960"/>
              <a:gd name="T11" fmla="*/ 7526 h 16188"/>
              <a:gd name="T12" fmla="*/ 2407 w 15960"/>
              <a:gd name="T13" fmla="*/ 7925 h 16188"/>
              <a:gd name="T14" fmla="*/ 584 w 15960"/>
              <a:gd name="T15" fmla="*/ 10259 h 16188"/>
              <a:gd name="T16" fmla="*/ 15 w 15960"/>
              <a:gd name="T17" fmla="*/ 11349 h 16188"/>
              <a:gd name="T18" fmla="*/ 525 w 15960"/>
              <a:gd name="T19" fmla="*/ 12327 h 16188"/>
              <a:gd name="T20" fmla="*/ 927 w 15960"/>
              <a:gd name="T21" fmla="*/ 16188 h 16188"/>
              <a:gd name="T22" fmla="*/ 4797 w 15960"/>
              <a:gd name="T23" fmla="*/ 6294 h 16188"/>
              <a:gd name="T24" fmla="*/ 6093 w 15960"/>
              <a:gd name="T25" fmla="*/ 6847 h 16188"/>
              <a:gd name="T26" fmla="*/ 9101 w 15960"/>
              <a:gd name="T27" fmla="*/ 7346 h 16188"/>
              <a:gd name="T28" fmla="*/ 10570 w 15960"/>
              <a:gd name="T29" fmla="*/ 9556 h 16188"/>
              <a:gd name="T30" fmla="*/ 13436 w 15960"/>
              <a:gd name="T31" fmla="*/ 11080 h 16188"/>
              <a:gd name="T32" fmla="*/ 15226 w 15960"/>
              <a:gd name="T33" fmla="*/ 11347 h 16188"/>
              <a:gd name="T34" fmla="*/ 15351 w 15960"/>
              <a:gd name="T35" fmla="*/ 7287 h 16188"/>
              <a:gd name="T36" fmla="*/ 15948 w 15960"/>
              <a:gd name="T37" fmla="*/ 6339 h 16188"/>
              <a:gd name="T38" fmla="*/ 14614 w 15960"/>
              <a:gd name="T39" fmla="*/ 5110 h 16188"/>
              <a:gd name="T40" fmla="*/ 12987 w 15960"/>
              <a:gd name="T41" fmla="*/ 2962 h 16188"/>
              <a:gd name="T42" fmla="*/ 8949 w 15960"/>
              <a:gd name="T43" fmla="*/ 2778 h 16188"/>
              <a:gd name="T44" fmla="*/ 6889 w 15960"/>
              <a:gd name="T45" fmla="*/ 3331 h 16188"/>
              <a:gd name="T46" fmla="*/ 5189 w 15960"/>
              <a:gd name="T47" fmla="*/ 5555 h 16188"/>
              <a:gd name="T48" fmla="*/ 12376 w 15960"/>
              <a:gd name="T49" fmla="*/ 8709 h 16188"/>
              <a:gd name="T50" fmla="*/ 13121 w 15960"/>
              <a:gd name="T51" fmla="*/ 7871 h 16188"/>
              <a:gd name="T52" fmla="*/ 14352 w 15960"/>
              <a:gd name="T53" fmla="*/ 7681 h 16188"/>
              <a:gd name="T54" fmla="*/ 13751 w 15960"/>
              <a:gd name="T55" fmla="*/ 8835 h 16188"/>
              <a:gd name="T56" fmla="*/ 6721 w 15960"/>
              <a:gd name="T57" fmla="*/ 5797 h 16188"/>
              <a:gd name="T58" fmla="*/ 7748 w 15960"/>
              <a:gd name="T59" fmla="*/ 3791 h 16188"/>
              <a:gd name="T60" fmla="*/ 13174 w 15960"/>
              <a:gd name="T61" fmla="*/ 3871 h 16188"/>
              <a:gd name="T62" fmla="*/ 13909 w 15960"/>
              <a:gd name="T63" fmla="*/ 5935 h 16188"/>
              <a:gd name="T64" fmla="*/ 4102 w 15960"/>
              <a:gd name="T65" fmla="*/ 6588 h 16188"/>
              <a:gd name="T66" fmla="*/ 4813 w 15960"/>
              <a:gd name="T67" fmla="*/ 4982 h 16188"/>
              <a:gd name="T68" fmla="*/ 4529 w 15960"/>
              <a:gd name="T69" fmla="*/ 3532 h 16188"/>
              <a:gd name="T70" fmla="*/ 2328 w 15960"/>
              <a:gd name="T71" fmla="*/ 1962 h 16188"/>
              <a:gd name="T72" fmla="*/ 4853 w 15960"/>
              <a:gd name="T73" fmla="*/ 804 h 16188"/>
              <a:gd name="T74" fmla="*/ 8640 w 15960"/>
              <a:gd name="T75" fmla="*/ 1485 h 16188"/>
              <a:gd name="T76" fmla="*/ 9330 w 15960"/>
              <a:gd name="T77" fmla="*/ 1046 h 16188"/>
              <a:gd name="T78" fmla="*/ 7726 w 15960"/>
              <a:gd name="T79" fmla="*/ 111 h 16188"/>
              <a:gd name="T80" fmla="*/ 3454 w 15960"/>
              <a:gd name="T81" fmla="*/ 111 h 16188"/>
              <a:gd name="T82" fmla="*/ 1813 w 15960"/>
              <a:gd name="T83" fmla="*/ 1178 h 16188"/>
              <a:gd name="T84" fmla="*/ 233 w 15960"/>
              <a:gd name="T85" fmla="*/ 3006 h 16188"/>
              <a:gd name="T86" fmla="*/ 281 w 15960"/>
              <a:gd name="T87" fmla="*/ 4066 h 16188"/>
              <a:gd name="T88" fmla="*/ 588 w 15960"/>
              <a:gd name="T89" fmla="*/ 8492 h 16188"/>
              <a:gd name="T90" fmla="*/ 2071 w 15960"/>
              <a:gd name="T91" fmla="*/ 7329 h 16188"/>
              <a:gd name="T92" fmla="*/ 2149 w 15960"/>
              <a:gd name="T93" fmla="*/ 4861 h 16188"/>
              <a:gd name="T94" fmla="*/ 3637 w 15960"/>
              <a:gd name="T95" fmla="*/ 5727 h 16188"/>
              <a:gd name="T96" fmla="*/ 2338 w 15960"/>
              <a:gd name="T97" fmla="*/ 6106 h 16188"/>
              <a:gd name="T98" fmla="*/ 1567 w 15960"/>
              <a:gd name="T99" fmla="*/ 4998 h 16188"/>
              <a:gd name="T100" fmla="*/ 7656 w 15960"/>
              <a:gd name="T101" fmla="*/ 13549 h 16188"/>
              <a:gd name="T102" fmla="*/ 7984 w 15960"/>
              <a:gd name="T103" fmla="*/ 12836 h 16188"/>
              <a:gd name="T104" fmla="*/ 9523 w 15960"/>
              <a:gd name="T105" fmla="*/ 12419 h 16188"/>
              <a:gd name="T106" fmla="*/ 9152 w 15960"/>
              <a:gd name="T107" fmla="*/ 13603 h 16188"/>
              <a:gd name="T108" fmla="*/ 2050 w 15960"/>
              <a:gd name="T109" fmla="*/ 10725 h 16188"/>
              <a:gd name="T110" fmla="*/ 2784 w 15960"/>
              <a:gd name="T111" fmla="*/ 8668 h 16188"/>
              <a:gd name="T112" fmla="*/ 8205 w 15960"/>
              <a:gd name="T113" fmla="*/ 8567 h 16188"/>
              <a:gd name="T114" fmla="*/ 9238 w 15960"/>
              <a:gd name="T115" fmla="*/ 10579 h 16188"/>
              <a:gd name="T116" fmla="*/ 2178 w 15960"/>
              <a:gd name="T117" fmla="*/ 12397 h 16188"/>
              <a:gd name="T118" fmla="*/ 3638 w 15960"/>
              <a:gd name="T119" fmla="*/ 13277 h 16188"/>
              <a:gd name="T120" fmla="*/ 2292 w 15960"/>
              <a:gd name="T121" fmla="*/ 13630 h 16188"/>
              <a:gd name="T122" fmla="*/ 1577 w 15960"/>
              <a:gd name="T123" fmla="*/ 12506 h 16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960" h="16188">
                <a:moveTo>
                  <a:pt x="2179" y="14979"/>
                </a:moveTo>
                <a:lnTo>
                  <a:pt x="9038" y="14979"/>
                </a:lnTo>
                <a:lnTo>
                  <a:pt x="9038" y="15354"/>
                </a:lnTo>
                <a:lnTo>
                  <a:pt x="8650" y="15354"/>
                </a:lnTo>
                <a:lnTo>
                  <a:pt x="8650" y="15763"/>
                </a:lnTo>
                <a:lnTo>
                  <a:pt x="8650" y="15785"/>
                </a:lnTo>
                <a:lnTo>
                  <a:pt x="8652" y="15807"/>
                </a:lnTo>
                <a:lnTo>
                  <a:pt x="8656" y="15828"/>
                </a:lnTo>
                <a:lnTo>
                  <a:pt x="8659" y="15849"/>
                </a:lnTo>
                <a:lnTo>
                  <a:pt x="8664" y="15869"/>
                </a:lnTo>
                <a:lnTo>
                  <a:pt x="8670" y="15890"/>
                </a:lnTo>
                <a:lnTo>
                  <a:pt x="8676" y="15910"/>
                </a:lnTo>
                <a:lnTo>
                  <a:pt x="8684" y="15929"/>
                </a:lnTo>
                <a:lnTo>
                  <a:pt x="8692" y="15947"/>
                </a:lnTo>
                <a:lnTo>
                  <a:pt x="8701" y="15965"/>
                </a:lnTo>
                <a:lnTo>
                  <a:pt x="8712" y="15984"/>
                </a:lnTo>
                <a:lnTo>
                  <a:pt x="8722" y="16001"/>
                </a:lnTo>
                <a:lnTo>
                  <a:pt x="8734" y="16018"/>
                </a:lnTo>
                <a:lnTo>
                  <a:pt x="8747" y="16033"/>
                </a:lnTo>
                <a:lnTo>
                  <a:pt x="8760" y="16049"/>
                </a:lnTo>
                <a:lnTo>
                  <a:pt x="8774" y="16064"/>
                </a:lnTo>
                <a:lnTo>
                  <a:pt x="8789" y="16078"/>
                </a:lnTo>
                <a:lnTo>
                  <a:pt x="8805" y="16091"/>
                </a:lnTo>
                <a:lnTo>
                  <a:pt x="8820" y="16104"/>
                </a:lnTo>
                <a:lnTo>
                  <a:pt x="8837" y="16115"/>
                </a:lnTo>
                <a:lnTo>
                  <a:pt x="8854" y="16126"/>
                </a:lnTo>
                <a:lnTo>
                  <a:pt x="8872" y="16136"/>
                </a:lnTo>
                <a:lnTo>
                  <a:pt x="8890" y="16147"/>
                </a:lnTo>
                <a:lnTo>
                  <a:pt x="8909" y="16155"/>
                </a:lnTo>
                <a:lnTo>
                  <a:pt x="8928" y="16163"/>
                </a:lnTo>
                <a:lnTo>
                  <a:pt x="8948" y="16169"/>
                </a:lnTo>
                <a:lnTo>
                  <a:pt x="8968" y="16175"/>
                </a:lnTo>
                <a:lnTo>
                  <a:pt x="8988" y="16180"/>
                </a:lnTo>
                <a:lnTo>
                  <a:pt x="9009" y="16183"/>
                </a:lnTo>
                <a:lnTo>
                  <a:pt x="9031" y="16186"/>
                </a:lnTo>
                <a:lnTo>
                  <a:pt x="9052" y="16187"/>
                </a:lnTo>
                <a:lnTo>
                  <a:pt x="9074" y="16188"/>
                </a:lnTo>
                <a:lnTo>
                  <a:pt x="10252" y="16188"/>
                </a:lnTo>
                <a:lnTo>
                  <a:pt x="10274" y="16187"/>
                </a:lnTo>
                <a:lnTo>
                  <a:pt x="10295" y="16186"/>
                </a:lnTo>
                <a:lnTo>
                  <a:pt x="10316" y="16183"/>
                </a:lnTo>
                <a:lnTo>
                  <a:pt x="10337" y="16180"/>
                </a:lnTo>
                <a:lnTo>
                  <a:pt x="10357" y="16175"/>
                </a:lnTo>
                <a:lnTo>
                  <a:pt x="10378" y="16169"/>
                </a:lnTo>
                <a:lnTo>
                  <a:pt x="10398" y="16163"/>
                </a:lnTo>
                <a:lnTo>
                  <a:pt x="10417" y="16155"/>
                </a:lnTo>
                <a:lnTo>
                  <a:pt x="10435" y="16147"/>
                </a:lnTo>
                <a:lnTo>
                  <a:pt x="10453" y="16136"/>
                </a:lnTo>
                <a:lnTo>
                  <a:pt x="10471" y="16126"/>
                </a:lnTo>
                <a:lnTo>
                  <a:pt x="10488" y="16115"/>
                </a:lnTo>
                <a:lnTo>
                  <a:pt x="10505" y="16104"/>
                </a:lnTo>
                <a:lnTo>
                  <a:pt x="10521" y="16091"/>
                </a:lnTo>
                <a:lnTo>
                  <a:pt x="10536" y="16078"/>
                </a:lnTo>
                <a:lnTo>
                  <a:pt x="10551" y="16064"/>
                </a:lnTo>
                <a:lnTo>
                  <a:pt x="10565" y="16049"/>
                </a:lnTo>
                <a:lnTo>
                  <a:pt x="10578" y="16033"/>
                </a:lnTo>
                <a:lnTo>
                  <a:pt x="10590" y="16018"/>
                </a:lnTo>
                <a:lnTo>
                  <a:pt x="10602" y="16001"/>
                </a:lnTo>
                <a:lnTo>
                  <a:pt x="10613" y="15984"/>
                </a:lnTo>
                <a:lnTo>
                  <a:pt x="10624" y="15965"/>
                </a:lnTo>
                <a:lnTo>
                  <a:pt x="10633" y="15947"/>
                </a:lnTo>
                <a:lnTo>
                  <a:pt x="10642" y="15929"/>
                </a:lnTo>
                <a:lnTo>
                  <a:pt x="10649" y="15910"/>
                </a:lnTo>
                <a:lnTo>
                  <a:pt x="10656" y="15890"/>
                </a:lnTo>
                <a:lnTo>
                  <a:pt x="10661" y="15869"/>
                </a:lnTo>
                <a:lnTo>
                  <a:pt x="10666" y="15849"/>
                </a:lnTo>
                <a:lnTo>
                  <a:pt x="10670" y="15828"/>
                </a:lnTo>
                <a:lnTo>
                  <a:pt x="10672" y="15807"/>
                </a:lnTo>
                <a:lnTo>
                  <a:pt x="10674" y="15785"/>
                </a:lnTo>
                <a:lnTo>
                  <a:pt x="10675" y="15763"/>
                </a:lnTo>
                <a:lnTo>
                  <a:pt x="10675" y="12579"/>
                </a:lnTo>
                <a:lnTo>
                  <a:pt x="10673" y="12542"/>
                </a:lnTo>
                <a:lnTo>
                  <a:pt x="10670" y="12489"/>
                </a:lnTo>
                <a:lnTo>
                  <a:pt x="10665" y="12426"/>
                </a:lnTo>
                <a:lnTo>
                  <a:pt x="10658" y="12361"/>
                </a:lnTo>
                <a:lnTo>
                  <a:pt x="10653" y="12327"/>
                </a:lnTo>
                <a:lnTo>
                  <a:pt x="10649" y="12295"/>
                </a:lnTo>
                <a:lnTo>
                  <a:pt x="10644" y="12263"/>
                </a:lnTo>
                <a:lnTo>
                  <a:pt x="10638" y="12234"/>
                </a:lnTo>
                <a:lnTo>
                  <a:pt x="10632" y="12208"/>
                </a:lnTo>
                <a:lnTo>
                  <a:pt x="10626" y="12186"/>
                </a:lnTo>
                <a:lnTo>
                  <a:pt x="10619" y="12166"/>
                </a:lnTo>
                <a:lnTo>
                  <a:pt x="10612" y="12152"/>
                </a:lnTo>
                <a:lnTo>
                  <a:pt x="10608" y="12144"/>
                </a:lnTo>
                <a:lnTo>
                  <a:pt x="10597" y="12119"/>
                </a:lnTo>
                <a:lnTo>
                  <a:pt x="10578" y="12076"/>
                </a:lnTo>
                <a:lnTo>
                  <a:pt x="10553" y="12016"/>
                </a:lnTo>
                <a:lnTo>
                  <a:pt x="10521" y="11938"/>
                </a:lnTo>
                <a:lnTo>
                  <a:pt x="10483" y="11842"/>
                </a:lnTo>
                <a:lnTo>
                  <a:pt x="10463" y="11787"/>
                </a:lnTo>
                <a:lnTo>
                  <a:pt x="10442" y="11727"/>
                </a:lnTo>
                <a:lnTo>
                  <a:pt x="10419" y="11662"/>
                </a:lnTo>
                <a:lnTo>
                  <a:pt x="10395" y="11594"/>
                </a:lnTo>
                <a:lnTo>
                  <a:pt x="10884" y="11594"/>
                </a:lnTo>
                <a:lnTo>
                  <a:pt x="10906" y="11593"/>
                </a:lnTo>
                <a:lnTo>
                  <a:pt x="10927" y="11591"/>
                </a:lnTo>
                <a:lnTo>
                  <a:pt x="10947" y="11587"/>
                </a:lnTo>
                <a:lnTo>
                  <a:pt x="10966" y="11582"/>
                </a:lnTo>
                <a:lnTo>
                  <a:pt x="10985" y="11574"/>
                </a:lnTo>
                <a:lnTo>
                  <a:pt x="11004" y="11566"/>
                </a:lnTo>
                <a:lnTo>
                  <a:pt x="11021" y="11557"/>
                </a:lnTo>
                <a:lnTo>
                  <a:pt x="11038" y="11547"/>
                </a:lnTo>
                <a:lnTo>
                  <a:pt x="11054" y="11536"/>
                </a:lnTo>
                <a:lnTo>
                  <a:pt x="11069" y="11523"/>
                </a:lnTo>
                <a:lnTo>
                  <a:pt x="11083" y="11509"/>
                </a:lnTo>
                <a:lnTo>
                  <a:pt x="11096" y="11494"/>
                </a:lnTo>
                <a:lnTo>
                  <a:pt x="11109" y="11479"/>
                </a:lnTo>
                <a:lnTo>
                  <a:pt x="11121" y="11462"/>
                </a:lnTo>
                <a:lnTo>
                  <a:pt x="11132" y="11445"/>
                </a:lnTo>
                <a:lnTo>
                  <a:pt x="11142" y="11427"/>
                </a:lnTo>
                <a:lnTo>
                  <a:pt x="11151" y="11408"/>
                </a:lnTo>
                <a:lnTo>
                  <a:pt x="11159" y="11389"/>
                </a:lnTo>
                <a:lnTo>
                  <a:pt x="11166" y="11369"/>
                </a:lnTo>
                <a:lnTo>
                  <a:pt x="11172" y="11349"/>
                </a:lnTo>
                <a:lnTo>
                  <a:pt x="11177" y="11328"/>
                </a:lnTo>
                <a:lnTo>
                  <a:pt x="11181" y="11306"/>
                </a:lnTo>
                <a:lnTo>
                  <a:pt x="11184" y="11285"/>
                </a:lnTo>
                <a:lnTo>
                  <a:pt x="11186" y="11263"/>
                </a:lnTo>
                <a:lnTo>
                  <a:pt x="11187" y="11241"/>
                </a:lnTo>
                <a:lnTo>
                  <a:pt x="11187" y="11218"/>
                </a:lnTo>
                <a:lnTo>
                  <a:pt x="11186" y="11196"/>
                </a:lnTo>
                <a:lnTo>
                  <a:pt x="11183" y="11174"/>
                </a:lnTo>
                <a:lnTo>
                  <a:pt x="11180" y="11150"/>
                </a:lnTo>
                <a:lnTo>
                  <a:pt x="11175" y="11128"/>
                </a:lnTo>
                <a:lnTo>
                  <a:pt x="11170" y="11106"/>
                </a:lnTo>
                <a:lnTo>
                  <a:pt x="11163" y="11084"/>
                </a:lnTo>
                <a:lnTo>
                  <a:pt x="11018" y="10659"/>
                </a:lnTo>
                <a:lnTo>
                  <a:pt x="11010" y="10637"/>
                </a:lnTo>
                <a:lnTo>
                  <a:pt x="11001" y="10615"/>
                </a:lnTo>
                <a:lnTo>
                  <a:pt x="10991" y="10594"/>
                </a:lnTo>
                <a:lnTo>
                  <a:pt x="10979" y="10573"/>
                </a:lnTo>
                <a:lnTo>
                  <a:pt x="10967" y="10553"/>
                </a:lnTo>
                <a:lnTo>
                  <a:pt x="10955" y="10532"/>
                </a:lnTo>
                <a:lnTo>
                  <a:pt x="10941" y="10512"/>
                </a:lnTo>
                <a:lnTo>
                  <a:pt x="10927" y="10493"/>
                </a:lnTo>
                <a:lnTo>
                  <a:pt x="10912" y="10475"/>
                </a:lnTo>
                <a:lnTo>
                  <a:pt x="10897" y="10456"/>
                </a:lnTo>
                <a:lnTo>
                  <a:pt x="10881" y="10438"/>
                </a:lnTo>
                <a:lnTo>
                  <a:pt x="10863" y="10421"/>
                </a:lnTo>
                <a:lnTo>
                  <a:pt x="10846" y="10404"/>
                </a:lnTo>
                <a:lnTo>
                  <a:pt x="10828" y="10389"/>
                </a:lnTo>
                <a:lnTo>
                  <a:pt x="10809" y="10372"/>
                </a:lnTo>
                <a:lnTo>
                  <a:pt x="10790" y="10358"/>
                </a:lnTo>
                <a:lnTo>
                  <a:pt x="10771" y="10344"/>
                </a:lnTo>
                <a:lnTo>
                  <a:pt x="10751" y="10331"/>
                </a:lnTo>
                <a:lnTo>
                  <a:pt x="10730" y="10318"/>
                </a:lnTo>
                <a:lnTo>
                  <a:pt x="10709" y="10306"/>
                </a:lnTo>
                <a:lnTo>
                  <a:pt x="10689" y="10295"/>
                </a:lnTo>
                <a:lnTo>
                  <a:pt x="10668" y="10284"/>
                </a:lnTo>
                <a:lnTo>
                  <a:pt x="10646" y="10275"/>
                </a:lnTo>
                <a:lnTo>
                  <a:pt x="10625" y="10267"/>
                </a:lnTo>
                <a:lnTo>
                  <a:pt x="10602" y="10259"/>
                </a:lnTo>
                <a:lnTo>
                  <a:pt x="10580" y="10252"/>
                </a:lnTo>
                <a:lnTo>
                  <a:pt x="10558" y="10247"/>
                </a:lnTo>
                <a:lnTo>
                  <a:pt x="10536" y="10242"/>
                </a:lnTo>
                <a:lnTo>
                  <a:pt x="10514" y="10238"/>
                </a:lnTo>
                <a:lnTo>
                  <a:pt x="10491" y="10236"/>
                </a:lnTo>
                <a:lnTo>
                  <a:pt x="10470" y="10234"/>
                </a:lnTo>
                <a:lnTo>
                  <a:pt x="10448" y="10233"/>
                </a:lnTo>
                <a:lnTo>
                  <a:pt x="9959" y="10233"/>
                </a:lnTo>
                <a:lnTo>
                  <a:pt x="9901" y="10065"/>
                </a:lnTo>
                <a:lnTo>
                  <a:pt x="9841" y="9900"/>
                </a:lnTo>
                <a:lnTo>
                  <a:pt x="9783" y="9738"/>
                </a:lnTo>
                <a:lnTo>
                  <a:pt x="9725" y="9581"/>
                </a:lnTo>
                <a:lnTo>
                  <a:pt x="9670" y="9431"/>
                </a:lnTo>
                <a:lnTo>
                  <a:pt x="9614" y="9286"/>
                </a:lnTo>
                <a:lnTo>
                  <a:pt x="9562" y="9148"/>
                </a:lnTo>
                <a:lnTo>
                  <a:pt x="9510" y="9019"/>
                </a:lnTo>
                <a:lnTo>
                  <a:pt x="9463" y="8897"/>
                </a:lnTo>
                <a:lnTo>
                  <a:pt x="9418" y="8785"/>
                </a:lnTo>
                <a:lnTo>
                  <a:pt x="9376" y="8684"/>
                </a:lnTo>
                <a:lnTo>
                  <a:pt x="9339" y="8593"/>
                </a:lnTo>
                <a:lnTo>
                  <a:pt x="9305" y="8514"/>
                </a:lnTo>
                <a:lnTo>
                  <a:pt x="9276" y="8447"/>
                </a:lnTo>
                <a:lnTo>
                  <a:pt x="9251" y="8393"/>
                </a:lnTo>
                <a:lnTo>
                  <a:pt x="9232" y="8354"/>
                </a:lnTo>
                <a:lnTo>
                  <a:pt x="9211" y="8315"/>
                </a:lnTo>
                <a:lnTo>
                  <a:pt x="9187" y="8277"/>
                </a:lnTo>
                <a:lnTo>
                  <a:pt x="9162" y="8242"/>
                </a:lnTo>
                <a:lnTo>
                  <a:pt x="9134" y="8208"/>
                </a:lnTo>
                <a:lnTo>
                  <a:pt x="9106" y="8176"/>
                </a:lnTo>
                <a:lnTo>
                  <a:pt x="9076" y="8146"/>
                </a:lnTo>
                <a:lnTo>
                  <a:pt x="9045" y="8117"/>
                </a:lnTo>
                <a:lnTo>
                  <a:pt x="9011" y="8090"/>
                </a:lnTo>
                <a:lnTo>
                  <a:pt x="8978" y="8065"/>
                </a:lnTo>
                <a:lnTo>
                  <a:pt x="8943" y="8040"/>
                </a:lnTo>
                <a:lnTo>
                  <a:pt x="8907" y="8017"/>
                </a:lnTo>
                <a:lnTo>
                  <a:pt x="8869" y="7995"/>
                </a:lnTo>
                <a:lnTo>
                  <a:pt x="8831" y="7974"/>
                </a:lnTo>
                <a:lnTo>
                  <a:pt x="8792" y="7954"/>
                </a:lnTo>
                <a:lnTo>
                  <a:pt x="8752" y="7936"/>
                </a:lnTo>
                <a:lnTo>
                  <a:pt x="8712" y="7918"/>
                </a:lnTo>
                <a:lnTo>
                  <a:pt x="8672" y="7901"/>
                </a:lnTo>
                <a:lnTo>
                  <a:pt x="8630" y="7885"/>
                </a:lnTo>
                <a:lnTo>
                  <a:pt x="8588" y="7869"/>
                </a:lnTo>
                <a:lnTo>
                  <a:pt x="8547" y="7855"/>
                </a:lnTo>
                <a:lnTo>
                  <a:pt x="8463" y="7827"/>
                </a:lnTo>
                <a:lnTo>
                  <a:pt x="8378" y="7801"/>
                </a:lnTo>
                <a:lnTo>
                  <a:pt x="8296" y="7776"/>
                </a:lnTo>
                <a:lnTo>
                  <a:pt x="8214" y="7751"/>
                </a:lnTo>
                <a:lnTo>
                  <a:pt x="8134" y="7727"/>
                </a:lnTo>
                <a:lnTo>
                  <a:pt x="8058" y="7702"/>
                </a:lnTo>
                <a:lnTo>
                  <a:pt x="8051" y="7700"/>
                </a:lnTo>
                <a:lnTo>
                  <a:pt x="8029" y="7694"/>
                </a:lnTo>
                <a:lnTo>
                  <a:pt x="7993" y="7685"/>
                </a:lnTo>
                <a:lnTo>
                  <a:pt x="7940" y="7674"/>
                </a:lnTo>
                <a:lnTo>
                  <a:pt x="7868" y="7661"/>
                </a:lnTo>
                <a:lnTo>
                  <a:pt x="7777" y="7647"/>
                </a:lnTo>
                <a:lnTo>
                  <a:pt x="7725" y="7639"/>
                </a:lnTo>
                <a:lnTo>
                  <a:pt x="7667" y="7631"/>
                </a:lnTo>
                <a:lnTo>
                  <a:pt x="7605" y="7623"/>
                </a:lnTo>
                <a:lnTo>
                  <a:pt x="7536" y="7614"/>
                </a:lnTo>
                <a:lnTo>
                  <a:pt x="7462" y="7606"/>
                </a:lnTo>
                <a:lnTo>
                  <a:pt x="7382" y="7597"/>
                </a:lnTo>
                <a:lnTo>
                  <a:pt x="7296" y="7590"/>
                </a:lnTo>
                <a:lnTo>
                  <a:pt x="7206" y="7582"/>
                </a:lnTo>
                <a:lnTo>
                  <a:pt x="7108" y="7574"/>
                </a:lnTo>
                <a:lnTo>
                  <a:pt x="7004" y="7567"/>
                </a:lnTo>
                <a:lnTo>
                  <a:pt x="6893" y="7560"/>
                </a:lnTo>
                <a:lnTo>
                  <a:pt x="6776" y="7554"/>
                </a:lnTo>
                <a:lnTo>
                  <a:pt x="6653" y="7548"/>
                </a:lnTo>
                <a:lnTo>
                  <a:pt x="6523" y="7543"/>
                </a:lnTo>
                <a:lnTo>
                  <a:pt x="6385" y="7538"/>
                </a:lnTo>
                <a:lnTo>
                  <a:pt x="6241" y="7533"/>
                </a:lnTo>
                <a:lnTo>
                  <a:pt x="6090" y="7530"/>
                </a:lnTo>
                <a:lnTo>
                  <a:pt x="5930" y="7528"/>
                </a:lnTo>
                <a:lnTo>
                  <a:pt x="5764" y="7526"/>
                </a:lnTo>
                <a:lnTo>
                  <a:pt x="5590" y="7526"/>
                </a:lnTo>
                <a:lnTo>
                  <a:pt x="5415" y="7526"/>
                </a:lnTo>
                <a:lnTo>
                  <a:pt x="5249" y="7528"/>
                </a:lnTo>
                <a:lnTo>
                  <a:pt x="5089" y="7530"/>
                </a:lnTo>
                <a:lnTo>
                  <a:pt x="4938" y="7533"/>
                </a:lnTo>
                <a:lnTo>
                  <a:pt x="4794" y="7538"/>
                </a:lnTo>
                <a:lnTo>
                  <a:pt x="4656" y="7543"/>
                </a:lnTo>
                <a:lnTo>
                  <a:pt x="4526" y="7548"/>
                </a:lnTo>
                <a:lnTo>
                  <a:pt x="4403" y="7554"/>
                </a:lnTo>
                <a:lnTo>
                  <a:pt x="4286" y="7560"/>
                </a:lnTo>
                <a:lnTo>
                  <a:pt x="4175" y="7567"/>
                </a:lnTo>
                <a:lnTo>
                  <a:pt x="4071" y="7574"/>
                </a:lnTo>
                <a:lnTo>
                  <a:pt x="3973" y="7582"/>
                </a:lnTo>
                <a:lnTo>
                  <a:pt x="3882" y="7590"/>
                </a:lnTo>
                <a:lnTo>
                  <a:pt x="3797" y="7597"/>
                </a:lnTo>
                <a:lnTo>
                  <a:pt x="3717" y="7606"/>
                </a:lnTo>
                <a:lnTo>
                  <a:pt x="3643" y="7614"/>
                </a:lnTo>
                <a:lnTo>
                  <a:pt x="3574" y="7623"/>
                </a:lnTo>
                <a:lnTo>
                  <a:pt x="3512" y="7631"/>
                </a:lnTo>
                <a:lnTo>
                  <a:pt x="3454" y="7639"/>
                </a:lnTo>
                <a:lnTo>
                  <a:pt x="3401" y="7647"/>
                </a:lnTo>
                <a:lnTo>
                  <a:pt x="3311" y="7661"/>
                </a:lnTo>
                <a:lnTo>
                  <a:pt x="3239" y="7674"/>
                </a:lnTo>
                <a:lnTo>
                  <a:pt x="3186" y="7685"/>
                </a:lnTo>
                <a:lnTo>
                  <a:pt x="3149" y="7694"/>
                </a:lnTo>
                <a:lnTo>
                  <a:pt x="3127" y="7700"/>
                </a:lnTo>
                <a:lnTo>
                  <a:pt x="3120" y="7702"/>
                </a:lnTo>
                <a:lnTo>
                  <a:pt x="3054" y="7721"/>
                </a:lnTo>
                <a:lnTo>
                  <a:pt x="2981" y="7739"/>
                </a:lnTo>
                <a:lnTo>
                  <a:pt x="2905" y="7758"/>
                </a:lnTo>
                <a:lnTo>
                  <a:pt x="2824" y="7779"/>
                </a:lnTo>
                <a:lnTo>
                  <a:pt x="2741" y="7803"/>
                </a:lnTo>
                <a:lnTo>
                  <a:pt x="2657" y="7828"/>
                </a:lnTo>
                <a:lnTo>
                  <a:pt x="2614" y="7842"/>
                </a:lnTo>
                <a:lnTo>
                  <a:pt x="2572" y="7856"/>
                </a:lnTo>
                <a:lnTo>
                  <a:pt x="2531" y="7872"/>
                </a:lnTo>
                <a:lnTo>
                  <a:pt x="2488" y="7889"/>
                </a:lnTo>
                <a:lnTo>
                  <a:pt x="2447" y="7906"/>
                </a:lnTo>
                <a:lnTo>
                  <a:pt x="2407" y="7925"/>
                </a:lnTo>
                <a:lnTo>
                  <a:pt x="2366" y="7944"/>
                </a:lnTo>
                <a:lnTo>
                  <a:pt x="2327" y="7966"/>
                </a:lnTo>
                <a:lnTo>
                  <a:pt x="2289" y="7988"/>
                </a:lnTo>
                <a:lnTo>
                  <a:pt x="2251" y="8011"/>
                </a:lnTo>
                <a:lnTo>
                  <a:pt x="2215" y="8036"/>
                </a:lnTo>
                <a:lnTo>
                  <a:pt x="2181" y="8063"/>
                </a:lnTo>
                <a:lnTo>
                  <a:pt x="2147" y="8091"/>
                </a:lnTo>
                <a:lnTo>
                  <a:pt x="2116" y="8120"/>
                </a:lnTo>
                <a:lnTo>
                  <a:pt x="2086" y="8152"/>
                </a:lnTo>
                <a:lnTo>
                  <a:pt x="2058" y="8184"/>
                </a:lnTo>
                <a:lnTo>
                  <a:pt x="2032" y="8219"/>
                </a:lnTo>
                <a:lnTo>
                  <a:pt x="2007" y="8256"/>
                </a:lnTo>
                <a:lnTo>
                  <a:pt x="1986" y="8294"/>
                </a:lnTo>
                <a:lnTo>
                  <a:pt x="1967" y="8335"/>
                </a:lnTo>
                <a:lnTo>
                  <a:pt x="1945" y="8385"/>
                </a:lnTo>
                <a:lnTo>
                  <a:pt x="1918" y="8449"/>
                </a:lnTo>
                <a:lnTo>
                  <a:pt x="1886" y="8524"/>
                </a:lnTo>
                <a:lnTo>
                  <a:pt x="1851" y="8609"/>
                </a:lnTo>
                <a:lnTo>
                  <a:pt x="1812" y="8704"/>
                </a:lnTo>
                <a:lnTo>
                  <a:pt x="1769" y="8809"/>
                </a:lnTo>
                <a:lnTo>
                  <a:pt x="1724" y="8923"/>
                </a:lnTo>
                <a:lnTo>
                  <a:pt x="1676" y="9044"/>
                </a:lnTo>
                <a:lnTo>
                  <a:pt x="1625" y="9174"/>
                </a:lnTo>
                <a:lnTo>
                  <a:pt x="1573" y="9310"/>
                </a:lnTo>
                <a:lnTo>
                  <a:pt x="1518" y="9452"/>
                </a:lnTo>
                <a:lnTo>
                  <a:pt x="1462" y="9599"/>
                </a:lnTo>
                <a:lnTo>
                  <a:pt x="1405" y="9752"/>
                </a:lnTo>
                <a:lnTo>
                  <a:pt x="1348" y="9909"/>
                </a:lnTo>
                <a:lnTo>
                  <a:pt x="1291" y="10070"/>
                </a:lnTo>
                <a:lnTo>
                  <a:pt x="1232" y="10233"/>
                </a:lnTo>
                <a:lnTo>
                  <a:pt x="739" y="10233"/>
                </a:lnTo>
                <a:lnTo>
                  <a:pt x="717" y="10234"/>
                </a:lnTo>
                <a:lnTo>
                  <a:pt x="695" y="10236"/>
                </a:lnTo>
                <a:lnTo>
                  <a:pt x="672" y="10238"/>
                </a:lnTo>
                <a:lnTo>
                  <a:pt x="650" y="10242"/>
                </a:lnTo>
                <a:lnTo>
                  <a:pt x="628" y="10247"/>
                </a:lnTo>
                <a:lnTo>
                  <a:pt x="606" y="10252"/>
                </a:lnTo>
                <a:lnTo>
                  <a:pt x="584" y="10259"/>
                </a:lnTo>
                <a:lnTo>
                  <a:pt x="562" y="10267"/>
                </a:lnTo>
                <a:lnTo>
                  <a:pt x="540" y="10275"/>
                </a:lnTo>
                <a:lnTo>
                  <a:pt x="519" y="10284"/>
                </a:lnTo>
                <a:lnTo>
                  <a:pt x="497" y="10295"/>
                </a:lnTo>
                <a:lnTo>
                  <a:pt x="477" y="10306"/>
                </a:lnTo>
                <a:lnTo>
                  <a:pt x="456" y="10318"/>
                </a:lnTo>
                <a:lnTo>
                  <a:pt x="436" y="10331"/>
                </a:lnTo>
                <a:lnTo>
                  <a:pt x="415" y="10344"/>
                </a:lnTo>
                <a:lnTo>
                  <a:pt x="396" y="10358"/>
                </a:lnTo>
                <a:lnTo>
                  <a:pt x="377" y="10372"/>
                </a:lnTo>
                <a:lnTo>
                  <a:pt x="359" y="10389"/>
                </a:lnTo>
                <a:lnTo>
                  <a:pt x="341" y="10404"/>
                </a:lnTo>
                <a:lnTo>
                  <a:pt x="323" y="10421"/>
                </a:lnTo>
                <a:lnTo>
                  <a:pt x="306" y="10438"/>
                </a:lnTo>
                <a:lnTo>
                  <a:pt x="289" y="10456"/>
                </a:lnTo>
                <a:lnTo>
                  <a:pt x="274" y="10475"/>
                </a:lnTo>
                <a:lnTo>
                  <a:pt x="259" y="10493"/>
                </a:lnTo>
                <a:lnTo>
                  <a:pt x="245" y="10512"/>
                </a:lnTo>
                <a:lnTo>
                  <a:pt x="232" y="10532"/>
                </a:lnTo>
                <a:lnTo>
                  <a:pt x="219" y="10553"/>
                </a:lnTo>
                <a:lnTo>
                  <a:pt x="208" y="10573"/>
                </a:lnTo>
                <a:lnTo>
                  <a:pt x="197" y="10594"/>
                </a:lnTo>
                <a:lnTo>
                  <a:pt x="187" y="10615"/>
                </a:lnTo>
                <a:lnTo>
                  <a:pt x="177" y="10637"/>
                </a:lnTo>
                <a:lnTo>
                  <a:pt x="169" y="10659"/>
                </a:lnTo>
                <a:lnTo>
                  <a:pt x="24" y="11084"/>
                </a:lnTo>
                <a:lnTo>
                  <a:pt x="17" y="11106"/>
                </a:lnTo>
                <a:lnTo>
                  <a:pt x="12" y="11128"/>
                </a:lnTo>
                <a:lnTo>
                  <a:pt x="7" y="11150"/>
                </a:lnTo>
                <a:lnTo>
                  <a:pt x="4" y="11174"/>
                </a:lnTo>
                <a:lnTo>
                  <a:pt x="1" y="11196"/>
                </a:lnTo>
                <a:lnTo>
                  <a:pt x="0" y="11218"/>
                </a:lnTo>
                <a:lnTo>
                  <a:pt x="0" y="11241"/>
                </a:lnTo>
                <a:lnTo>
                  <a:pt x="1" y="11263"/>
                </a:lnTo>
                <a:lnTo>
                  <a:pt x="3" y="11285"/>
                </a:lnTo>
                <a:lnTo>
                  <a:pt x="6" y="11306"/>
                </a:lnTo>
                <a:lnTo>
                  <a:pt x="10" y="11328"/>
                </a:lnTo>
                <a:lnTo>
                  <a:pt x="15" y="11349"/>
                </a:lnTo>
                <a:lnTo>
                  <a:pt x="21" y="11369"/>
                </a:lnTo>
                <a:lnTo>
                  <a:pt x="28" y="11389"/>
                </a:lnTo>
                <a:lnTo>
                  <a:pt x="36" y="11408"/>
                </a:lnTo>
                <a:lnTo>
                  <a:pt x="45" y="11427"/>
                </a:lnTo>
                <a:lnTo>
                  <a:pt x="55" y="11445"/>
                </a:lnTo>
                <a:lnTo>
                  <a:pt x="67" y="11462"/>
                </a:lnTo>
                <a:lnTo>
                  <a:pt x="78" y="11479"/>
                </a:lnTo>
                <a:lnTo>
                  <a:pt x="91" y="11494"/>
                </a:lnTo>
                <a:lnTo>
                  <a:pt x="104" y="11509"/>
                </a:lnTo>
                <a:lnTo>
                  <a:pt x="118" y="11523"/>
                </a:lnTo>
                <a:lnTo>
                  <a:pt x="133" y="11536"/>
                </a:lnTo>
                <a:lnTo>
                  <a:pt x="149" y="11547"/>
                </a:lnTo>
                <a:lnTo>
                  <a:pt x="165" y="11557"/>
                </a:lnTo>
                <a:lnTo>
                  <a:pt x="183" y="11566"/>
                </a:lnTo>
                <a:lnTo>
                  <a:pt x="202" y="11574"/>
                </a:lnTo>
                <a:lnTo>
                  <a:pt x="220" y="11582"/>
                </a:lnTo>
                <a:lnTo>
                  <a:pt x="240" y="11587"/>
                </a:lnTo>
                <a:lnTo>
                  <a:pt x="260" y="11591"/>
                </a:lnTo>
                <a:lnTo>
                  <a:pt x="281" y="11593"/>
                </a:lnTo>
                <a:lnTo>
                  <a:pt x="302" y="11594"/>
                </a:lnTo>
                <a:lnTo>
                  <a:pt x="787" y="11594"/>
                </a:lnTo>
                <a:lnTo>
                  <a:pt x="762" y="11662"/>
                </a:lnTo>
                <a:lnTo>
                  <a:pt x="739" y="11727"/>
                </a:lnTo>
                <a:lnTo>
                  <a:pt x="717" y="11787"/>
                </a:lnTo>
                <a:lnTo>
                  <a:pt x="697" y="11842"/>
                </a:lnTo>
                <a:lnTo>
                  <a:pt x="658" y="11938"/>
                </a:lnTo>
                <a:lnTo>
                  <a:pt x="626" y="12016"/>
                </a:lnTo>
                <a:lnTo>
                  <a:pt x="601" y="12076"/>
                </a:lnTo>
                <a:lnTo>
                  <a:pt x="581" y="12119"/>
                </a:lnTo>
                <a:lnTo>
                  <a:pt x="570" y="12144"/>
                </a:lnTo>
                <a:lnTo>
                  <a:pt x="566" y="12152"/>
                </a:lnTo>
                <a:lnTo>
                  <a:pt x="559" y="12166"/>
                </a:lnTo>
                <a:lnTo>
                  <a:pt x="553" y="12186"/>
                </a:lnTo>
                <a:lnTo>
                  <a:pt x="546" y="12208"/>
                </a:lnTo>
                <a:lnTo>
                  <a:pt x="540" y="12234"/>
                </a:lnTo>
                <a:lnTo>
                  <a:pt x="534" y="12263"/>
                </a:lnTo>
                <a:lnTo>
                  <a:pt x="529" y="12295"/>
                </a:lnTo>
                <a:lnTo>
                  <a:pt x="525" y="12327"/>
                </a:lnTo>
                <a:lnTo>
                  <a:pt x="520" y="12361"/>
                </a:lnTo>
                <a:lnTo>
                  <a:pt x="513" y="12426"/>
                </a:lnTo>
                <a:lnTo>
                  <a:pt x="508" y="12489"/>
                </a:lnTo>
                <a:lnTo>
                  <a:pt x="504" y="12542"/>
                </a:lnTo>
                <a:lnTo>
                  <a:pt x="503" y="12579"/>
                </a:lnTo>
                <a:lnTo>
                  <a:pt x="503" y="15763"/>
                </a:lnTo>
                <a:lnTo>
                  <a:pt x="504" y="15785"/>
                </a:lnTo>
                <a:lnTo>
                  <a:pt x="505" y="15807"/>
                </a:lnTo>
                <a:lnTo>
                  <a:pt x="508" y="15828"/>
                </a:lnTo>
                <a:lnTo>
                  <a:pt x="512" y="15849"/>
                </a:lnTo>
                <a:lnTo>
                  <a:pt x="516" y="15869"/>
                </a:lnTo>
                <a:lnTo>
                  <a:pt x="522" y="15890"/>
                </a:lnTo>
                <a:lnTo>
                  <a:pt x="529" y="15910"/>
                </a:lnTo>
                <a:lnTo>
                  <a:pt x="536" y="15929"/>
                </a:lnTo>
                <a:lnTo>
                  <a:pt x="545" y="15947"/>
                </a:lnTo>
                <a:lnTo>
                  <a:pt x="555" y="15965"/>
                </a:lnTo>
                <a:lnTo>
                  <a:pt x="565" y="15984"/>
                </a:lnTo>
                <a:lnTo>
                  <a:pt x="576" y="16001"/>
                </a:lnTo>
                <a:lnTo>
                  <a:pt x="588" y="16018"/>
                </a:lnTo>
                <a:lnTo>
                  <a:pt x="600" y="16033"/>
                </a:lnTo>
                <a:lnTo>
                  <a:pt x="613" y="16049"/>
                </a:lnTo>
                <a:lnTo>
                  <a:pt x="627" y="16064"/>
                </a:lnTo>
                <a:lnTo>
                  <a:pt x="642" y="16078"/>
                </a:lnTo>
                <a:lnTo>
                  <a:pt x="657" y="16091"/>
                </a:lnTo>
                <a:lnTo>
                  <a:pt x="673" y="16104"/>
                </a:lnTo>
                <a:lnTo>
                  <a:pt x="690" y="16115"/>
                </a:lnTo>
                <a:lnTo>
                  <a:pt x="707" y="16126"/>
                </a:lnTo>
                <a:lnTo>
                  <a:pt x="725" y="16136"/>
                </a:lnTo>
                <a:lnTo>
                  <a:pt x="743" y="16147"/>
                </a:lnTo>
                <a:lnTo>
                  <a:pt x="762" y="16155"/>
                </a:lnTo>
                <a:lnTo>
                  <a:pt x="781" y="16163"/>
                </a:lnTo>
                <a:lnTo>
                  <a:pt x="801" y="16169"/>
                </a:lnTo>
                <a:lnTo>
                  <a:pt x="821" y="16175"/>
                </a:lnTo>
                <a:lnTo>
                  <a:pt x="842" y="16180"/>
                </a:lnTo>
                <a:lnTo>
                  <a:pt x="862" y="16183"/>
                </a:lnTo>
                <a:lnTo>
                  <a:pt x="883" y="16186"/>
                </a:lnTo>
                <a:lnTo>
                  <a:pt x="905" y="16187"/>
                </a:lnTo>
                <a:lnTo>
                  <a:pt x="927" y="16188"/>
                </a:lnTo>
                <a:lnTo>
                  <a:pt x="2105" y="16188"/>
                </a:lnTo>
                <a:lnTo>
                  <a:pt x="2126" y="16187"/>
                </a:lnTo>
                <a:lnTo>
                  <a:pt x="2149" y="16186"/>
                </a:lnTo>
                <a:lnTo>
                  <a:pt x="2170" y="16183"/>
                </a:lnTo>
                <a:lnTo>
                  <a:pt x="2190" y="16179"/>
                </a:lnTo>
                <a:lnTo>
                  <a:pt x="2211" y="16175"/>
                </a:lnTo>
                <a:lnTo>
                  <a:pt x="2231" y="16169"/>
                </a:lnTo>
                <a:lnTo>
                  <a:pt x="2250" y="16163"/>
                </a:lnTo>
                <a:lnTo>
                  <a:pt x="2269" y="16155"/>
                </a:lnTo>
                <a:lnTo>
                  <a:pt x="2289" y="16147"/>
                </a:lnTo>
                <a:lnTo>
                  <a:pt x="2307" y="16136"/>
                </a:lnTo>
                <a:lnTo>
                  <a:pt x="2325" y="16126"/>
                </a:lnTo>
                <a:lnTo>
                  <a:pt x="2342" y="16115"/>
                </a:lnTo>
                <a:lnTo>
                  <a:pt x="2358" y="16104"/>
                </a:lnTo>
                <a:lnTo>
                  <a:pt x="2374" y="16091"/>
                </a:lnTo>
                <a:lnTo>
                  <a:pt x="2389" y="16078"/>
                </a:lnTo>
                <a:lnTo>
                  <a:pt x="2405" y="16064"/>
                </a:lnTo>
                <a:lnTo>
                  <a:pt x="2419" y="16048"/>
                </a:lnTo>
                <a:lnTo>
                  <a:pt x="2432" y="16033"/>
                </a:lnTo>
                <a:lnTo>
                  <a:pt x="2444" y="16017"/>
                </a:lnTo>
                <a:lnTo>
                  <a:pt x="2456" y="16001"/>
                </a:lnTo>
                <a:lnTo>
                  <a:pt x="2467" y="15984"/>
                </a:lnTo>
                <a:lnTo>
                  <a:pt x="2477" y="15965"/>
                </a:lnTo>
                <a:lnTo>
                  <a:pt x="2487" y="15947"/>
                </a:lnTo>
                <a:lnTo>
                  <a:pt x="2495" y="15928"/>
                </a:lnTo>
                <a:lnTo>
                  <a:pt x="2502" y="15909"/>
                </a:lnTo>
                <a:lnTo>
                  <a:pt x="2509" y="15890"/>
                </a:lnTo>
                <a:lnTo>
                  <a:pt x="2515" y="15869"/>
                </a:lnTo>
                <a:lnTo>
                  <a:pt x="2520" y="15849"/>
                </a:lnTo>
                <a:lnTo>
                  <a:pt x="2524" y="15828"/>
                </a:lnTo>
                <a:lnTo>
                  <a:pt x="2527" y="15807"/>
                </a:lnTo>
                <a:lnTo>
                  <a:pt x="2528" y="15784"/>
                </a:lnTo>
                <a:lnTo>
                  <a:pt x="2529" y="15763"/>
                </a:lnTo>
                <a:lnTo>
                  <a:pt x="2529" y="15354"/>
                </a:lnTo>
                <a:lnTo>
                  <a:pt x="2179" y="15354"/>
                </a:lnTo>
                <a:lnTo>
                  <a:pt x="2179" y="14979"/>
                </a:lnTo>
                <a:close/>
                <a:moveTo>
                  <a:pt x="4943" y="5869"/>
                </a:moveTo>
                <a:lnTo>
                  <a:pt x="4797" y="6294"/>
                </a:lnTo>
                <a:lnTo>
                  <a:pt x="4791" y="6316"/>
                </a:lnTo>
                <a:lnTo>
                  <a:pt x="4785" y="6339"/>
                </a:lnTo>
                <a:lnTo>
                  <a:pt x="4780" y="6361"/>
                </a:lnTo>
                <a:lnTo>
                  <a:pt x="4777" y="6383"/>
                </a:lnTo>
                <a:lnTo>
                  <a:pt x="4775" y="6406"/>
                </a:lnTo>
                <a:lnTo>
                  <a:pt x="4774" y="6429"/>
                </a:lnTo>
                <a:lnTo>
                  <a:pt x="4774" y="6451"/>
                </a:lnTo>
                <a:lnTo>
                  <a:pt x="4775" y="6473"/>
                </a:lnTo>
                <a:lnTo>
                  <a:pt x="4777" y="6494"/>
                </a:lnTo>
                <a:lnTo>
                  <a:pt x="4780" y="6517"/>
                </a:lnTo>
                <a:lnTo>
                  <a:pt x="4784" y="6538"/>
                </a:lnTo>
                <a:lnTo>
                  <a:pt x="4789" y="6558"/>
                </a:lnTo>
                <a:lnTo>
                  <a:pt x="4795" y="6578"/>
                </a:lnTo>
                <a:lnTo>
                  <a:pt x="4802" y="6599"/>
                </a:lnTo>
                <a:lnTo>
                  <a:pt x="4810" y="6618"/>
                </a:lnTo>
                <a:lnTo>
                  <a:pt x="4819" y="6637"/>
                </a:lnTo>
                <a:lnTo>
                  <a:pt x="4829" y="6654"/>
                </a:lnTo>
                <a:lnTo>
                  <a:pt x="4840" y="6672"/>
                </a:lnTo>
                <a:lnTo>
                  <a:pt x="4852" y="6689"/>
                </a:lnTo>
                <a:lnTo>
                  <a:pt x="4865" y="6704"/>
                </a:lnTo>
                <a:lnTo>
                  <a:pt x="4878" y="6719"/>
                </a:lnTo>
                <a:lnTo>
                  <a:pt x="4892" y="6732"/>
                </a:lnTo>
                <a:lnTo>
                  <a:pt x="4907" y="6745"/>
                </a:lnTo>
                <a:lnTo>
                  <a:pt x="4923" y="6756"/>
                </a:lnTo>
                <a:lnTo>
                  <a:pt x="4939" y="6768"/>
                </a:lnTo>
                <a:lnTo>
                  <a:pt x="4957" y="6777"/>
                </a:lnTo>
                <a:lnTo>
                  <a:pt x="4976" y="6784"/>
                </a:lnTo>
                <a:lnTo>
                  <a:pt x="4994" y="6791"/>
                </a:lnTo>
                <a:lnTo>
                  <a:pt x="5014" y="6796"/>
                </a:lnTo>
                <a:lnTo>
                  <a:pt x="5034" y="6800"/>
                </a:lnTo>
                <a:lnTo>
                  <a:pt x="5055" y="6802"/>
                </a:lnTo>
                <a:lnTo>
                  <a:pt x="5076" y="6803"/>
                </a:lnTo>
                <a:lnTo>
                  <a:pt x="5560" y="6803"/>
                </a:lnTo>
                <a:lnTo>
                  <a:pt x="5546" y="6842"/>
                </a:lnTo>
                <a:lnTo>
                  <a:pt x="5590" y="6842"/>
                </a:lnTo>
                <a:lnTo>
                  <a:pt x="5764" y="6842"/>
                </a:lnTo>
                <a:lnTo>
                  <a:pt x="5932" y="6843"/>
                </a:lnTo>
                <a:lnTo>
                  <a:pt x="6093" y="6847"/>
                </a:lnTo>
                <a:lnTo>
                  <a:pt x="6246" y="6850"/>
                </a:lnTo>
                <a:lnTo>
                  <a:pt x="6393" y="6854"/>
                </a:lnTo>
                <a:lnTo>
                  <a:pt x="6533" y="6858"/>
                </a:lnTo>
                <a:lnTo>
                  <a:pt x="6667" y="6864"/>
                </a:lnTo>
                <a:lnTo>
                  <a:pt x="6794" y="6870"/>
                </a:lnTo>
                <a:lnTo>
                  <a:pt x="6915" y="6876"/>
                </a:lnTo>
                <a:lnTo>
                  <a:pt x="7030" y="6883"/>
                </a:lnTo>
                <a:lnTo>
                  <a:pt x="7139" y="6890"/>
                </a:lnTo>
                <a:lnTo>
                  <a:pt x="7242" y="6898"/>
                </a:lnTo>
                <a:lnTo>
                  <a:pt x="7340" y="6906"/>
                </a:lnTo>
                <a:lnTo>
                  <a:pt x="7432" y="6915"/>
                </a:lnTo>
                <a:lnTo>
                  <a:pt x="7517" y="6923"/>
                </a:lnTo>
                <a:lnTo>
                  <a:pt x="7598" y="6933"/>
                </a:lnTo>
                <a:lnTo>
                  <a:pt x="7674" y="6942"/>
                </a:lnTo>
                <a:lnTo>
                  <a:pt x="7744" y="6951"/>
                </a:lnTo>
                <a:lnTo>
                  <a:pt x="7811" y="6960"/>
                </a:lnTo>
                <a:lnTo>
                  <a:pt x="7871" y="6969"/>
                </a:lnTo>
                <a:lnTo>
                  <a:pt x="7928" y="6978"/>
                </a:lnTo>
                <a:lnTo>
                  <a:pt x="7979" y="6986"/>
                </a:lnTo>
                <a:lnTo>
                  <a:pt x="8026" y="6995"/>
                </a:lnTo>
                <a:lnTo>
                  <a:pt x="8070" y="7003"/>
                </a:lnTo>
                <a:lnTo>
                  <a:pt x="8143" y="7020"/>
                </a:lnTo>
                <a:lnTo>
                  <a:pt x="8202" y="7033"/>
                </a:lnTo>
                <a:lnTo>
                  <a:pt x="8245" y="7045"/>
                </a:lnTo>
                <a:lnTo>
                  <a:pt x="8276" y="7054"/>
                </a:lnTo>
                <a:lnTo>
                  <a:pt x="8476" y="7116"/>
                </a:lnTo>
                <a:lnTo>
                  <a:pt x="8557" y="7140"/>
                </a:lnTo>
                <a:lnTo>
                  <a:pt x="8641" y="7166"/>
                </a:lnTo>
                <a:lnTo>
                  <a:pt x="8685" y="7180"/>
                </a:lnTo>
                <a:lnTo>
                  <a:pt x="8729" y="7196"/>
                </a:lnTo>
                <a:lnTo>
                  <a:pt x="8774" y="7211"/>
                </a:lnTo>
                <a:lnTo>
                  <a:pt x="8820" y="7227"/>
                </a:lnTo>
                <a:lnTo>
                  <a:pt x="8866" y="7244"/>
                </a:lnTo>
                <a:lnTo>
                  <a:pt x="8913" y="7262"/>
                </a:lnTo>
                <a:lnTo>
                  <a:pt x="8960" y="7282"/>
                </a:lnTo>
                <a:lnTo>
                  <a:pt x="9006" y="7302"/>
                </a:lnTo>
                <a:lnTo>
                  <a:pt x="9054" y="7323"/>
                </a:lnTo>
                <a:lnTo>
                  <a:pt x="9101" y="7346"/>
                </a:lnTo>
                <a:lnTo>
                  <a:pt x="9149" y="7371"/>
                </a:lnTo>
                <a:lnTo>
                  <a:pt x="9195" y="7396"/>
                </a:lnTo>
                <a:lnTo>
                  <a:pt x="9241" y="7422"/>
                </a:lnTo>
                <a:lnTo>
                  <a:pt x="9288" y="7451"/>
                </a:lnTo>
                <a:lnTo>
                  <a:pt x="9333" y="7481"/>
                </a:lnTo>
                <a:lnTo>
                  <a:pt x="9378" y="7512"/>
                </a:lnTo>
                <a:lnTo>
                  <a:pt x="9423" y="7546"/>
                </a:lnTo>
                <a:lnTo>
                  <a:pt x="9466" y="7580"/>
                </a:lnTo>
                <a:lnTo>
                  <a:pt x="9508" y="7617"/>
                </a:lnTo>
                <a:lnTo>
                  <a:pt x="9551" y="7656"/>
                </a:lnTo>
                <a:lnTo>
                  <a:pt x="9591" y="7696"/>
                </a:lnTo>
                <a:lnTo>
                  <a:pt x="9630" y="7739"/>
                </a:lnTo>
                <a:lnTo>
                  <a:pt x="9669" y="7784"/>
                </a:lnTo>
                <a:lnTo>
                  <a:pt x="9706" y="7831"/>
                </a:lnTo>
                <a:lnTo>
                  <a:pt x="9741" y="7881"/>
                </a:lnTo>
                <a:lnTo>
                  <a:pt x="9776" y="7931"/>
                </a:lnTo>
                <a:lnTo>
                  <a:pt x="9808" y="7986"/>
                </a:lnTo>
                <a:lnTo>
                  <a:pt x="9838" y="8041"/>
                </a:lnTo>
                <a:lnTo>
                  <a:pt x="9858" y="8083"/>
                </a:lnTo>
                <a:lnTo>
                  <a:pt x="9882" y="8134"/>
                </a:lnTo>
                <a:lnTo>
                  <a:pt x="9909" y="8194"/>
                </a:lnTo>
                <a:lnTo>
                  <a:pt x="9939" y="8262"/>
                </a:lnTo>
                <a:lnTo>
                  <a:pt x="9971" y="8339"/>
                </a:lnTo>
                <a:lnTo>
                  <a:pt x="10005" y="8422"/>
                </a:lnTo>
                <a:lnTo>
                  <a:pt x="10043" y="8513"/>
                </a:lnTo>
                <a:lnTo>
                  <a:pt x="10082" y="8609"/>
                </a:lnTo>
                <a:lnTo>
                  <a:pt x="10122" y="8711"/>
                </a:lnTo>
                <a:lnTo>
                  <a:pt x="10165" y="8819"/>
                </a:lnTo>
                <a:lnTo>
                  <a:pt x="10208" y="8932"/>
                </a:lnTo>
                <a:lnTo>
                  <a:pt x="10254" y="9049"/>
                </a:lnTo>
                <a:lnTo>
                  <a:pt x="10299" y="9169"/>
                </a:lnTo>
                <a:lnTo>
                  <a:pt x="10345" y="9294"/>
                </a:lnTo>
                <a:lnTo>
                  <a:pt x="10392" y="9420"/>
                </a:lnTo>
                <a:lnTo>
                  <a:pt x="10439" y="9550"/>
                </a:lnTo>
                <a:lnTo>
                  <a:pt x="10448" y="9550"/>
                </a:lnTo>
                <a:lnTo>
                  <a:pt x="10488" y="9550"/>
                </a:lnTo>
                <a:lnTo>
                  <a:pt x="10530" y="9553"/>
                </a:lnTo>
                <a:lnTo>
                  <a:pt x="10570" y="9556"/>
                </a:lnTo>
                <a:lnTo>
                  <a:pt x="10610" y="9561"/>
                </a:lnTo>
                <a:lnTo>
                  <a:pt x="10651" y="9568"/>
                </a:lnTo>
                <a:lnTo>
                  <a:pt x="10691" y="9576"/>
                </a:lnTo>
                <a:lnTo>
                  <a:pt x="10730" y="9585"/>
                </a:lnTo>
                <a:lnTo>
                  <a:pt x="10770" y="9596"/>
                </a:lnTo>
                <a:lnTo>
                  <a:pt x="10809" y="9608"/>
                </a:lnTo>
                <a:lnTo>
                  <a:pt x="10847" y="9622"/>
                </a:lnTo>
                <a:lnTo>
                  <a:pt x="10886" y="9636"/>
                </a:lnTo>
                <a:lnTo>
                  <a:pt x="10923" y="9652"/>
                </a:lnTo>
                <a:lnTo>
                  <a:pt x="10960" y="9668"/>
                </a:lnTo>
                <a:lnTo>
                  <a:pt x="10998" y="9686"/>
                </a:lnTo>
                <a:lnTo>
                  <a:pt x="11033" y="9706"/>
                </a:lnTo>
                <a:lnTo>
                  <a:pt x="11069" y="9727"/>
                </a:lnTo>
                <a:lnTo>
                  <a:pt x="11103" y="9748"/>
                </a:lnTo>
                <a:lnTo>
                  <a:pt x="11139" y="9771"/>
                </a:lnTo>
                <a:lnTo>
                  <a:pt x="11172" y="9795"/>
                </a:lnTo>
                <a:lnTo>
                  <a:pt x="11205" y="9820"/>
                </a:lnTo>
                <a:lnTo>
                  <a:pt x="11238" y="9845"/>
                </a:lnTo>
                <a:lnTo>
                  <a:pt x="11269" y="9873"/>
                </a:lnTo>
                <a:lnTo>
                  <a:pt x="11300" y="9900"/>
                </a:lnTo>
                <a:lnTo>
                  <a:pt x="11329" y="9928"/>
                </a:lnTo>
                <a:lnTo>
                  <a:pt x="11359" y="9959"/>
                </a:lnTo>
                <a:lnTo>
                  <a:pt x="11387" y="9989"/>
                </a:lnTo>
                <a:lnTo>
                  <a:pt x="11414" y="10020"/>
                </a:lnTo>
                <a:lnTo>
                  <a:pt x="11440" y="10053"/>
                </a:lnTo>
                <a:lnTo>
                  <a:pt x="11465" y="10085"/>
                </a:lnTo>
                <a:lnTo>
                  <a:pt x="11491" y="10120"/>
                </a:lnTo>
                <a:lnTo>
                  <a:pt x="11514" y="10154"/>
                </a:lnTo>
                <a:lnTo>
                  <a:pt x="11536" y="10189"/>
                </a:lnTo>
                <a:lnTo>
                  <a:pt x="13739" y="10189"/>
                </a:lnTo>
                <a:lnTo>
                  <a:pt x="13739" y="10565"/>
                </a:lnTo>
                <a:lnTo>
                  <a:pt x="13423" y="10565"/>
                </a:lnTo>
                <a:lnTo>
                  <a:pt x="13423" y="10973"/>
                </a:lnTo>
                <a:lnTo>
                  <a:pt x="13423" y="10995"/>
                </a:lnTo>
                <a:lnTo>
                  <a:pt x="13425" y="11017"/>
                </a:lnTo>
                <a:lnTo>
                  <a:pt x="13427" y="11038"/>
                </a:lnTo>
                <a:lnTo>
                  <a:pt x="13431" y="11058"/>
                </a:lnTo>
                <a:lnTo>
                  <a:pt x="13436" y="11080"/>
                </a:lnTo>
                <a:lnTo>
                  <a:pt x="13441" y="11100"/>
                </a:lnTo>
                <a:lnTo>
                  <a:pt x="13449" y="11119"/>
                </a:lnTo>
                <a:lnTo>
                  <a:pt x="13457" y="11138"/>
                </a:lnTo>
                <a:lnTo>
                  <a:pt x="13465" y="11158"/>
                </a:lnTo>
                <a:lnTo>
                  <a:pt x="13474" y="11176"/>
                </a:lnTo>
                <a:lnTo>
                  <a:pt x="13484" y="11194"/>
                </a:lnTo>
                <a:lnTo>
                  <a:pt x="13495" y="11211"/>
                </a:lnTo>
                <a:lnTo>
                  <a:pt x="13507" y="11227"/>
                </a:lnTo>
                <a:lnTo>
                  <a:pt x="13520" y="11244"/>
                </a:lnTo>
                <a:lnTo>
                  <a:pt x="13533" y="11259"/>
                </a:lnTo>
                <a:lnTo>
                  <a:pt x="13547" y="11274"/>
                </a:lnTo>
                <a:lnTo>
                  <a:pt x="13561" y="11288"/>
                </a:lnTo>
                <a:lnTo>
                  <a:pt x="13578" y="11301"/>
                </a:lnTo>
                <a:lnTo>
                  <a:pt x="13593" y="11313"/>
                </a:lnTo>
                <a:lnTo>
                  <a:pt x="13610" y="11326"/>
                </a:lnTo>
                <a:lnTo>
                  <a:pt x="13627" y="11337"/>
                </a:lnTo>
                <a:lnTo>
                  <a:pt x="13645" y="11347"/>
                </a:lnTo>
                <a:lnTo>
                  <a:pt x="13663" y="11356"/>
                </a:lnTo>
                <a:lnTo>
                  <a:pt x="13681" y="11365"/>
                </a:lnTo>
                <a:lnTo>
                  <a:pt x="13701" y="11372"/>
                </a:lnTo>
                <a:lnTo>
                  <a:pt x="13721" y="11379"/>
                </a:lnTo>
                <a:lnTo>
                  <a:pt x="13741" y="11385"/>
                </a:lnTo>
                <a:lnTo>
                  <a:pt x="13761" y="11389"/>
                </a:lnTo>
                <a:lnTo>
                  <a:pt x="13782" y="11393"/>
                </a:lnTo>
                <a:lnTo>
                  <a:pt x="13803" y="11396"/>
                </a:lnTo>
                <a:lnTo>
                  <a:pt x="13825" y="11397"/>
                </a:lnTo>
                <a:lnTo>
                  <a:pt x="13847" y="11398"/>
                </a:lnTo>
                <a:lnTo>
                  <a:pt x="15024" y="11398"/>
                </a:lnTo>
                <a:lnTo>
                  <a:pt x="15047" y="11397"/>
                </a:lnTo>
                <a:lnTo>
                  <a:pt x="15068" y="11396"/>
                </a:lnTo>
                <a:lnTo>
                  <a:pt x="15089" y="11393"/>
                </a:lnTo>
                <a:lnTo>
                  <a:pt x="15110" y="11389"/>
                </a:lnTo>
                <a:lnTo>
                  <a:pt x="15130" y="11385"/>
                </a:lnTo>
                <a:lnTo>
                  <a:pt x="15150" y="11379"/>
                </a:lnTo>
                <a:lnTo>
                  <a:pt x="15171" y="11372"/>
                </a:lnTo>
                <a:lnTo>
                  <a:pt x="15190" y="11365"/>
                </a:lnTo>
                <a:lnTo>
                  <a:pt x="15208" y="11357"/>
                </a:lnTo>
                <a:lnTo>
                  <a:pt x="15226" y="11347"/>
                </a:lnTo>
                <a:lnTo>
                  <a:pt x="15244" y="11337"/>
                </a:lnTo>
                <a:lnTo>
                  <a:pt x="15261" y="11326"/>
                </a:lnTo>
                <a:lnTo>
                  <a:pt x="15277" y="11314"/>
                </a:lnTo>
                <a:lnTo>
                  <a:pt x="15294" y="11301"/>
                </a:lnTo>
                <a:lnTo>
                  <a:pt x="15310" y="11288"/>
                </a:lnTo>
                <a:lnTo>
                  <a:pt x="15324" y="11274"/>
                </a:lnTo>
                <a:lnTo>
                  <a:pt x="15338" y="11259"/>
                </a:lnTo>
                <a:lnTo>
                  <a:pt x="15351" y="11244"/>
                </a:lnTo>
                <a:lnTo>
                  <a:pt x="15364" y="11227"/>
                </a:lnTo>
                <a:lnTo>
                  <a:pt x="15375" y="11211"/>
                </a:lnTo>
                <a:lnTo>
                  <a:pt x="15386" y="11194"/>
                </a:lnTo>
                <a:lnTo>
                  <a:pt x="15396" y="11176"/>
                </a:lnTo>
                <a:lnTo>
                  <a:pt x="15406" y="11158"/>
                </a:lnTo>
                <a:lnTo>
                  <a:pt x="15415" y="11139"/>
                </a:lnTo>
                <a:lnTo>
                  <a:pt x="15423" y="11119"/>
                </a:lnTo>
                <a:lnTo>
                  <a:pt x="15429" y="11100"/>
                </a:lnTo>
                <a:lnTo>
                  <a:pt x="15435" y="11080"/>
                </a:lnTo>
                <a:lnTo>
                  <a:pt x="15439" y="11059"/>
                </a:lnTo>
                <a:lnTo>
                  <a:pt x="15443" y="11038"/>
                </a:lnTo>
                <a:lnTo>
                  <a:pt x="15446" y="11017"/>
                </a:lnTo>
                <a:lnTo>
                  <a:pt x="15447" y="10995"/>
                </a:lnTo>
                <a:lnTo>
                  <a:pt x="15448" y="10973"/>
                </a:lnTo>
                <a:lnTo>
                  <a:pt x="15448" y="7789"/>
                </a:lnTo>
                <a:lnTo>
                  <a:pt x="15447" y="7752"/>
                </a:lnTo>
                <a:lnTo>
                  <a:pt x="15443" y="7699"/>
                </a:lnTo>
                <a:lnTo>
                  <a:pt x="15438" y="7637"/>
                </a:lnTo>
                <a:lnTo>
                  <a:pt x="15431" y="7571"/>
                </a:lnTo>
                <a:lnTo>
                  <a:pt x="15426" y="7538"/>
                </a:lnTo>
                <a:lnTo>
                  <a:pt x="15422" y="7505"/>
                </a:lnTo>
                <a:lnTo>
                  <a:pt x="15417" y="7474"/>
                </a:lnTo>
                <a:lnTo>
                  <a:pt x="15411" y="7444"/>
                </a:lnTo>
                <a:lnTo>
                  <a:pt x="15404" y="7418"/>
                </a:lnTo>
                <a:lnTo>
                  <a:pt x="15398" y="7396"/>
                </a:lnTo>
                <a:lnTo>
                  <a:pt x="15392" y="7377"/>
                </a:lnTo>
                <a:lnTo>
                  <a:pt x="15385" y="7363"/>
                </a:lnTo>
                <a:lnTo>
                  <a:pt x="15381" y="7354"/>
                </a:lnTo>
                <a:lnTo>
                  <a:pt x="15370" y="7329"/>
                </a:lnTo>
                <a:lnTo>
                  <a:pt x="15351" y="7287"/>
                </a:lnTo>
                <a:lnTo>
                  <a:pt x="15326" y="7226"/>
                </a:lnTo>
                <a:lnTo>
                  <a:pt x="15294" y="7148"/>
                </a:lnTo>
                <a:lnTo>
                  <a:pt x="15257" y="7052"/>
                </a:lnTo>
                <a:lnTo>
                  <a:pt x="15236" y="6997"/>
                </a:lnTo>
                <a:lnTo>
                  <a:pt x="15215" y="6938"/>
                </a:lnTo>
                <a:lnTo>
                  <a:pt x="15192" y="6873"/>
                </a:lnTo>
                <a:lnTo>
                  <a:pt x="15168" y="6804"/>
                </a:lnTo>
                <a:lnTo>
                  <a:pt x="15657" y="6804"/>
                </a:lnTo>
                <a:lnTo>
                  <a:pt x="15679" y="6803"/>
                </a:lnTo>
                <a:lnTo>
                  <a:pt x="15700" y="6801"/>
                </a:lnTo>
                <a:lnTo>
                  <a:pt x="15720" y="6797"/>
                </a:lnTo>
                <a:lnTo>
                  <a:pt x="15739" y="6792"/>
                </a:lnTo>
                <a:lnTo>
                  <a:pt x="15758" y="6785"/>
                </a:lnTo>
                <a:lnTo>
                  <a:pt x="15777" y="6777"/>
                </a:lnTo>
                <a:lnTo>
                  <a:pt x="15794" y="6768"/>
                </a:lnTo>
                <a:lnTo>
                  <a:pt x="15811" y="6757"/>
                </a:lnTo>
                <a:lnTo>
                  <a:pt x="15827" y="6745"/>
                </a:lnTo>
                <a:lnTo>
                  <a:pt x="15842" y="6733"/>
                </a:lnTo>
                <a:lnTo>
                  <a:pt x="15856" y="6719"/>
                </a:lnTo>
                <a:lnTo>
                  <a:pt x="15869" y="6705"/>
                </a:lnTo>
                <a:lnTo>
                  <a:pt x="15882" y="6689"/>
                </a:lnTo>
                <a:lnTo>
                  <a:pt x="15893" y="6672"/>
                </a:lnTo>
                <a:lnTo>
                  <a:pt x="15905" y="6655"/>
                </a:lnTo>
                <a:lnTo>
                  <a:pt x="15915" y="6637"/>
                </a:lnTo>
                <a:lnTo>
                  <a:pt x="15924" y="6619"/>
                </a:lnTo>
                <a:lnTo>
                  <a:pt x="15932" y="6599"/>
                </a:lnTo>
                <a:lnTo>
                  <a:pt x="15939" y="6579"/>
                </a:lnTo>
                <a:lnTo>
                  <a:pt x="15945" y="6559"/>
                </a:lnTo>
                <a:lnTo>
                  <a:pt x="15950" y="6538"/>
                </a:lnTo>
                <a:lnTo>
                  <a:pt x="15954" y="6517"/>
                </a:lnTo>
                <a:lnTo>
                  <a:pt x="15957" y="6494"/>
                </a:lnTo>
                <a:lnTo>
                  <a:pt x="15959" y="6473"/>
                </a:lnTo>
                <a:lnTo>
                  <a:pt x="15960" y="6451"/>
                </a:lnTo>
                <a:lnTo>
                  <a:pt x="15960" y="6429"/>
                </a:lnTo>
                <a:lnTo>
                  <a:pt x="15959" y="6406"/>
                </a:lnTo>
                <a:lnTo>
                  <a:pt x="15956" y="6383"/>
                </a:lnTo>
                <a:lnTo>
                  <a:pt x="15953" y="6361"/>
                </a:lnTo>
                <a:lnTo>
                  <a:pt x="15948" y="6339"/>
                </a:lnTo>
                <a:lnTo>
                  <a:pt x="15943" y="6316"/>
                </a:lnTo>
                <a:lnTo>
                  <a:pt x="15936" y="6294"/>
                </a:lnTo>
                <a:lnTo>
                  <a:pt x="15791" y="5869"/>
                </a:lnTo>
                <a:lnTo>
                  <a:pt x="15783" y="5848"/>
                </a:lnTo>
                <a:lnTo>
                  <a:pt x="15773" y="5826"/>
                </a:lnTo>
                <a:lnTo>
                  <a:pt x="15763" y="5804"/>
                </a:lnTo>
                <a:lnTo>
                  <a:pt x="15752" y="5784"/>
                </a:lnTo>
                <a:lnTo>
                  <a:pt x="15740" y="5763"/>
                </a:lnTo>
                <a:lnTo>
                  <a:pt x="15728" y="5743"/>
                </a:lnTo>
                <a:lnTo>
                  <a:pt x="15715" y="5723"/>
                </a:lnTo>
                <a:lnTo>
                  <a:pt x="15701" y="5704"/>
                </a:lnTo>
                <a:lnTo>
                  <a:pt x="15686" y="5685"/>
                </a:lnTo>
                <a:lnTo>
                  <a:pt x="15670" y="5667"/>
                </a:lnTo>
                <a:lnTo>
                  <a:pt x="15654" y="5649"/>
                </a:lnTo>
                <a:lnTo>
                  <a:pt x="15636" y="5631"/>
                </a:lnTo>
                <a:lnTo>
                  <a:pt x="15619" y="5615"/>
                </a:lnTo>
                <a:lnTo>
                  <a:pt x="15601" y="5599"/>
                </a:lnTo>
                <a:lnTo>
                  <a:pt x="15582" y="5584"/>
                </a:lnTo>
                <a:lnTo>
                  <a:pt x="15564" y="5569"/>
                </a:lnTo>
                <a:lnTo>
                  <a:pt x="15544" y="5555"/>
                </a:lnTo>
                <a:lnTo>
                  <a:pt x="15523" y="5541"/>
                </a:lnTo>
                <a:lnTo>
                  <a:pt x="15503" y="5529"/>
                </a:lnTo>
                <a:lnTo>
                  <a:pt x="15483" y="5517"/>
                </a:lnTo>
                <a:lnTo>
                  <a:pt x="15462" y="5506"/>
                </a:lnTo>
                <a:lnTo>
                  <a:pt x="15441" y="5496"/>
                </a:lnTo>
                <a:lnTo>
                  <a:pt x="15419" y="5487"/>
                </a:lnTo>
                <a:lnTo>
                  <a:pt x="15397" y="5478"/>
                </a:lnTo>
                <a:lnTo>
                  <a:pt x="15375" y="5471"/>
                </a:lnTo>
                <a:lnTo>
                  <a:pt x="15353" y="5463"/>
                </a:lnTo>
                <a:lnTo>
                  <a:pt x="15331" y="5457"/>
                </a:lnTo>
                <a:lnTo>
                  <a:pt x="15309" y="5453"/>
                </a:lnTo>
                <a:lnTo>
                  <a:pt x="15287" y="5449"/>
                </a:lnTo>
                <a:lnTo>
                  <a:pt x="15265" y="5446"/>
                </a:lnTo>
                <a:lnTo>
                  <a:pt x="15243" y="5445"/>
                </a:lnTo>
                <a:lnTo>
                  <a:pt x="15221" y="5444"/>
                </a:lnTo>
                <a:lnTo>
                  <a:pt x="14731" y="5444"/>
                </a:lnTo>
                <a:lnTo>
                  <a:pt x="14673" y="5276"/>
                </a:lnTo>
                <a:lnTo>
                  <a:pt x="14614" y="5110"/>
                </a:lnTo>
                <a:lnTo>
                  <a:pt x="14556" y="4949"/>
                </a:lnTo>
                <a:lnTo>
                  <a:pt x="14498" y="4793"/>
                </a:lnTo>
                <a:lnTo>
                  <a:pt x="14442" y="4641"/>
                </a:lnTo>
                <a:lnTo>
                  <a:pt x="14387" y="4496"/>
                </a:lnTo>
                <a:lnTo>
                  <a:pt x="14334" y="4359"/>
                </a:lnTo>
                <a:lnTo>
                  <a:pt x="14283" y="4229"/>
                </a:lnTo>
                <a:lnTo>
                  <a:pt x="14236" y="4108"/>
                </a:lnTo>
                <a:lnTo>
                  <a:pt x="14191" y="3995"/>
                </a:lnTo>
                <a:lnTo>
                  <a:pt x="14149" y="3894"/>
                </a:lnTo>
                <a:lnTo>
                  <a:pt x="14112" y="3803"/>
                </a:lnTo>
                <a:lnTo>
                  <a:pt x="14078" y="3724"/>
                </a:lnTo>
                <a:lnTo>
                  <a:pt x="14048" y="3657"/>
                </a:lnTo>
                <a:lnTo>
                  <a:pt x="14024" y="3604"/>
                </a:lnTo>
                <a:lnTo>
                  <a:pt x="14005" y="3564"/>
                </a:lnTo>
                <a:lnTo>
                  <a:pt x="13984" y="3525"/>
                </a:lnTo>
                <a:lnTo>
                  <a:pt x="13960" y="3488"/>
                </a:lnTo>
                <a:lnTo>
                  <a:pt x="13935" y="3452"/>
                </a:lnTo>
                <a:lnTo>
                  <a:pt x="13908" y="3419"/>
                </a:lnTo>
                <a:lnTo>
                  <a:pt x="13879" y="3386"/>
                </a:lnTo>
                <a:lnTo>
                  <a:pt x="13849" y="3357"/>
                </a:lnTo>
                <a:lnTo>
                  <a:pt x="13818" y="3328"/>
                </a:lnTo>
                <a:lnTo>
                  <a:pt x="13785" y="3300"/>
                </a:lnTo>
                <a:lnTo>
                  <a:pt x="13751" y="3275"/>
                </a:lnTo>
                <a:lnTo>
                  <a:pt x="13716" y="3251"/>
                </a:lnTo>
                <a:lnTo>
                  <a:pt x="13679" y="3227"/>
                </a:lnTo>
                <a:lnTo>
                  <a:pt x="13642" y="3205"/>
                </a:lnTo>
                <a:lnTo>
                  <a:pt x="13604" y="3185"/>
                </a:lnTo>
                <a:lnTo>
                  <a:pt x="13565" y="3165"/>
                </a:lnTo>
                <a:lnTo>
                  <a:pt x="13525" y="3147"/>
                </a:lnTo>
                <a:lnTo>
                  <a:pt x="13485" y="3128"/>
                </a:lnTo>
                <a:lnTo>
                  <a:pt x="13445" y="3112"/>
                </a:lnTo>
                <a:lnTo>
                  <a:pt x="13403" y="3096"/>
                </a:lnTo>
                <a:lnTo>
                  <a:pt x="13362" y="3080"/>
                </a:lnTo>
                <a:lnTo>
                  <a:pt x="13319" y="3066"/>
                </a:lnTo>
                <a:lnTo>
                  <a:pt x="13236" y="3037"/>
                </a:lnTo>
                <a:lnTo>
                  <a:pt x="13152" y="3011"/>
                </a:lnTo>
                <a:lnTo>
                  <a:pt x="13068" y="2987"/>
                </a:lnTo>
                <a:lnTo>
                  <a:pt x="12987" y="2962"/>
                </a:lnTo>
                <a:lnTo>
                  <a:pt x="12907" y="2937"/>
                </a:lnTo>
                <a:lnTo>
                  <a:pt x="12831" y="2913"/>
                </a:lnTo>
                <a:lnTo>
                  <a:pt x="12823" y="2911"/>
                </a:lnTo>
                <a:lnTo>
                  <a:pt x="12802" y="2905"/>
                </a:lnTo>
                <a:lnTo>
                  <a:pt x="12766" y="2897"/>
                </a:lnTo>
                <a:lnTo>
                  <a:pt x="12713" y="2886"/>
                </a:lnTo>
                <a:lnTo>
                  <a:pt x="12641" y="2872"/>
                </a:lnTo>
                <a:lnTo>
                  <a:pt x="12550" y="2857"/>
                </a:lnTo>
                <a:lnTo>
                  <a:pt x="12498" y="2849"/>
                </a:lnTo>
                <a:lnTo>
                  <a:pt x="12440" y="2841"/>
                </a:lnTo>
                <a:lnTo>
                  <a:pt x="12378" y="2833"/>
                </a:lnTo>
                <a:lnTo>
                  <a:pt x="12309" y="2825"/>
                </a:lnTo>
                <a:lnTo>
                  <a:pt x="12236" y="2817"/>
                </a:lnTo>
                <a:lnTo>
                  <a:pt x="12155" y="2809"/>
                </a:lnTo>
                <a:lnTo>
                  <a:pt x="12070" y="2801"/>
                </a:lnTo>
                <a:lnTo>
                  <a:pt x="11979" y="2792"/>
                </a:lnTo>
                <a:lnTo>
                  <a:pt x="11881" y="2785"/>
                </a:lnTo>
                <a:lnTo>
                  <a:pt x="11777" y="2778"/>
                </a:lnTo>
                <a:lnTo>
                  <a:pt x="11667" y="2771"/>
                </a:lnTo>
                <a:lnTo>
                  <a:pt x="11550" y="2765"/>
                </a:lnTo>
                <a:lnTo>
                  <a:pt x="11426" y="2759"/>
                </a:lnTo>
                <a:lnTo>
                  <a:pt x="11296" y="2754"/>
                </a:lnTo>
                <a:lnTo>
                  <a:pt x="11159" y="2749"/>
                </a:lnTo>
                <a:lnTo>
                  <a:pt x="11015" y="2745"/>
                </a:lnTo>
                <a:lnTo>
                  <a:pt x="10862" y="2742"/>
                </a:lnTo>
                <a:lnTo>
                  <a:pt x="10703" y="2740"/>
                </a:lnTo>
                <a:lnTo>
                  <a:pt x="10537" y="2738"/>
                </a:lnTo>
                <a:lnTo>
                  <a:pt x="10362" y="2738"/>
                </a:lnTo>
                <a:lnTo>
                  <a:pt x="10189" y="2738"/>
                </a:lnTo>
                <a:lnTo>
                  <a:pt x="10023" y="2740"/>
                </a:lnTo>
                <a:lnTo>
                  <a:pt x="9863" y="2742"/>
                </a:lnTo>
                <a:lnTo>
                  <a:pt x="9711" y="2745"/>
                </a:lnTo>
                <a:lnTo>
                  <a:pt x="9567" y="2749"/>
                </a:lnTo>
                <a:lnTo>
                  <a:pt x="9430" y="2754"/>
                </a:lnTo>
                <a:lnTo>
                  <a:pt x="9300" y="2759"/>
                </a:lnTo>
                <a:lnTo>
                  <a:pt x="9176" y="2765"/>
                </a:lnTo>
                <a:lnTo>
                  <a:pt x="9059" y="2771"/>
                </a:lnTo>
                <a:lnTo>
                  <a:pt x="8949" y="2778"/>
                </a:lnTo>
                <a:lnTo>
                  <a:pt x="8845" y="2785"/>
                </a:lnTo>
                <a:lnTo>
                  <a:pt x="8747" y="2792"/>
                </a:lnTo>
                <a:lnTo>
                  <a:pt x="8656" y="2801"/>
                </a:lnTo>
                <a:lnTo>
                  <a:pt x="8570" y="2809"/>
                </a:lnTo>
                <a:lnTo>
                  <a:pt x="8490" y="2817"/>
                </a:lnTo>
                <a:lnTo>
                  <a:pt x="8417" y="2825"/>
                </a:lnTo>
                <a:lnTo>
                  <a:pt x="8348" y="2833"/>
                </a:lnTo>
                <a:lnTo>
                  <a:pt x="8285" y="2841"/>
                </a:lnTo>
                <a:lnTo>
                  <a:pt x="8227" y="2849"/>
                </a:lnTo>
                <a:lnTo>
                  <a:pt x="8175" y="2857"/>
                </a:lnTo>
                <a:lnTo>
                  <a:pt x="8085" y="2872"/>
                </a:lnTo>
                <a:lnTo>
                  <a:pt x="8013" y="2886"/>
                </a:lnTo>
                <a:lnTo>
                  <a:pt x="7960" y="2897"/>
                </a:lnTo>
                <a:lnTo>
                  <a:pt x="7923" y="2905"/>
                </a:lnTo>
                <a:lnTo>
                  <a:pt x="7901" y="2911"/>
                </a:lnTo>
                <a:lnTo>
                  <a:pt x="7894" y="2913"/>
                </a:lnTo>
                <a:lnTo>
                  <a:pt x="7828" y="2931"/>
                </a:lnTo>
                <a:lnTo>
                  <a:pt x="7755" y="2949"/>
                </a:lnTo>
                <a:lnTo>
                  <a:pt x="7678" y="2968"/>
                </a:lnTo>
                <a:lnTo>
                  <a:pt x="7598" y="2990"/>
                </a:lnTo>
                <a:lnTo>
                  <a:pt x="7557" y="3001"/>
                </a:lnTo>
                <a:lnTo>
                  <a:pt x="7514" y="3013"/>
                </a:lnTo>
                <a:lnTo>
                  <a:pt x="7473" y="3025"/>
                </a:lnTo>
                <a:lnTo>
                  <a:pt x="7431" y="3038"/>
                </a:lnTo>
                <a:lnTo>
                  <a:pt x="7388" y="3052"/>
                </a:lnTo>
                <a:lnTo>
                  <a:pt x="7346" y="3068"/>
                </a:lnTo>
                <a:lnTo>
                  <a:pt x="7303" y="3083"/>
                </a:lnTo>
                <a:lnTo>
                  <a:pt x="7262" y="3099"/>
                </a:lnTo>
                <a:lnTo>
                  <a:pt x="7221" y="3117"/>
                </a:lnTo>
                <a:lnTo>
                  <a:pt x="7179" y="3135"/>
                </a:lnTo>
                <a:lnTo>
                  <a:pt x="7140" y="3156"/>
                </a:lnTo>
                <a:lnTo>
                  <a:pt x="7101" y="3176"/>
                </a:lnTo>
                <a:lnTo>
                  <a:pt x="7063" y="3198"/>
                </a:lnTo>
                <a:lnTo>
                  <a:pt x="7025" y="3222"/>
                </a:lnTo>
                <a:lnTo>
                  <a:pt x="6989" y="3247"/>
                </a:lnTo>
                <a:lnTo>
                  <a:pt x="6955" y="3273"/>
                </a:lnTo>
                <a:lnTo>
                  <a:pt x="6921" y="3301"/>
                </a:lnTo>
                <a:lnTo>
                  <a:pt x="6889" y="3331"/>
                </a:lnTo>
                <a:lnTo>
                  <a:pt x="6860" y="3362"/>
                </a:lnTo>
                <a:lnTo>
                  <a:pt x="6832" y="3394"/>
                </a:lnTo>
                <a:lnTo>
                  <a:pt x="6805" y="3430"/>
                </a:lnTo>
                <a:lnTo>
                  <a:pt x="6781" y="3466"/>
                </a:lnTo>
                <a:lnTo>
                  <a:pt x="6760" y="3505"/>
                </a:lnTo>
                <a:lnTo>
                  <a:pt x="6740" y="3545"/>
                </a:lnTo>
                <a:lnTo>
                  <a:pt x="6718" y="3596"/>
                </a:lnTo>
                <a:lnTo>
                  <a:pt x="6692" y="3659"/>
                </a:lnTo>
                <a:lnTo>
                  <a:pt x="6660" y="3734"/>
                </a:lnTo>
                <a:lnTo>
                  <a:pt x="6625" y="3819"/>
                </a:lnTo>
                <a:lnTo>
                  <a:pt x="6586" y="3914"/>
                </a:lnTo>
                <a:lnTo>
                  <a:pt x="6543" y="4020"/>
                </a:lnTo>
                <a:lnTo>
                  <a:pt x="6498" y="4133"/>
                </a:lnTo>
                <a:lnTo>
                  <a:pt x="6450" y="4254"/>
                </a:lnTo>
                <a:lnTo>
                  <a:pt x="6399" y="4384"/>
                </a:lnTo>
                <a:lnTo>
                  <a:pt x="6346" y="4520"/>
                </a:lnTo>
                <a:lnTo>
                  <a:pt x="6291" y="4662"/>
                </a:lnTo>
                <a:lnTo>
                  <a:pt x="6236" y="4811"/>
                </a:lnTo>
                <a:lnTo>
                  <a:pt x="6179" y="4964"/>
                </a:lnTo>
                <a:lnTo>
                  <a:pt x="6122" y="5120"/>
                </a:lnTo>
                <a:lnTo>
                  <a:pt x="6064" y="5281"/>
                </a:lnTo>
                <a:lnTo>
                  <a:pt x="6006" y="5444"/>
                </a:lnTo>
                <a:lnTo>
                  <a:pt x="5512" y="5444"/>
                </a:lnTo>
                <a:lnTo>
                  <a:pt x="5491" y="5445"/>
                </a:lnTo>
                <a:lnTo>
                  <a:pt x="5469" y="5446"/>
                </a:lnTo>
                <a:lnTo>
                  <a:pt x="5446" y="5449"/>
                </a:lnTo>
                <a:lnTo>
                  <a:pt x="5424" y="5453"/>
                </a:lnTo>
                <a:lnTo>
                  <a:pt x="5402" y="5457"/>
                </a:lnTo>
                <a:lnTo>
                  <a:pt x="5380" y="5463"/>
                </a:lnTo>
                <a:lnTo>
                  <a:pt x="5358" y="5471"/>
                </a:lnTo>
                <a:lnTo>
                  <a:pt x="5335" y="5478"/>
                </a:lnTo>
                <a:lnTo>
                  <a:pt x="5314" y="5487"/>
                </a:lnTo>
                <a:lnTo>
                  <a:pt x="5292" y="5496"/>
                </a:lnTo>
                <a:lnTo>
                  <a:pt x="5271" y="5506"/>
                </a:lnTo>
                <a:lnTo>
                  <a:pt x="5251" y="5517"/>
                </a:lnTo>
                <a:lnTo>
                  <a:pt x="5230" y="5529"/>
                </a:lnTo>
                <a:lnTo>
                  <a:pt x="5209" y="5541"/>
                </a:lnTo>
                <a:lnTo>
                  <a:pt x="5189" y="5555"/>
                </a:lnTo>
                <a:lnTo>
                  <a:pt x="5170" y="5569"/>
                </a:lnTo>
                <a:lnTo>
                  <a:pt x="5151" y="5584"/>
                </a:lnTo>
                <a:lnTo>
                  <a:pt x="5132" y="5599"/>
                </a:lnTo>
                <a:lnTo>
                  <a:pt x="5115" y="5615"/>
                </a:lnTo>
                <a:lnTo>
                  <a:pt x="5097" y="5631"/>
                </a:lnTo>
                <a:lnTo>
                  <a:pt x="5079" y="5650"/>
                </a:lnTo>
                <a:lnTo>
                  <a:pt x="5063" y="5667"/>
                </a:lnTo>
                <a:lnTo>
                  <a:pt x="5048" y="5685"/>
                </a:lnTo>
                <a:lnTo>
                  <a:pt x="5033" y="5704"/>
                </a:lnTo>
                <a:lnTo>
                  <a:pt x="5019" y="5723"/>
                </a:lnTo>
                <a:lnTo>
                  <a:pt x="5006" y="5743"/>
                </a:lnTo>
                <a:lnTo>
                  <a:pt x="4993" y="5763"/>
                </a:lnTo>
                <a:lnTo>
                  <a:pt x="4981" y="5784"/>
                </a:lnTo>
                <a:lnTo>
                  <a:pt x="4970" y="5804"/>
                </a:lnTo>
                <a:lnTo>
                  <a:pt x="4960" y="5826"/>
                </a:lnTo>
                <a:lnTo>
                  <a:pt x="4951" y="5848"/>
                </a:lnTo>
                <a:lnTo>
                  <a:pt x="4943" y="5869"/>
                </a:lnTo>
                <a:close/>
                <a:moveTo>
                  <a:pt x="12863" y="8847"/>
                </a:moveTo>
                <a:lnTo>
                  <a:pt x="12824" y="8847"/>
                </a:lnTo>
                <a:lnTo>
                  <a:pt x="12787" y="8846"/>
                </a:lnTo>
                <a:lnTo>
                  <a:pt x="12752" y="8844"/>
                </a:lnTo>
                <a:lnTo>
                  <a:pt x="12718" y="8842"/>
                </a:lnTo>
                <a:lnTo>
                  <a:pt x="12685" y="8839"/>
                </a:lnTo>
                <a:lnTo>
                  <a:pt x="12655" y="8835"/>
                </a:lnTo>
                <a:lnTo>
                  <a:pt x="12626" y="8831"/>
                </a:lnTo>
                <a:lnTo>
                  <a:pt x="12599" y="8825"/>
                </a:lnTo>
                <a:lnTo>
                  <a:pt x="12572" y="8819"/>
                </a:lnTo>
                <a:lnTo>
                  <a:pt x="12548" y="8813"/>
                </a:lnTo>
                <a:lnTo>
                  <a:pt x="12525" y="8806"/>
                </a:lnTo>
                <a:lnTo>
                  <a:pt x="12503" y="8798"/>
                </a:lnTo>
                <a:lnTo>
                  <a:pt x="12483" y="8789"/>
                </a:lnTo>
                <a:lnTo>
                  <a:pt x="12464" y="8780"/>
                </a:lnTo>
                <a:lnTo>
                  <a:pt x="12445" y="8770"/>
                </a:lnTo>
                <a:lnTo>
                  <a:pt x="12429" y="8760"/>
                </a:lnTo>
                <a:lnTo>
                  <a:pt x="12414" y="8748"/>
                </a:lnTo>
                <a:lnTo>
                  <a:pt x="12400" y="8735"/>
                </a:lnTo>
                <a:lnTo>
                  <a:pt x="12387" y="8722"/>
                </a:lnTo>
                <a:lnTo>
                  <a:pt x="12376" y="8709"/>
                </a:lnTo>
                <a:lnTo>
                  <a:pt x="12365" y="8695"/>
                </a:lnTo>
                <a:lnTo>
                  <a:pt x="12356" y="8680"/>
                </a:lnTo>
                <a:lnTo>
                  <a:pt x="12348" y="8664"/>
                </a:lnTo>
                <a:lnTo>
                  <a:pt x="12340" y="8647"/>
                </a:lnTo>
                <a:lnTo>
                  <a:pt x="12333" y="8629"/>
                </a:lnTo>
                <a:lnTo>
                  <a:pt x="12328" y="8612"/>
                </a:lnTo>
                <a:lnTo>
                  <a:pt x="12323" y="8593"/>
                </a:lnTo>
                <a:lnTo>
                  <a:pt x="12319" y="8573"/>
                </a:lnTo>
                <a:lnTo>
                  <a:pt x="12317" y="8552"/>
                </a:lnTo>
                <a:lnTo>
                  <a:pt x="12315" y="8531"/>
                </a:lnTo>
                <a:lnTo>
                  <a:pt x="12314" y="8510"/>
                </a:lnTo>
                <a:lnTo>
                  <a:pt x="12313" y="8487"/>
                </a:lnTo>
                <a:lnTo>
                  <a:pt x="12314" y="8462"/>
                </a:lnTo>
                <a:lnTo>
                  <a:pt x="12317" y="8439"/>
                </a:lnTo>
                <a:lnTo>
                  <a:pt x="12322" y="8416"/>
                </a:lnTo>
                <a:lnTo>
                  <a:pt x="12329" y="8393"/>
                </a:lnTo>
                <a:lnTo>
                  <a:pt x="12339" y="8371"/>
                </a:lnTo>
                <a:lnTo>
                  <a:pt x="12350" y="8351"/>
                </a:lnTo>
                <a:lnTo>
                  <a:pt x="12362" y="8330"/>
                </a:lnTo>
                <a:lnTo>
                  <a:pt x="12376" y="8311"/>
                </a:lnTo>
                <a:lnTo>
                  <a:pt x="12391" y="8291"/>
                </a:lnTo>
                <a:lnTo>
                  <a:pt x="12408" y="8272"/>
                </a:lnTo>
                <a:lnTo>
                  <a:pt x="12426" y="8254"/>
                </a:lnTo>
                <a:lnTo>
                  <a:pt x="12445" y="8236"/>
                </a:lnTo>
                <a:lnTo>
                  <a:pt x="12467" y="8218"/>
                </a:lnTo>
                <a:lnTo>
                  <a:pt x="12489" y="8201"/>
                </a:lnTo>
                <a:lnTo>
                  <a:pt x="12512" y="8184"/>
                </a:lnTo>
                <a:lnTo>
                  <a:pt x="12536" y="8168"/>
                </a:lnTo>
                <a:lnTo>
                  <a:pt x="12561" y="8152"/>
                </a:lnTo>
                <a:lnTo>
                  <a:pt x="12588" y="8136"/>
                </a:lnTo>
                <a:lnTo>
                  <a:pt x="12614" y="8120"/>
                </a:lnTo>
                <a:lnTo>
                  <a:pt x="12642" y="8105"/>
                </a:lnTo>
                <a:lnTo>
                  <a:pt x="12698" y="8076"/>
                </a:lnTo>
                <a:lnTo>
                  <a:pt x="12758" y="8045"/>
                </a:lnTo>
                <a:lnTo>
                  <a:pt x="12880" y="7988"/>
                </a:lnTo>
                <a:lnTo>
                  <a:pt x="13003" y="7929"/>
                </a:lnTo>
                <a:lnTo>
                  <a:pt x="13060" y="7901"/>
                </a:lnTo>
                <a:lnTo>
                  <a:pt x="13121" y="7871"/>
                </a:lnTo>
                <a:lnTo>
                  <a:pt x="13184" y="7842"/>
                </a:lnTo>
                <a:lnTo>
                  <a:pt x="13249" y="7812"/>
                </a:lnTo>
                <a:lnTo>
                  <a:pt x="13315" y="7781"/>
                </a:lnTo>
                <a:lnTo>
                  <a:pt x="13383" y="7752"/>
                </a:lnTo>
                <a:lnTo>
                  <a:pt x="13451" y="7723"/>
                </a:lnTo>
                <a:lnTo>
                  <a:pt x="13518" y="7695"/>
                </a:lnTo>
                <a:lnTo>
                  <a:pt x="13585" y="7669"/>
                </a:lnTo>
                <a:lnTo>
                  <a:pt x="13650" y="7646"/>
                </a:lnTo>
                <a:lnTo>
                  <a:pt x="13682" y="7635"/>
                </a:lnTo>
                <a:lnTo>
                  <a:pt x="13714" y="7625"/>
                </a:lnTo>
                <a:lnTo>
                  <a:pt x="13744" y="7614"/>
                </a:lnTo>
                <a:lnTo>
                  <a:pt x="13774" y="7606"/>
                </a:lnTo>
                <a:lnTo>
                  <a:pt x="13803" y="7598"/>
                </a:lnTo>
                <a:lnTo>
                  <a:pt x="13832" y="7591"/>
                </a:lnTo>
                <a:lnTo>
                  <a:pt x="13860" y="7585"/>
                </a:lnTo>
                <a:lnTo>
                  <a:pt x="13886" y="7580"/>
                </a:lnTo>
                <a:lnTo>
                  <a:pt x="13911" y="7576"/>
                </a:lnTo>
                <a:lnTo>
                  <a:pt x="13937" y="7573"/>
                </a:lnTo>
                <a:lnTo>
                  <a:pt x="13960" y="7571"/>
                </a:lnTo>
                <a:lnTo>
                  <a:pt x="13982" y="7571"/>
                </a:lnTo>
                <a:lnTo>
                  <a:pt x="14025" y="7571"/>
                </a:lnTo>
                <a:lnTo>
                  <a:pt x="14069" y="7572"/>
                </a:lnTo>
                <a:lnTo>
                  <a:pt x="14090" y="7573"/>
                </a:lnTo>
                <a:lnTo>
                  <a:pt x="14110" y="7575"/>
                </a:lnTo>
                <a:lnTo>
                  <a:pt x="14131" y="7577"/>
                </a:lnTo>
                <a:lnTo>
                  <a:pt x="14151" y="7579"/>
                </a:lnTo>
                <a:lnTo>
                  <a:pt x="14170" y="7583"/>
                </a:lnTo>
                <a:lnTo>
                  <a:pt x="14190" y="7587"/>
                </a:lnTo>
                <a:lnTo>
                  <a:pt x="14209" y="7591"/>
                </a:lnTo>
                <a:lnTo>
                  <a:pt x="14227" y="7597"/>
                </a:lnTo>
                <a:lnTo>
                  <a:pt x="14245" y="7603"/>
                </a:lnTo>
                <a:lnTo>
                  <a:pt x="14262" y="7611"/>
                </a:lnTo>
                <a:lnTo>
                  <a:pt x="14279" y="7619"/>
                </a:lnTo>
                <a:lnTo>
                  <a:pt x="14294" y="7630"/>
                </a:lnTo>
                <a:lnTo>
                  <a:pt x="14311" y="7641"/>
                </a:lnTo>
                <a:lnTo>
                  <a:pt x="14325" y="7653"/>
                </a:lnTo>
                <a:lnTo>
                  <a:pt x="14339" y="7666"/>
                </a:lnTo>
                <a:lnTo>
                  <a:pt x="14352" y="7681"/>
                </a:lnTo>
                <a:lnTo>
                  <a:pt x="14364" y="7697"/>
                </a:lnTo>
                <a:lnTo>
                  <a:pt x="14375" y="7716"/>
                </a:lnTo>
                <a:lnTo>
                  <a:pt x="14385" y="7735"/>
                </a:lnTo>
                <a:lnTo>
                  <a:pt x="14395" y="7756"/>
                </a:lnTo>
                <a:lnTo>
                  <a:pt x="14403" y="7779"/>
                </a:lnTo>
                <a:lnTo>
                  <a:pt x="14411" y="7805"/>
                </a:lnTo>
                <a:lnTo>
                  <a:pt x="14417" y="7831"/>
                </a:lnTo>
                <a:lnTo>
                  <a:pt x="14422" y="7860"/>
                </a:lnTo>
                <a:lnTo>
                  <a:pt x="14427" y="7891"/>
                </a:lnTo>
                <a:lnTo>
                  <a:pt x="14430" y="7924"/>
                </a:lnTo>
                <a:lnTo>
                  <a:pt x="14432" y="7958"/>
                </a:lnTo>
                <a:lnTo>
                  <a:pt x="14433" y="7996"/>
                </a:lnTo>
                <a:lnTo>
                  <a:pt x="14433" y="8421"/>
                </a:lnTo>
                <a:lnTo>
                  <a:pt x="14431" y="8453"/>
                </a:lnTo>
                <a:lnTo>
                  <a:pt x="14427" y="8485"/>
                </a:lnTo>
                <a:lnTo>
                  <a:pt x="14419" y="8513"/>
                </a:lnTo>
                <a:lnTo>
                  <a:pt x="14410" y="8541"/>
                </a:lnTo>
                <a:lnTo>
                  <a:pt x="14397" y="8566"/>
                </a:lnTo>
                <a:lnTo>
                  <a:pt x="14383" y="8592"/>
                </a:lnTo>
                <a:lnTo>
                  <a:pt x="14365" y="8615"/>
                </a:lnTo>
                <a:lnTo>
                  <a:pt x="14346" y="8636"/>
                </a:lnTo>
                <a:lnTo>
                  <a:pt x="14325" y="8657"/>
                </a:lnTo>
                <a:lnTo>
                  <a:pt x="14300" y="8676"/>
                </a:lnTo>
                <a:lnTo>
                  <a:pt x="14274" y="8694"/>
                </a:lnTo>
                <a:lnTo>
                  <a:pt x="14247" y="8711"/>
                </a:lnTo>
                <a:lnTo>
                  <a:pt x="14217" y="8726"/>
                </a:lnTo>
                <a:lnTo>
                  <a:pt x="14186" y="8741"/>
                </a:lnTo>
                <a:lnTo>
                  <a:pt x="14152" y="8754"/>
                </a:lnTo>
                <a:lnTo>
                  <a:pt x="14118" y="8767"/>
                </a:lnTo>
                <a:lnTo>
                  <a:pt x="14082" y="8778"/>
                </a:lnTo>
                <a:lnTo>
                  <a:pt x="14044" y="8788"/>
                </a:lnTo>
                <a:lnTo>
                  <a:pt x="14005" y="8797"/>
                </a:lnTo>
                <a:lnTo>
                  <a:pt x="13966" y="8805"/>
                </a:lnTo>
                <a:lnTo>
                  <a:pt x="13924" y="8812"/>
                </a:lnTo>
                <a:lnTo>
                  <a:pt x="13882" y="8819"/>
                </a:lnTo>
                <a:lnTo>
                  <a:pt x="13840" y="8825"/>
                </a:lnTo>
                <a:lnTo>
                  <a:pt x="13795" y="8831"/>
                </a:lnTo>
                <a:lnTo>
                  <a:pt x="13751" y="8835"/>
                </a:lnTo>
                <a:lnTo>
                  <a:pt x="13706" y="8838"/>
                </a:lnTo>
                <a:lnTo>
                  <a:pt x="13660" y="8841"/>
                </a:lnTo>
                <a:lnTo>
                  <a:pt x="13614" y="8844"/>
                </a:lnTo>
                <a:lnTo>
                  <a:pt x="13567" y="8845"/>
                </a:lnTo>
                <a:lnTo>
                  <a:pt x="13520" y="8846"/>
                </a:lnTo>
                <a:lnTo>
                  <a:pt x="13473" y="8847"/>
                </a:lnTo>
                <a:lnTo>
                  <a:pt x="13426" y="8847"/>
                </a:lnTo>
                <a:lnTo>
                  <a:pt x="12863" y="8847"/>
                </a:lnTo>
                <a:close/>
                <a:moveTo>
                  <a:pt x="10362" y="6294"/>
                </a:moveTo>
                <a:lnTo>
                  <a:pt x="10136" y="6293"/>
                </a:lnTo>
                <a:lnTo>
                  <a:pt x="9917" y="6290"/>
                </a:lnTo>
                <a:lnTo>
                  <a:pt x="9705" y="6284"/>
                </a:lnTo>
                <a:lnTo>
                  <a:pt x="9499" y="6277"/>
                </a:lnTo>
                <a:lnTo>
                  <a:pt x="9303" y="6268"/>
                </a:lnTo>
                <a:lnTo>
                  <a:pt x="9112" y="6258"/>
                </a:lnTo>
                <a:lnTo>
                  <a:pt x="8929" y="6246"/>
                </a:lnTo>
                <a:lnTo>
                  <a:pt x="8753" y="6232"/>
                </a:lnTo>
                <a:lnTo>
                  <a:pt x="8585" y="6218"/>
                </a:lnTo>
                <a:lnTo>
                  <a:pt x="8424" y="6202"/>
                </a:lnTo>
                <a:lnTo>
                  <a:pt x="8269" y="6186"/>
                </a:lnTo>
                <a:lnTo>
                  <a:pt x="8123" y="6169"/>
                </a:lnTo>
                <a:lnTo>
                  <a:pt x="7983" y="6151"/>
                </a:lnTo>
                <a:lnTo>
                  <a:pt x="7851" y="6133"/>
                </a:lnTo>
                <a:lnTo>
                  <a:pt x="7726" y="6115"/>
                </a:lnTo>
                <a:lnTo>
                  <a:pt x="7607" y="6096"/>
                </a:lnTo>
                <a:lnTo>
                  <a:pt x="7497" y="6078"/>
                </a:lnTo>
                <a:lnTo>
                  <a:pt x="7393" y="6059"/>
                </a:lnTo>
                <a:lnTo>
                  <a:pt x="7296" y="6041"/>
                </a:lnTo>
                <a:lnTo>
                  <a:pt x="7208" y="6024"/>
                </a:lnTo>
                <a:lnTo>
                  <a:pt x="7125" y="6007"/>
                </a:lnTo>
                <a:lnTo>
                  <a:pt x="7050" y="5990"/>
                </a:lnTo>
                <a:lnTo>
                  <a:pt x="6983" y="5974"/>
                </a:lnTo>
                <a:lnTo>
                  <a:pt x="6921" y="5960"/>
                </a:lnTo>
                <a:lnTo>
                  <a:pt x="6822" y="5935"/>
                </a:lnTo>
                <a:lnTo>
                  <a:pt x="6751" y="5915"/>
                </a:lnTo>
                <a:lnTo>
                  <a:pt x="6708" y="5903"/>
                </a:lnTo>
                <a:lnTo>
                  <a:pt x="6694" y="5899"/>
                </a:lnTo>
                <a:lnTo>
                  <a:pt x="6721" y="5797"/>
                </a:lnTo>
                <a:lnTo>
                  <a:pt x="6747" y="5700"/>
                </a:lnTo>
                <a:lnTo>
                  <a:pt x="6774" y="5605"/>
                </a:lnTo>
                <a:lnTo>
                  <a:pt x="6802" y="5514"/>
                </a:lnTo>
                <a:lnTo>
                  <a:pt x="6830" y="5426"/>
                </a:lnTo>
                <a:lnTo>
                  <a:pt x="6858" y="5341"/>
                </a:lnTo>
                <a:lnTo>
                  <a:pt x="6885" y="5258"/>
                </a:lnTo>
                <a:lnTo>
                  <a:pt x="6913" y="5179"/>
                </a:lnTo>
                <a:lnTo>
                  <a:pt x="6941" y="5102"/>
                </a:lnTo>
                <a:lnTo>
                  <a:pt x="6968" y="5028"/>
                </a:lnTo>
                <a:lnTo>
                  <a:pt x="6995" y="4958"/>
                </a:lnTo>
                <a:lnTo>
                  <a:pt x="7022" y="4889"/>
                </a:lnTo>
                <a:lnTo>
                  <a:pt x="7049" y="4823"/>
                </a:lnTo>
                <a:lnTo>
                  <a:pt x="7076" y="4760"/>
                </a:lnTo>
                <a:lnTo>
                  <a:pt x="7102" y="4700"/>
                </a:lnTo>
                <a:lnTo>
                  <a:pt x="7127" y="4641"/>
                </a:lnTo>
                <a:lnTo>
                  <a:pt x="7175" y="4533"/>
                </a:lnTo>
                <a:lnTo>
                  <a:pt x="7222" y="4432"/>
                </a:lnTo>
                <a:lnTo>
                  <a:pt x="7265" y="4342"/>
                </a:lnTo>
                <a:lnTo>
                  <a:pt x="7304" y="4260"/>
                </a:lnTo>
                <a:lnTo>
                  <a:pt x="7340" y="4188"/>
                </a:lnTo>
                <a:lnTo>
                  <a:pt x="7370" y="4122"/>
                </a:lnTo>
                <a:lnTo>
                  <a:pt x="7383" y="4092"/>
                </a:lnTo>
                <a:lnTo>
                  <a:pt x="7395" y="4063"/>
                </a:lnTo>
                <a:lnTo>
                  <a:pt x="7406" y="4037"/>
                </a:lnTo>
                <a:lnTo>
                  <a:pt x="7415" y="4013"/>
                </a:lnTo>
                <a:lnTo>
                  <a:pt x="7417" y="4007"/>
                </a:lnTo>
                <a:lnTo>
                  <a:pt x="7426" y="3990"/>
                </a:lnTo>
                <a:lnTo>
                  <a:pt x="7434" y="3979"/>
                </a:lnTo>
                <a:lnTo>
                  <a:pt x="7444" y="3966"/>
                </a:lnTo>
                <a:lnTo>
                  <a:pt x="7457" y="3951"/>
                </a:lnTo>
                <a:lnTo>
                  <a:pt x="7475" y="3935"/>
                </a:lnTo>
                <a:lnTo>
                  <a:pt x="7496" y="3917"/>
                </a:lnTo>
                <a:lnTo>
                  <a:pt x="7523" y="3898"/>
                </a:lnTo>
                <a:lnTo>
                  <a:pt x="7556" y="3878"/>
                </a:lnTo>
                <a:lnTo>
                  <a:pt x="7594" y="3858"/>
                </a:lnTo>
                <a:lnTo>
                  <a:pt x="7638" y="3836"/>
                </a:lnTo>
                <a:lnTo>
                  <a:pt x="7689" y="3814"/>
                </a:lnTo>
                <a:lnTo>
                  <a:pt x="7748" y="3791"/>
                </a:lnTo>
                <a:lnTo>
                  <a:pt x="7815" y="3769"/>
                </a:lnTo>
                <a:lnTo>
                  <a:pt x="7889" y="3747"/>
                </a:lnTo>
                <a:lnTo>
                  <a:pt x="7973" y="3724"/>
                </a:lnTo>
                <a:lnTo>
                  <a:pt x="8067" y="3702"/>
                </a:lnTo>
                <a:lnTo>
                  <a:pt x="8170" y="3681"/>
                </a:lnTo>
                <a:lnTo>
                  <a:pt x="8283" y="3661"/>
                </a:lnTo>
                <a:lnTo>
                  <a:pt x="8407" y="3640"/>
                </a:lnTo>
                <a:lnTo>
                  <a:pt x="8544" y="3621"/>
                </a:lnTo>
                <a:lnTo>
                  <a:pt x="8691" y="3604"/>
                </a:lnTo>
                <a:lnTo>
                  <a:pt x="8851" y="3588"/>
                </a:lnTo>
                <a:lnTo>
                  <a:pt x="9025" y="3574"/>
                </a:lnTo>
                <a:lnTo>
                  <a:pt x="9211" y="3560"/>
                </a:lnTo>
                <a:lnTo>
                  <a:pt x="9412" y="3550"/>
                </a:lnTo>
                <a:lnTo>
                  <a:pt x="9626" y="3541"/>
                </a:lnTo>
                <a:lnTo>
                  <a:pt x="9856" y="3534"/>
                </a:lnTo>
                <a:lnTo>
                  <a:pt x="10101" y="3531"/>
                </a:lnTo>
                <a:lnTo>
                  <a:pt x="10362" y="3529"/>
                </a:lnTo>
                <a:lnTo>
                  <a:pt x="10624" y="3530"/>
                </a:lnTo>
                <a:lnTo>
                  <a:pt x="10869" y="3534"/>
                </a:lnTo>
                <a:lnTo>
                  <a:pt x="11098" y="3540"/>
                </a:lnTo>
                <a:lnTo>
                  <a:pt x="11313" y="3547"/>
                </a:lnTo>
                <a:lnTo>
                  <a:pt x="11513" y="3557"/>
                </a:lnTo>
                <a:lnTo>
                  <a:pt x="11699" y="3568"/>
                </a:lnTo>
                <a:lnTo>
                  <a:pt x="11872" y="3582"/>
                </a:lnTo>
                <a:lnTo>
                  <a:pt x="12032" y="3597"/>
                </a:lnTo>
                <a:lnTo>
                  <a:pt x="12180" y="3613"/>
                </a:lnTo>
                <a:lnTo>
                  <a:pt x="12315" y="3630"/>
                </a:lnTo>
                <a:lnTo>
                  <a:pt x="12440" y="3649"/>
                </a:lnTo>
                <a:lnTo>
                  <a:pt x="12553" y="3669"/>
                </a:lnTo>
                <a:lnTo>
                  <a:pt x="12657" y="3689"/>
                </a:lnTo>
                <a:lnTo>
                  <a:pt x="12750" y="3711"/>
                </a:lnTo>
                <a:lnTo>
                  <a:pt x="12835" y="3732"/>
                </a:lnTo>
                <a:lnTo>
                  <a:pt x="12910" y="3756"/>
                </a:lnTo>
                <a:lnTo>
                  <a:pt x="12977" y="3778"/>
                </a:lnTo>
                <a:lnTo>
                  <a:pt x="13036" y="3801"/>
                </a:lnTo>
                <a:lnTo>
                  <a:pt x="13089" y="3824"/>
                </a:lnTo>
                <a:lnTo>
                  <a:pt x="13134" y="3848"/>
                </a:lnTo>
                <a:lnTo>
                  <a:pt x="13174" y="3871"/>
                </a:lnTo>
                <a:lnTo>
                  <a:pt x="13208" y="3894"/>
                </a:lnTo>
                <a:lnTo>
                  <a:pt x="13236" y="3917"/>
                </a:lnTo>
                <a:lnTo>
                  <a:pt x="13260" y="3940"/>
                </a:lnTo>
                <a:lnTo>
                  <a:pt x="13280" y="3961"/>
                </a:lnTo>
                <a:lnTo>
                  <a:pt x="13296" y="3981"/>
                </a:lnTo>
                <a:lnTo>
                  <a:pt x="13309" y="4001"/>
                </a:lnTo>
                <a:lnTo>
                  <a:pt x="13319" y="4021"/>
                </a:lnTo>
                <a:lnTo>
                  <a:pt x="13336" y="4054"/>
                </a:lnTo>
                <a:lnTo>
                  <a:pt x="13347" y="4083"/>
                </a:lnTo>
                <a:lnTo>
                  <a:pt x="13354" y="4102"/>
                </a:lnTo>
                <a:lnTo>
                  <a:pt x="13363" y="4121"/>
                </a:lnTo>
                <a:lnTo>
                  <a:pt x="13373" y="4143"/>
                </a:lnTo>
                <a:lnTo>
                  <a:pt x="13385" y="4166"/>
                </a:lnTo>
                <a:lnTo>
                  <a:pt x="13411" y="4218"/>
                </a:lnTo>
                <a:lnTo>
                  <a:pt x="13444" y="4279"/>
                </a:lnTo>
                <a:lnTo>
                  <a:pt x="13479" y="4349"/>
                </a:lnTo>
                <a:lnTo>
                  <a:pt x="13519" y="4427"/>
                </a:lnTo>
                <a:lnTo>
                  <a:pt x="13561" y="4516"/>
                </a:lnTo>
                <a:lnTo>
                  <a:pt x="13608" y="4617"/>
                </a:lnTo>
                <a:lnTo>
                  <a:pt x="13632" y="4671"/>
                </a:lnTo>
                <a:lnTo>
                  <a:pt x="13657" y="4728"/>
                </a:lnTo>
                <a:lnTo>
                  <a:pt x="13682" y="4789"/>
                </a:lnTo>
                <a:lnTo>
                  <a:pt x="13708" y="4852"/>
                </a:lnTo>
                <a:lnTo>
                  <a:pt x="13734" y="4920"/>
                </a:lnTo>
                <a:lnTo>
                  <a:pt x="13761" y="4990"/>
                </a:lnTo>
                <a:lnTo>
                  <a:pt x="13788" y="5064"/>
                </a:lnTo>
                <a:lnTo>
                  <a:pt x="13816" y="5142"/>
                </a:lnTo>
                <a:lnTo>
                  <a:pt x="13843" y="5223"/>
                </a:lnTo>
                <a:lnTo>
                  <a:pt x="13871" y="5307"/>
                </a:lnTo>
                <a:lnTo>
                  <a:pt x="13898" y="5396"/>
                </a:lnTo>
                <a:lnTo>
                  <a:pt x="13926" y="5488"/>
                </a:lnTo>
                <a:lnTo>
                  <a:pt x="13955" y="5584"/>
                </a:lnTo>
                <a:lnTo>
                  <a:pt x="13983" y="5685"/>
                </a:lnTo>
                <a:lnTo>
                  <a:pt x="14011" y="5789"/>
                </a:lnTo>
                <a:lnTo>
                  <a:pt x="14038" y="5899"/>
                </a:lnTo>
                <a:lnTo>
                  <a:pt x="14024" y="5903"/>
                </a:lnTo>
                <a:lnTo>
                  <a:pt x="13982" y="5915"/>
                </a:lnTo>
                <a:lnTo>
                  <a:pt x="13909" y="5935"/>
                </a:lnTo>
                <a:lnTo>
                  <a:pt x="13809" y="5960"/>
                </a:lnTo>
                <a:lnTo>
                  <a:pt x="13748" y="5974"/>
                </a:lnTo>
                <a:lnTo>
                  <a:pt x="13680" y="5990"/>
                </a:lnTo>
                <a:lnTo>
                  <a:pt x="13605" y="6007"/>
                </a:lnTo>
                <a:lnTo>
                  <a:pt x="13522" y="6024"/>
                </a:lnTo>
                <a:lnTo>
                  <a:pt x="13432" y="6041"/>
                </a:lnTo>
                <a:lnTo>
                  <a:pt x="13336" y="6059"/>
                </a:lnTo>
                <a:lnTo>
                  <a:pt x="13232" y="6078"/>
                </a:lnTo>
                <a:lnTo>
                  <a:pt x="13121" y="6096"/>
                </a:lnTo>
                <a:lnTo>
                  <a:pt x="13003" y="6115"/>
                </a:lnTo>
                <a:lnTo>
                  <a:pt x="12877" y="6133"/>
                </a:lnTo>
                <a:lnTo>
                  <a:pt x="12744" y="6151"/>
                </a:lnTo>
                <a:lnTo>
                  <a:pt x="12604" y="6169"/>
                </a:lnTo>
                <a:lnTo>
                  <a:pt x="12456" y="6186"/>
                </a:lnTo>
                <a:lnTo>
                  <a:pt x="12302" y="6202"/>
                </a:lnTo>
                <a:lnTo>
                  <a:pt x="12141" y="6218"/>
                </a:lnTo>
                <a:lnTo>
                  <a:pt x="11973" y="6232"/>
                </a:lnTo>
                <a:lnTo>
                  <a:pt x="11796" y="6246"/>
                </a:lnTo>
                <a:lnTo>
                  <a:pt x="11613" y="6258"/>
                </a:lnTo>
                <a:lnTo>
                  <a:pt x="11422" y="6268"/>
                </a:lnTo>
                <a:lnTo>
                  <a:pt x="11225" y="6277"/>
                </a:lnTo>
                <a:lnTo>
                  <a:pt x="11020" y="6284"/>
                </a:lnTo>
                <a:lnTo>
                  <a:pt x="10808" y="6290"/>
                </a:lnTo>
                <a:lnTo>
                  <a:pt x="10589" y="6293"/>
                </a:lnTo>
                <a:lnTo>
                  <a:pt x="10362" y="6294"/>
                </a:lnTo>
                <a:close/>
                <a:moveTo>
                  <a:pt x="4184" y="6883"/>
                </a:moveTo>
                <a:lnTo>
                  <a:pt x="4175" y="6859"/>
                </a:lnTo>
                <a:lnTo>
                  <a:pt x="4165" y="6835"/>
                </a:lnTo>
                <a:lnTo>
                  <a:pt x="4156" y="6811"/>
                </a:lnTo>
                <a:lnTo>
                  <a:pt x="4148" y="6787"/>
                </a:lnTo>
                <a:lnTo>
                  <a:pt x="4141" y="6763"/>
                </a:lnTo>
                <a:lnTo>
                  <a:pt x="4133" y="6737"/>
                </a:lnTo>
                <a:lnTo>
                  <a:pt x="4127" y="6713"/>
                </a:lnTo>
                <a:lnTo>
                  <a:pt x="4121" y="6688"/>
                </a:lnTo>
                <a:lnTo>
                  <a:pt x="4115" y="6663"/>
                </a:lnTo>
                <a:lnTo>
                  <a:pt x="4110" y="6638"/>
                </a:lnTo>
                <a:lnTo>
                  <a:pt x="4105" y="6613"/>
                </a:lnTo>
                <a:lnTo>
                  <a:pt x="4102" y="6588"/>
                </a:lnTo>
                <a:lnTo>
                  <a:pt x="4098" y="6561"/>
                </a:lnTo>
                <a:lnTo>
                  <a:pt x="4096" y="6536"/>
                </a:lnTo>
                <a:lnTo>
                  <a:pt x="4094" y="6511"/>
                </a:lnTo>
                <a:lnTo>
                  <a:pt x="4092" y="6484"/>
                </a:lnTo>
                <a:lnTo>
                  <a:pt x="4092" y="6459"/>
                </a:lnTo>
                <a:lnTo>
                  <a:pt x="4091" y="6433"/>
                </a:lnTo>
                <a:lnTo>
                  <a:pt x="4092" y="6407"/>
                </a:lnTo>
                <a:lnTo>
                  <a:pt x="4093" y="6381"/>
                </a:lnTo>
                <a:lnTo>
                  <a:pt x="4094" y="6356"/>
                </a:lnTo>
                <a:lnTo>
                  <a:pt x="4096" y="6330"/>
                </a:lnTo>
                <a:lnTo>
                  <a:pt x="4099" y="6304"/>
                </a:lnTo>
                <a:lnTo>
                  <a:pt x="4102" y="6278"/>
                </a:lnTo>
                <a:lnTo>
                  <a:pt x="4106" y="6252"/>
                </a:lnTo>
                <a:lnTo>
                  <a:pt x="4111" y="6226"/>
                </a:lnTo>
                <a:lnTo>
                  <a:pt x="4117" y="6200"/>
                </a:lnTo>
                <a:lnTo>
                  <a:pt x="4123" y="6175"/>
                </a:lnTo>
                <a:lnTo>
                  <a:pt x="4129" y="6149"/>
                </a:lnTo>
                <a:lnTo>
                  <a:pt x="4136" y="6123"/>
                </a:lnTo>
                <a:lnTo>
                  <a:pt x="4144" y="6098"/>
                </a:lnTo>
                <a:lnTo>
                  <a:pt x="4152" y="6073"/>
                </a:lnTo>
                <a:lnTo>
                  <a:pt x="4297" y="5648"/>
                </a:lnTo>
                <a:lnTo>
                  <a:pt x="4315" y="5600"/>
                </a:lnTo>
                <a:lnTo>
                  <a:pt x="4334" y="5553"/>
                </a:lnTo>
                <a:lnTo>
                  <a:pt x="4355" y="5507"/>
                </a:lnTo>
                <a:lnTo>
                  <a:pt x="4379" y="5462"/>
                </a:lnTo>
                <a:lnTo>
                  <a:pt x="4403" y="5418"/>
                </a:lnTo>
                <a:lnTo>
                  <a:pt x="4429" y="5374"/>
                </a:lnTo>
                <a:lnTo>
                  <a:pt x="4457" y="5333"/>
                </a:lnTo>
                <a:lnTo>
                  <a:pt x="4487" y="5292"/>
                </a:lnTo>
                <a:lnTo>
                  <a:pt x="4518" y="5252"/>
                </a:lnTo>
                <a:lnTo>
                  <a:pt x="4550" y="5214"/>
                </a:lnTo>
                <a:lnTo>
                  <a:pt x="4584" y="5177"/>
                </a:lnTo>
                <a:lnTo>
                  <a:pt x="4620" y="5141"/>
                </a:lnTo>
                <a:lnTo>
                  <a:pt x="4656" y="5106"/>
                </a:lnTo>
                <a:lnTo>
                  <a:pt x="4693" y="5073"/>
                </a:lnTo>
                <a:lnTo>
                  <a:pt x="4732" y="5042"/>
                </a:lnTo>
                <a:lnTo>
                  <a:pt x="4772" y="5011"/>
                </a:lnTo>
                <a:lnTo>
                  <a:pt x="4813" y="4982"/>
                </a:lnTo>
                <a:lnTo>
                  <a:pt x="4855" y="4955"/>
                </a:lnTo>
                <a:lnTo>
                  <a:pt x="4898" y="4929"/>
                </a:lnTo>
                <a:lnTo>
                  <a:pt x="4941" y="4905"/>
                </a:lnTo>
                <a:lnTo>
                  <a:pt x="4986" y="4883"/>
                </a:lnTo>
                <a:lnTo>
                  <a:pt x="5031" y="4862"/>
                </a:lnTo>
                <a:lnTo>
                  <a:pt x="5076" y="4843"/>
                </a:lnTo>
                <a:lnTo>
                  <a:pt x="5123" y="4826"/>
                </a:lnTo>
                <a:lnTo>
                  <a:pt x="5170" y="4811"/>
                </a:lnTo>
                <a:lnTo>
                  <a:pt x="5217" y="4798"/>
                </a:lnTo>
                <a:lnTo>
                  <a:pt x="5266" y="4787"/>
                </a:lnTo>
                <a:lnTo>
                  <a:pt x="5314" y="4777"/>
                </a:lnTo>
                <a:lnTo>
                  <a:pt x="5363" y="4769"/>
                </a:lnTo>
                <a:lnTo>
                  <a:pt x="5412" y="4764"/>
                </a:lnTo>
                <a:lnTo>
                  <a:pt x="5461" y="4761"/>
                </a:lnTo>
                <a:lnTo>
                  <a:pt x="5511" y="4760"/>
                </a:lnTo>
                <a:lnTo>
                  <a:pt x="5526" y="4760"/>
                </a:lnTo>
                <a:lnTo>
                  <a:pt x="5560" y="4666"/>
                </a:lnTo>
                <a:lnTo>
                  <a:pt x="5595" y="4574"/>
                </a:lnTo>
                <a:lnTo>
                  <a:pt x="5629" y="4484"/>
                </a:lnTo>
                <a:lnTo>
                  <a:pt x="5662" y="4397"/>
                </a:lnTo>
                <a:lnTo>
                  <a:pt x="5695" y="4311"/>
                </a:lnTo>
                <a:lnTo>
                  <a:pt x="5727" y="4228"/>
                </a:lnTo>
                <a:lnTo>
                  <a:pt x="5758" y="4148"/>
                </a:lnTo>
                <a:lnTo>
                  <a:pt x="5789" y="4070"/>
                </a:lnTo>
                <a:lnTo>
                  <a:pt x="5818" y="3994"/>
                </a:lnTo>
                <a:lnTo>
                  <a:pt x="5847" y="3922"/>
                </a:lnTo>
                <a:lnTo>
                  <a:pt x="5875" y="3852"/>
                </a:lnTo>
                <a:lnTo>
                  <a:pt x="5902" y="3785"/>
                </a:lnTo>
                <a:lnTo>
                  <a:pt x="5927" y="3721"/>
                </a:lnTo>
                <a:lnTo>
                  <a:pt x="5951" y="3661"/>
                </a:lnTo>
                <a:lnTo>
                  <a:pt x="5976" y="3604"/>
                </a:lnTo>
                <a:lnTo>
                  <a:pt x="5998" y="3549"/>
                </a:lnTo>
                <a:lnTo>
                  <a:pt x="5589" y="3557"/>
                </a:lnTo>
                <a:lnTo>
                  <a:pt x="5363" y="3556"/>
                </a:lnTo>
                <a:lnTo>
                  <a:pt x="5143" y="3553"/>
                </a:lnTo>
                <a:lnTo>
                  <a:pt x="4931" y="3548"/>
                </a:lnTo>
                <a:lnTo>
                  <a:pt x="4726" y="3541"/>
                </a:lnTo>
                <a:lnTo>
                  <a:pt x="4529" y="3532"/>
                </a:lnTo>
                <a:lnTo>
                  <a:pt x="4338" y="3521"/>
                </a:lnTo>
                <a:lnTo>
                  <a:pt x="4156" y="3509"/>
                </a:lnTo>
                <a:lnTo>
                  <a:pt x="3980" y="3496"/>
                </a:lnTo>
                <a:lnTo>
                  <a:pt x="3812" y="3481"/>
                </a:lnTo>
                <a:lnTo>
                  <a:pt x="3651" y="3466"/>
                </a:lnTo>
                <a:lnTo>
                  <a:pt x="3496" y="3449"/>
                </a:lnTo>
                <a:lnTo>
                  <a:pt x="3349" y="3432"/>
                </a:lnTo>
                <a:lnTo>
                  <a:pt x="3210" y="3415"/>
                </a:lnTo>
                <a:lnTo>
                  <a:pt x="3077" y="3396"/>
                </a:lnTo>
                <a:lnTo>
                  <a:pt x="2952" y="3378"/>
                </a:lnTo>
                <a:lnTo>
                  <a:pt x="2834" y="3359"/>
                </a:lnTo>
                <a:lnTo>
                  <a:pt x="2723" y="3341"/>
                </a:lnTo>
                <a:lnTo>
                  <a:pt x="2620" y="3323"/>
                </a:lnTo>
                <a:lnTo>
                  <a:pt x="2524" y="3304"/>
                </a:lnTo>
                <a:lnTo>
                  <a:pt x="2434" y="3286"/>
                </a:lnTo>
                <a:lnTo>
                  <a:pt x="2352" y="3270"/>
                </a:lnTo>
                <a:lnTo>
                  <a:pt x="2278" y="3253"/>
                </a:lnTo>
                <a:lnTo>
                  <a:pt x="2209" y="3238"/>
                </a:lnTo>
                <a:lnTo>
                  <a:pt x="2149" y="3223"/>
                </a:lnTo>
                <a:lnTo>
                  <a:pt x="2049" y="3198"/>
                </a:lnTo>
                <a:lnTo>
                  <a:pt x="1978" y="3178"/>
                </a:lnTo>
                <a:lnTo>
                  <a:pt x="1935" y="3166"/>
                </a:lnTo>
                <a:lnTo>
                  <a:pt x="1921" y="3161"/>
                </a:lnTo>
                <a:lnTo>
                  <a:pt x="1947" y="3061"/>
                </a:lnTo>
                <a:lnTo>
                  <a:pt x="1974" y="2962"/>
                </a:lnTo>
                <a:lnTo>
                  <a:pt x="2001" y="2868"/>
                </a:lnTo>
                <a:lnTo>
                  <a:pt x="2029" y="2777"/>
                </a:lnTo>
                <a:lnTo>
                  <a:pt x="2057" y="2688"/>
                </a:lnTo>
                <a:lnTo>
                  <a:pt x="2084" y="2603"/>
                </a:lnTo>
                <a:lnTo>
                  <a:pt x="2112" y="2521"/>
                </a:lnTo>
                <a:lnTo>
                  <a:pt x="2139" y="2441"/>
                </a:lnTo>
                <a:lnTo>
                  <a:pt x="2168" y="2364"/>
                </a:lnTo>
                <a:lnTo>
                  <a:pt x="2195" y="2291"/>
                </a:lnTo>
                <a:lnTo>
                  <a:pt x="2222" y="2220"/>
                </a:lnTo>
                <a:lnTo>
                  <a:pt x="2249" y="2152"/>
                </a:lnTo>
                <a:lnTo>
                  <a:pt x="2276" y="2086"/>
                </a:lnTo>
                <a:lnTo>
                  <a:pt x="2303" y="2022"/>
                </a:lnTo>
                <a:lnTo>
                  <a:pt x="2328" y="1962"/>
                </a:lnTo>
                <a:lnTo>
                  <a:pt x="2354" y="1904"/>
                </a:lnTo>
                <a:lnTo>
                  <a:pt x="2403" y="1795"/>
                </a:lnTo>
                <a:lnTo>
                  <a:pt x="2449" y="1696"/>
                </a:lnTo>
                <a:lnTo>
                  <a:pt x="2492" y="1606"/>
                </a:lnTo>
                <a:lnTo>
                  <a:pt x="2532" y="1524"/>
                </a:lnTo>
                <a:lnTo>
                  <a:pt x="2567" y="1450"/>
                </a:lnTo>
                <a:lnTo>
                  <a:pt x="2597" y="1384"/>
                </a:lnTo>
                <a:lnTo>
                  <a:pt x="2610" y="1355"/>
                </a:lnTo>
                <a:lnTo>
                  <a:pt x="2622" y="1326"/>
                </a:lnTo>
                <a:lnTo>
                  <a:pt x="2633" y="1300"/>
                </a:lnTo>
                <a:lnTo>
                  <a:pt x="2643" y="1275"/>
                </a:lnTo>
                <a:lnTo>
                  <a:pt x="2645" y="1269"/>
                </a:lnTo>
                <a:lnTo>
                  <a:pt x="2654" y="1253"/>
                </a:lnTo>
                <a:lnTo>
                  <a:pt x="2661" y="1241"/>
                </a:lnTo>
                <a:lnTo>
                  <a:pt x="2671" y="1229"/>
                </a:lnTo>
                <a:lnTo>
                  <a:pt x="2685" y="1214"/>
                </a:lnTo>
                <a:lnTo>
                  <a:pt x="2702" y="1198"/>
                </a:lnTo>
                <a:lnTo>
                  <a:pt x="2724" y="1180"/>
                </a:lnTo>
                <a:lnTo>
                  <a:pt x="2750" y="1161"/>
                </a:lnTo>
                <a:lnTo>
                  <a:pt x="2783" y="1141"/>
                </a:lnTo>
                <a:lnTo>
                  <a:pt x="2821" y="1120"/>
                </a:lnTo>
                <a:lnTo>
                  <a:pt x="2865" y="1099"/>
                </a:lnTo>
                <a:lnTo>
                  <a:pt x="2917" y="1077"/>
                </a:lnTo>
                <a:lnTo>
                  <a:pt x="2975" y="1054"/>
                </a:lnTo>
                <a:lnTo>
                  <a:pt x="3042" y="1032"/>
                </a:lnTo>
                <a:lnTo>
                  <a:pt x="3116" y="1010"/>
                </a:lnTo>
                <a:lnTo>
                  <a:pt x="3200" y="987"/>
                </a:lnTo>
                <a:lnTo>
                  <a:pt x="3294" y="965"/>
                </a:lnTo>
                <a:lnTo>
                  <a:pt x="3397" y="944"/>
                </a:lnTo>
                <a:lnTo>
                  <a:pt x="3510" y="923"/>
                </a:lnTo>
                <a:lnTo>
                  <a:pt x="3635" y="903"/>
                </a:lnTo>
                <a:lnTo>
                  <a:pt x="3770" y="884"/>
                </a:lnTo>
                <a:lnTo>
                  <a:pt x="3918" y="867"/>
                </a:lnTo>
                <a:lnTo>
                  <a:pt x="4078" y="851"/>
                </a:lnTo>
                <a:lnTo>
                  <a:pt x="4251" y="837"/>
                </a:lnTo>
                <a:lnTo>
                  <a:pt x="4437" y="824"/>
                </a:lnTo>
                <a:lnTo>
                  <a:pt x="4638" y="812"/>
                </a:lnTo>
                <a:lnTo>
                  <a:pt x="4853" y="804"/>
                </a:lnTo>
                <a:lnTo>
                  <a:pt x="5082" y="797"/>
                </a:lnTo>
                <a:lnTo>
                  <a:pt x="5327" y="793"/>
                </a:lnTo>
                <a:lnTo>
                  <a:pt x="5589" y="792"/>
                </a:lnTo>
                <a:lnTo>
                  <a:pt x="5850" y="793"/>
                </a:lnTo>
                <a:lnTo>
                  <a:pt x="6095" y="797"/>
                </a:lnTo>
                <a:lnTo>
                  <a:pt x="6325" y="802"/>
                </a:lnTo>
                <a:lnTo>
                  <a:pt x="6539" y="810"/>
                </a:lnTo>
                <a:lnTo>
                  <a:pt x="6740" y="821"/>
                </a:lnTo>
                <a:lnTo>
                  <a:pt x="6925" y="832"/>
                </a:lnTo>
                <a:lnTo>
                  <a:pt x="7099" y="845"/>
                </a:lnTo>
                <a:lnTo>
                  <a:pt x="7259" y="860"/>
                </a:lnTo>
                <a:lnTo>
                  <a:pt x="7406" y="876"/>
                </a:lnTo>
                <a:lnTo>
                  <a:pt x="7542" y="893"/>
                </a:lnTo>
                <a:lnTo>
                  <a:pt x="7666" y="912"/>
                </a:lnTo>
                <a:lnTo>
                  <a:pt x="7780" y="932"/>
                </a:lnTo>
                <a:lnTo>
                  <a:pt x="7883" y="952"/>
                </a:lnTo>
                <a:lnTo>
                  <a:pt x="7977" y="973"/>
                </a:lnTo>
                <a:lnTo>
                  <a:pt x="8061" y="996"/>
                </a:lnTo>
                <a:lnTo>
                  <a:pt x="8136" y="1018"/>
                </a:lnTo>
                <a:lnTo>
                  <a:pt x="8204" y="1041"/>
                </a:lnTo>
                <a:lnTo>
                  <a:pt x="8263" y="1064"/>
                </a:lnTo>
                <a:lnTo>
                  <a:pt x="8316" y="1088"/>
                </a:lnTo>
                <a:lnTo>
                  <a:pt x="8361" y="1111"/>
                </a:lnTo>
                <a:lnTo>
                  <a:pt x="8400" y="1134"/>
                </a:lnTo>
                <a:lnTo>
                  <a:pt x="8435" y="1157"/>
                </a:lnTo>
                <a:lnTo>
                  <a:pt x="8463" y="1180"/>
                </a:lnTo>
                <a:lnTo>
                  <a:pt x="8487" y="1202"/>
                </a:lnTo>
                <a:lnTo>
                  <a:pt x="8506" y="1224"/>
                </a:lnTo>
                <a:lnTo>
                  <a:pt x="8523" y="1244"/>
                </a:lnTo>
                <a:lnTo>
                  <a:pt x="8537" y="1265"/>
                </a:lnTo>
                <a:lnTo>
                  <a:pt x="8547" y="1283"/>
                </a:lnTo>
                <a:lnTo>
                  <a:pt x="8563" y="1317"/>
                </a:lnTo>
                <a:lnTo>
                  <a:pt x="8574" y="1347"/>
                </a:lnTo>
                <a:lnTo>
                  <a:pt x="8583" y="1369"/>
                </a:lnTo>
                <a:lnTo>
                  <a:pt x="8595" y="1394"/>
                </a:lnTo>
                <a:lnTo>
                  <a:pt x="8608" y="1422"/>
                </a:lnTo>
                <a:lnTo>
                  <a:pt x="8623" y="1452"/>
                </a:lnTo>
                <a:lnTo>
                  <a:pt x="8640" y="1485"/>
                </a:lnTo>
                <a:lnTo>
                  <a:pt x="8660" y="1522"/>
                </a:lnTo>
                <a:lnTo>
                  <a:pt x="8681" y="1562"/>
                </a:lnTo>
                <a:lnTo>
                  <a:pt x="8703" y="1606"/>
                </a:lnTo>
                <a:lnTo>
                  <a:pt x="8727" y="1652"/>
                </a:lnTo>
                <a:lnTo>
                  <a:pt x="8752" y="1703"/>
                </a:lnTo>
                <a:lnTo>
                  <a:pt x="8779" y="1757"/>
                </a:lnTo>
                <a:lnTo>
                  <a:pt x="8806" y="1816"/>
                </a:lnTo>
                <a:lnTo>
                  <a:pt x="8835" y="1879"/>
                </a:lnTo>
                <a:lnTo>
                  <a:pt x="8864" y="1947"/>
                </a:lnTo>
                <a:lnTo>
                  <a:pt x="8895" y="2018"/>
                </a:lnTo>
                <a:lnTo>
                  <a:pt x="8927" y="2094"/>
                </a:lnTo>
                <a:lnTo>
                  <a:pt x="8970" y="2091"/>
                </a:lnTo>
                <a:lnTo>
                  <a:pt x="9014" y="2089"/>
                </a:lnTo>
                <a:lnTo>
                  <a:pt x="9059" y="2086"/>
                </a:lnTo>
                <a:lnTo>
                  <a:pt x="9105" y="2083"/>
                </a:lnTo>
                <a:lnTo>
                  <a:pt x="9152" y="2081"/>
                </a:lnTo>
                <a:lnTo>
                  <a:pt x="9199" y="2078"/>
                </a:lnTo>
                <a:lnTo>
                  <a:pt x="9247" y="2076"/>
                </a:lnTo>
                <a:lnTo>
                  <a:pt x="9296" y="2074"/>
                </a:lnTo>
                <a:lnTo>
                  <a:pt x="9346" y="2072"/>
                </a:lnTo>
                <a:lnTo>
                  <a:pt x="9398" y="2070"/>
                </a:lnTo>
                <a:lnTo>
                  <a:pt x="9450" y="2068"/>
                </a:lnTo>
                <a:lnTo>
                  <a:pt x="9502" y="2066"/>
                </a:lnTo>
                <a:lnTo>
                  <a:pt x="9557" y="2064"/>
                </a:lnTo>
                <a:lnTo>
                  <a:pt x="9612" y="2062"/>
                </a:lnTo>
                <a:lnTo>
                  <a:pt x="9670" y="2061"/>
                </a:lnTo>
                <a:lnTo>
                  <a:pt x="9727" y="2059"/>
                </a:lnTo>
                <a:lnTo>
                  <a:pt x="9685" y="1945"/>
                </a:lnTo>
                <a:lnTo>
                  <a:pt x="9643" y="1834"/>
                </a:lnTo>
                <a:lnTo>
                  <a:pt x="9602" y="1727"/>
                </a:lnTo>
                <a:lnTo>
                  <a:pt x="9563" y="1624"/>
                </a:lnTo>
                <a:lnTo>
                  <a:pt x="9525" y="1526"/>
                </a:lnTo>
                <a:lnTo>
                  <a:pt x="9487" y="1432"/>
                </a:lnTo>
                <a:lnTo>
                  <a:pt x="9452" y="1344"/>
                </a:lnTo>
                <a:lnTo>
                  <a:pt x="9419" y="1260"/>
                </a:lnTo>
                <a:lnTo>
                  <a:pt x="9386" y="1183"/>
                </a:lnTo>
                <a:lnTo>
                  <a:pt x="9357" y="1111"/>
                </a:lnTo>
                <a:lnTo>
                  <a:pt x="9330" y="1046"/>
                </a:lnTo>
                <a:lnTo>
                  <a:pt x="9306" y="987"/>
                </a:lnTo>
                <a:lnTo>
                  <a:pt x="9283" y="936"/>
                </a:lnTo>
                <a:lnTo>
                  <a:pt x="9263" y="891"/>
                </a:lnTo>
                <a:lnTo>
                  <a:pt x="9246" y="855"/>
                </a:lnTo>
                <a:lnTo>
                  <a:pt x="9233" y="827"/>
                </a:lnTo>
                <a:lnTo>
                  <a:pt x="9211" y="788"/>
                </a:lnTo>
                <a:lnTo>
                  <a:pt x="9188" y="751"/>
                </a:lnTo>
                <a:lnTo>
                  <a:pt x="9163" y="715"/>
                </a:lnTo>
                <a:lnTo>
                  <a:pt x="9135" y="682"/>
                </a:lnTo>
                <a:lnTo>
                  <a:pt x="9107" y="650"/>
                </a:lnTo>
                <a:lnTo>
                  <a:pt x="9077" y="619"/>
                </a:lnTo>
                <a:lnTo>
                  <a:pt x="9046" y="591"/>
                </a:lnTo>
                <a:lnTo>
                  <a:pt x="9012" y="564"/>
                </a:lnTo>
                <a:lnTo>
                  <a:pt x="8978" y="537"/>
                </a:lnTo>
                <a:lnTo>
                  <a:pt x="8943" y="513"/>
                </a:lnTo>
                <a:lnTo>
                  <a:pt x="8907" y="490"/>
                </a:lnTo>
                <a:lnTo>
                  <a:pt x="8869" y="468"/>
                </a:lnTo>
                <a:lnTo>
                  <a:pt x="8832" y="447"/>
                </a:lnTo>
                <a:lnTo>
                  <a:pt x="8793" y="428"/>
                </a:lnTo>
                <a:lnTo>
                  <a:pt x="8753" y="409"/>
                </a:lnTo>
                <a:lnTo>
                  <a:pt x="8713" y="392"/>
                </a:lnTo>
                <a:lnTo>
                  <a:pt x="8672" y="374"/>
                </a:lnTo>
                <a:lnTo>
                  <a:pt x="8630" y="358"/>
                </a:lnTo>
                <a:lnTo>
                  <a:pt x="8589" y="343"/>
                </a:lnTo>
                <a:lnTo>
                  <a:pt x="8548" y="328"/>
                </a:lnTo>
                <a:lnTo>
                  <a:pt x="8463" y="300"/>
                </a:lnTo>
                <a:lnTo>
                  <a:pt x="8379" y="274"/>
                </a:lnTo>
                <a:lnTo>
                  <a:pt x="8297" y="249"/>
                </a:lnTo>
                <a:lnTo>
                  <a:pt x="8215" y="225"/>
                </a:lnTo>
                <a:lnTo>
                  <a:pt x="8135" y="200"/>
                </a:lnTo>
                <a:lnTo>
                  <a:pt x="8059" y="175"/>
                </a:lnTo>
                <a:lnTo>
                  <a:pt x="8052" y="173"/>
                </a:lnTo>
                <a:lnTo>
                  <a:pt x="8030" y="167"/>
                </a:lnTo>
                <a:lnTo>
                  <a:pt x="7993" y="159"/>
                </a:lnTo>
                <a:lnTo>
                  <a:pt x="7940" y="148"/>
                </a:lnTo>
                <a:lnTo>
                  <a:pt x="7868" y="135"/>
                </a:lnTo>
                <a:lnTo>
                  <a:pt x="7778" y="119"/>
                </a:lnTo>
                <a:lnTo>
                  <a:pt x="7726" y="111"/>
                </a:lnTo>
                <a:lnTo>
                  <a:pt x="7668" y="103"/>
                </a:lnTo>
                <a:lnTo>
                  <a:pt x="7605" y="95"/>
                </a:lnTo>
                <a:lnTo>
                  <a:pt x="7536" y="87"/>
                </a:lnTo>
                <a:lnTo>
                  <a:pt x="7463" y="79"/>
                </a:lnTo>
                <a:lnTo>
                  <a:pt x="7383" y="71"/>
                </a:lnTo>
                <a:lnTo>
                  <a:pt x="7297" y="63"/>
                </a:lnTo>
                <a:lnTo>
                  <a:pt x="7206" y="56"/>
                </a:lnTo>
                <a:lnTo>
                  <a:pt x="7108" y="48"/>
                </a:lnTo>
                <a:lnTo>
                  <a:pt x="7004" y="40"/>
                </a:lnTo>
                <a:lnTo>
                  <a:pt x="6894" y="33"/>
                </a:lnTo>
                <a:lnTo>
                  <a:pt x="6777" y="27"/>
                </a:lnTo>
                <a:lnTo>
                  <a:pt x="6653" y="21"/>
                </a:lnTo>
                <a:lnTo>
                  <a:pt x="6523" y="16"/>
                </a:lnTo>
                <a:lnTo>
                  <a:pt x="6386" y="11"/>
                </a:lnTo>
                <a:lnTo>
                  <a:pt x="6242" y="7"/>
                </a:lnTo>
                <a:lnTo>
                  <a:pt x="6090" y="4"/>
                </a:lnTo>
                <a:lnTo>
                  <a:pt x="5930" y="2"/>
                </a:lnTo>
                <a:lnTo>
                  <a:pt x="5764" y="0"/>
                </a:lnTo>
                <a:lnTo>
                  <a:pt x="5591" y="0"/>
                </a:lnTo>
                <a:lnTo>
                  <a:pt x="5416" y="0"/>
                </a:lnTo>
                <a:lnTo>
                  <a:pt x="5250" y="2"/>
                </a:lnTo>
                <a:lnTo>
                  <a:pt x="5090" y="4"/>
                </a:lnTo>
                <a:lnTo>
                  <a:pt x="4939" y="7"/>
                </a:lnTo>
                <a:lnTo>
                  <a:pt x="4794" y="11"/>
                </a:lnTo>
                <a:lnTo>
                  <a:pt x="4657" y="16"/>
                </a:lnTo>
                <a:lnTo>
                  <a:pt x="4527" y="21"/>
                </a:lnTo>
                <a:lnTo>
                  <a:pt x="4403" y="27"/>
                </a:lnTo>
                <a:lnTo>
                  <a:pt x="4286" y="33"/>
                </a:lnTo>
                <a:lnTo>
                  <a:pt x="4176" y="40"/>
                </a:lnTo>
                <a:lnTo>
                  <a:pt x="4072" y="48"/>
                </a:lnTo>
                <a:lnTo>
                  <a:pt x="3974" y="56"/>
                </a:lnTo>
                <a:lnTo>
                  <a:pt x="3883" y="63"/>
                </a:lnTo>
                <a:lnTo>
                  <a:pt x="3797" y="71"/>
                </a:lnTo>
                <a:lnTo>
                  <a:pt x="3717" y="79"/>
                </a:lnTo>
                <a:lnTo>
                  <a:pt x="3644" y="87"/>
                </a:lnTo>
                <a:lnTo>
                  <a:pt x="3575" y="95"/>
                </a:lnTo>
                <a:lnTo>
                  <a:pt x="3513" y="103"/>
                </a:lnTo>
                <a:lnTo>
                  <a:pt x="3454" y="111"/>
                </a:lnTo>
                <a:lnTo>
                  <a:pt x="3402" y="119"/>
                </a:lnTo>
                <a:lnTo>
                  <a:pt x="3312" y="135"/>
                </a:lnTo>
                <a:lnTo>
                  <a:pt x="3240" y="148"/>
                </a:lnTo>
                <a:lnTo>
                  <a:pt x="3187" y="159"/>
                </a:lnTo>
                <a:lnTo>
                  <a:pt x="3150" y="167"/>
                </a:lnTo>
                <a:lnTo>
                  <a:pt x="3128" y="173"/>
                </a:lnTo>
                <a:lnTo>
                  <a:pt x="3121" y="175"/>
                </a:lnTo>
                <a:lnTo>
                  <a:pt x="3055" y="193"/>
                </a:lnTo>
                <a:lnTo>
                  <a:pt x="2982" y="211"/>
                </a:lnTo>
                <a:lnTo>
                  <a:pt x="2905" y="232"/>
                </a:lnTo>
                <a:lnTo>
                  <a:pt x="2825" y="253"/>
                </a:lnTo>
                <a:lnTo>
                  <a:pt x="2741" y="276"/>
                </a:lnTo>
                <a:lnTo>
                  <a:pt x="2658" y="302"/>
                </a:lnTo>
                <a:lnTo>
                  <a:pt x="2615" y="316"/>
                </a:lnTo>
                <a:lnTo>
                  <a:pt x="2573" y="330"/>
                </a:lnTo>
                <a:lnTo>
                  <a:pt x="2531" y="346"/>
                </a:lnTo>
                <a:lnTo>
                  <a:pt x="2489" y="362"/>
                </a:lnTo>
                <a:lnTo>
                  <a:pt x="2448" y="379"/>
                </a:lnTo>
                <a:lnTo>
                  <a:pt x="2408" y="399"/>
                </a:lnTo>
                <a:lnTo>
                  <a:pt x="2367" y="418"/>
                </a:lnTo>
                <a:lnTo>
                  <a:pt x="2328" y="439"/>
                </a:lnTo>
                <a:lnTo>
                  <a:pt x="2290" y="461"/>
                </a:lnTo>
                <a:lnTo>
                  <a:pt x="2252" y="485"/>
                </a:lnTo>
                <a:lnTo>
                  <a:pt x="2216" y="510"/>
                </a:lnTo>
                <a:lnTo>
                  <a:pt x="2182" y="536"/>
                </a:lnTo>
                <a:lnTo>
                  <a:pt x="2149" y="565"/>
                </a:lnTo>
                <a:lnTo>
                  <a:pt x="2117" y="594"/>
                </a:lnTo>
                <a:lnTo>
                  <a:pt x="2087" y="625"/>
                </a:lnTo>
                <a:lnTo>
                  <a:pt x="2059" y="658"/>
                </a:lnTo>
                <a:lnTo>
                  <a:pt x="2033" y="692"/>
                </a:lnTo>
                <a:lnTo>
                  <a:pt x="2009" y="729"/>
                </a:lnTo>
                <a:lnTo>
                  <a:pt x="1987" y="768"/>
                </a:lnTo>
                <a:lnTo>
                  <a:pt x="1968" y="808"/>
                </a:lnTo>
                <a:lnTo>
                  <a:pt x="1946" y="859"/>
                </a:lnTo>
                <a:lnTo>
                  <a:pt x="1919" y="923"/>
                </a:lnTo>
                <a:lnTo>
                  <a:pt x="1887" y="997"/>
                </a:lnTo>
                <a:lnTo>
                  <a:pt x="1852" y="1083"/>
                </a:lnTo>
                <a:lnTo>
                  <a:pt x="1813" y="1178"/>
                </a:lnTo>
                <a:lnTo>
                  <a:pt x="1770" y="1283"/>
                </a:lnTo>
                <a:lnTo>
                  <a:pt x="1725" y="1396"/>
                </a:lnTo>
                <a:lnTo>
                  <a:pt x="1677" y="1518"/>
                </a:lnTo>
                <a:lnTo>
                  <a:pt x="1626" y="1647"/>
                </a:lnTo>
                <a:lnTo>
                  <a:pt x="1574" y="1783"/>
                </a:lnTo>
                <a:lnTo>
                  <a:pt x="1519" y="1925"/>
                </a:lnTo>
                <a:lnTo>
                  <a:pt x="1463" y="2073"/>
                </a:lnTo>
                <a:lnTo>
                  <a:pt x="1406" y="2226"/>
                </a:lnTo>
                <a:lnTo>
                  <a:pt x="1349" y="2383"/>
                </a:lnTo>
                <a:lnTo>
                  <a:pt x="1291" y="2544"/>
                </a:lnTo>
                <a:lnTo>
                  <a:pt x="1233" y="2707"/>
                </a:lnTo>
                <a:lnTo>
                  <a:pt x="739" y="2707"/>
                </a:lnTo>
                <a:lnTo>
                  <a:pt x="718" y="2707"/>
                </a:lnTo>
                <a:lnTo>
                  <a:pt x="696" y="2709"/>
                </a:lnTo>
                <a:lnTo>
                  <a:pt x="673" y="2713"/>
                </a:lnTo>
                <a:lnTo>
                  <a:pt x="651" y="2716"/>
                </a:lnTo>
                <a:lnTo>
                  <a:pt x="629" y="2721"/>
                </a:lnTo>
                <a:lnTo>
                  <a:pt x="607" y="2727"/>
                </a:lnTo>
                <a:lnTo>
                  <a:pt x="585" y="2733"/>
                </a:lnTo>
                <a:lnTo>
                  <a:pt x="563" y="2741"/>
                </a:lnTo>
                <a:lnTo>
                  <a:pt x="541" y="2749"/>
                </a:lnTo>
                <a:lnTo>
                  <a:pt x="520" y="2758"/>
                </a:lnTo>
                <a:lnTo>
                  <a:pt x="499" y="2769"/>
                </a:lnTo>
                <a:lnTo>
                  <a:pt x="478" y="2780"/>
                </a:lnTo>
                <a:lnTo>
                  <a:pt x="457" y="2791"/>
                </a:lnTo>
                <a:lnTo>
                  <a:pt x="437" y="2805"/>
                </a:lnTo>
                <a:lnTo>
                  <a:pt x="416" y="2818"/>
                </a:lnTo>
                <a:lnTo>
                  <a:pt x="397" y="2832"/>
                </a:lnTo>
                <a:lnTo>
                  <a:pt x="378" y="2846"/>
                </a:lnTo>
                <a:lnTo>
                  <a:pt x="360" y="2862"/>
                </a:lnTo>
                <a:lnTo>
                  <a:pt x="342" y="2878"/>
                </a:lnTo>
                <a:lnTo>
                  <a:pt x="324" y="2895"/>
                </a:lnTo>
                <a:lnTo>
                  <a:pt x="308" y="2912"/>
                </a:lnTo>
                <a:lnTo>
                  <a:pt x="291" y="2930"/>
                </a:lnTo>
                <a:lnTo>
                  <a:pt x="275" y="2948"/>
                </a:lnTo>
                <a:lnTo>
                  <a:pt x="260" y="2967"/>
                </a:lnTo>
                <a:lnTo>
                  <a:pt x="246" y="2987"/>
                </a:lnTo>
                <a:lnTo>
                  <a:pt x="233" y="3006"/>
                </a:lnTo>
                <a:lnTo>
                  <a:pt x="220" y="3026"/>
                </a:lnTo>
                <a:lnTo>
                  <a:pt x="209" y="3046"/>
                </a:lnTo>
                <a:lnTo>
                  <a:pt x="198" y="3068"/>
                </a:lnTo>
                <a:lnTo>
                  <a:pt x="188" y="3089"/>
                </a:lnTo>
                <a:lnTo>
                  <a:pt x="178" y="3110"/>
                </a:lnTo>
                <a:lnTo>
                  <a:pt x="170" y="3132"/>
                </a:lnTo>
                <a:lnTo>
                  <a:pt x="24" y="3557"/>
                </a:lnTo>
                <a:lnTo>
                  <a:pt x="17" y="3580"/>
                </a:lnTo>
                <a:lnTo>
                  <a:pt x="12" y="3602"/>
                </a:lnTo>
                <a:lnTo>
                  <a:pt x="7" y="3624"/>
                </a:lnTo>
                <a:lnTo>
                  <a:pt x="4" y="3646"/>
                </a:lnTo>
                <a:lnTo>
                  <a:pt x="2" y="3670"/>
                </a:lnTo>
                <a:lnTo>
                  <a:pt x="0" y="3692"/>
                </a:lnTo>
                <a:lnTo>
                  <a:pt x="0" y="3714"/>
                </a:lnTo>
                <a:lnTo>
                  <a:pt x="1" y="3736"/>
                </a:lnTo>
                <a:lnTo>
                  <a:pt x="3" y="3758"/>
                </a:lnTo>
                <a:lnTo>
                  <a:pt x="6" y="3780"/>
                </a:lnTo>
                <a:lnTo>
                  <a:pt x="11" y="3801"/>
                </a:lnTo>
                <a:lnTo>
                  <a:pt x="16" y="3821"/>
                </a:lnTo>
                <a:lnTo>
                  <a:pt x="22" y="3843"/>
                </a:lnTo>
                <a:lnTo>
                  <a:pt x="29" y="3862"/>
                </a:lnTo>
                <a:lnTo>
                  <a:pt x="37" y="3882"/>
                </a:lnTo>
                <a:lnTo>
                  <a:pt x="46" y="3900"/>
                </a:lnTo>
                <a:lnTo>
                  <a:pt x="56" y="3919"/>
                </a:lnTo>
                <a:lnTo>
                  <a:pt x="67" y="3936"/>
                </a:lnTo>
                <a:lnTo>
                  <a:pt x="79" y="3952"/>
                </a:lnTo>
                <a:lnTo>
                  <a:pt x="91" y="3968"/>
                </a:lnTo>
                <a:lnTo>
                  <a:pt x="105" y="3982"/>
                </a:lnTo>
                <a:lnTo>
                  <a:pt x="119" y="3996"/>
                </a:lnTo>
                <a:lnTo>
                  <a:pt x="134" y="4009"/>
                </a:lnTo>
                <a:lnTo>
                  <a:pt x="150" y="4021"/>
                </a:lnTo>
                <a:lnTo>
                  <a:pt x="166" y="4031"/>
                </a:lnTo>
                <a:lnTo>
                  <a:pt x="183" y="4040"/>
                </a:lnTo>
                <a:lnTo>
                  <a:pt x="202" y="4048"/>
                </a:lnTo>
                <a:lnTo>
                  <a:pt x="221" y="4055"/>
                </a:lnTo>
                <a:lnTo>
                  <a:pt x="241" y="4060"/>
                </a:lnTo>
                <a:lnTo>
                  <a:pt x="261" y="4064"/>
                </a:lnTo>
                <a:lnTo>
                  <a:pt x="281" y="4066"/>
                </a:lnTo>
                <a:lnTo>
                  <a:pt x="303" y="4067"/>
                </a:lnTo>
                <a:lnTo>
                  <a:pt x="787" y="4067"/>
                </a:lnTo>
                <a:lnTo>
                  <a:pt x="762" y="4136"/>
                </a:lnTo>
                <a:lnTo>
                  <a:pt x="739" y="4201"/>
                </a:lnTo>
                <a:lnTo>
                  <a:pt x="717" y="4260"/>
                </a:lnTo>
                <a:lnTo>
                  <a:pt x="697" y="4315"/>
                </a:lnTo>
                <a:lnTo>
                  <a:pt x="658" y="4411"/>
                </a:lnTo>
                <a:lnTo>
                  <a:pt x="626" y="4489"/>
                </a:lnTo>
                <a:lnTo>
                  <a:pt x="601" y="4549"/>
                </a:lnTo>
                <a:lnTo>
                  <a:pt x="581" y="4591"/>
                </a:lnTo>
                <a:lnTo>
                  <a:pt x="570" y="4617"/>
                </a:lnTo>
                <a:lnTo>
                  <a:pt x="566" y="4625"/>
                </a:lnTo>
                <a:lnTo>
                  <a:pt x="559" y="4639"/>
                </a:lnTo>
                <a:lnTo>
                  <a:pt x="553" y="4658"/>
                </a:lnTo>
                <a:lnTo>
                  <a:pt x="546" y="4681"/>
                </a:lnTo>
                <a:lnTo>
                  <a:pt x="540" y="4708"/>
                </a:lnTo>
                <a:lnTo>
                  <a:pt x="535" y="4736"/>
                </a:lnTo>
                <a:lnTo>
                  <a:pt x="530" y="4767"/>
                </a:lnTo>
                <a:lnTo>
                  <a:pt x="525" y="4800"/>
                </a:lnTo>
                <a:lnTo>
                  <a:pt x="521" y="4833"/>
                </a:lnTo>
                <a:lnTo>
                  <a:pt x="513" y="4900"/>
                </a:lnTo>
                <a:lnTo>
                  <a:pt x="508" y="4963"/>
                </a:lnTo>
                <a:lnTo>
                  <a:pt x="504" y="5015"/>
                </a:lnTo>
                <a:lnTo>
                  <a:pt x="503" y="5053"/>
                </a:lnTo>
                <a:lnTo>
                  <a:pt x="503" y="8237"/>
                </a:lnTo>
                <a:lnTo>
                  <a:pt x="504" y="8259"/>
                </a:lnTo>
                <a:lnTo>
                  <a:pt x="505" y="8280"/>
                </a:lnTo>
                <a:lnTo>
                  <a:pt x="508" y="8301"/>
                </a:lnTo>
                <a:lnTo>
                  <a:pt x="512" y="8323"/>
                </a:lnTo>
                <a:lnTo>
                  <a:pt x="516" y="8343"/>
                </a:lnTo>
                <a:lnTo>
                  <a:pt x="522" y="8363"/>
                </a:lnTo>
                <a:lnTo>
                  <a:pt x="529" y="8383"/>
                </a:lnTo>
                <a:lnTo>
                  <a:pt x="536" y="8403"/>
                </a:lnTo>
                <a:lnTo>
                  <a:pt x="545" y="8421"/>
                </a:lnTo>
                <a:lnTo>
                  <a:pt x="555" y="8440"/>
                </a:lnTo>
                <a:lnTo>
                  <a:pt x="565" y="8457"/>
                </a:lnTo>
                <a:lnTo>
                  <a:pt x="576" y="8474"/>
                </a:lnTo>
                <a:lnTo>
                  <a:pt x="588" y="8492"/>
                </a:lnTo>
                <a:lnTo>
                  <a:pt x="600" y="8507"/>
                </a:lnTo>
                <a:lnTo>
                  <a:pt x="613" y="8523"/>
                </a:lnTo>
                <a:lnTo>
                  <a:pt x="627" y="8537"/>
                </a:lnTo>
                <a:lnTo>
                  <a:pt x="642" y="8551"/>
                </a:lnTo>
                <a:lnTo>
                  <a:pt x="657" y="8564"/>
                </a:lnTo>
                <a:lnTo>
                  <a:pt x="673" y="8578"/>
                </a:lnTo>
                <a:lnTo>
                  <a:pt x="690" y="8590"/>
                </a:lnTo>
                <a:lnTo>
                  <a:pt x="707" y="8600"/>
                </a:lnTo>
                <a:lnTo>
                  <a:pt x="725" y="8611"/>
                </a:lnTo>
                <a:lnTo>
                  <a:pt x="743" y="8620"/>
                </a:lnTo>
                <a:lnTo>
                  <a:pt x="762" y="8628"/>
                </a:lnTo>
                <a:lnTo>
                  <a:pt x="781" y="8636"/>
                </a:lnTo>
                <a:lnTo>
                  <a:pt x="801" y="8642"/>
                </a:lnTo>
                <a:lnTo>
                  <a:pt x="821" y="8648"/>
                </a:lnTo>
                <a:lnTo>
                  <a:pt x="842" y="8653"/>
                </a:lnTo>
                <a:lnTo>
                  <a:pt x="862" y="8657"/>
                </a:lnTo>
                <a:lnTo>
                  <a:pt x="883" y="8660"/>
                </a:lnTo>
                <a:lnTo>
                  <a:pt x="905" y="8662"/>
                </a:lnTo>
                <a:lnTo>
                  <a:pt x="927" y="8662"/>
                </a:lnTo>
                <a:lnTo>
                  <a:pt x="1095" y="8662"/>
                </a:lnTo>
                <a:lnTo>
                  <a:pt x="1342" y="8061"/>
                </a:lnTo>
                <a:lnTo>
                  <a:pt x="1371" y="7998"/>
                </a:lnTo>
                <a:lnTo>
                  <a:pt x="1403" y="7938"/>
                </a:lnTo>
                <a:lnTo>
                  <a:pt x="1437" y="7881"/>
                </a:lnTo>
                <a:lnTo>
                  <a:pt x="1473" y="7826"/>
                </a:lnTo>
                <a:lnTo>
                  <a:pt x="1511" y="7774"/>
                </a:lnTo>
                <a:lnTo>
                  <a:pt x="1551" y="7725"/>
                </a:lnTo>
                <a:lnTo>
                  <a:pt x="1592" y="7678"/>
                </a:lnTo>
                <a:lnTo>
                  <a:pt x="1635" y="7634"/>
                </a:lnTo>
                <a:lnTo>
                  <a:pt x="1680" y="7591"/>
                </a:lnTo>
                <a:lnTo>
                  <a:pt x="1725" y="7552"/>
                </a:lnTo>
                <a:lnTo>
                  <a:pt x="1772" y="7514"/>
                </a:lnTo>
                <a:lnTo>
                  <a:pt x="1820" y="7478"/>
                </a:lnTo>
                <a:lnTo>
                  <a:pt x="1869" y="7444"/>
                </a:lnTo>
                <a:lnTo>
                  <a:pt x="1919" y="7413"/>
                </a:lnTo>
                <a:lnTo>
                  <a:pt x="1969" y="7383"/>
                </a:lnTo>
                <a:lnTo>
                  <a:pt x="2019" y="7355"/>
                </a:lnTo>
                <a:lnTo>
                  <a:pt x="2071" y="7329"/>
                </a:lnTo>
                <a:lnTo>
                  <a:pt x="2122" y="7304"/>
                </a:lnTo>
                <a:lnTo>
                  <a:pt x="2174" y="7281"/>
                </a:lnTo>
                <a:lnTo>
                  <a:pt x="2225" y="7258"/>
                </a:lnTo>
                <a:lnTo>
                  <a:pt x="2277" y="7238"/>
                </a:lnTo>
                <a:lnTo>
                  <a:pt x="2328" y="7219"/>
                </a:lnTo>
                <a:lnTo>
                  <a:pt x="2378" y="7202"/>
                </a:lnTo>
                <a:lnTo>
                  <a:pt x="2429" y="7184"/>
                </a:lnTo>
                <a:lnTo>
                  <a:pt x="2478" y="7168"/>
                </a:lnTo>
                <a:lnTo>
                  <a:pt x="2527" y="7154"/>
                </a:lnTo>
                <a:lnTo>
                  <a:pt x="2574" y="7140"/>
                </a:lnTo>
                <a:lnTo>
                  <a:pt x="2621" y="7127"/>
                </a:lnTo>
                <a:lnTo>
                  <a:pt x="2711" y="7103"/>
                </a:lnTo>
                <a:lnTo>
                  <a:pt x="2795" y="7082"/>
                </a:lnTo>
                <a:lnTo>
                  <a:pt x="2921" y="7049"/>
                </a:lnTo>
                <a:lnTo>
                  <a:pt x="2939" y="7044"/>
                </a:lnTo>
                <a:lnTo>
                  <a:pt x="2963" y="7037"/>
                </a:lnTo>
                <a:lnTo>
                  <a:pt x="2994" y="7029"/>
                </a:lnTo>
                <a:lnTo>
                  <a:pt x="3034" y="7020"/>
                </a:lnTo>
                <a:lnTo>
                  <a:pt x="3080" y="7010"/>
                </a:lnTo>
                <a:lnTo>
                  <a:pt x="3135" y="6999"/>
                </a:lnTo>
                <a:lnTo>
                  <a:pt x="3197" y="6988"/>
                </a:lnTo>
                <a:lnTo>
                  <a:pt x="3268" y="6976"/>
                </a:lnTo>
                <a:lnTo>
                  <a:pt x="3348" y="6964"/>
                </a:lnTo>
                <a:lnTo>
                  <a:pt x="3438" y="6952"/>
                </a:lnTo>
                <a:lnTo>
                  <a:pt x="3537" y="6940"/>
                </a:lnTo>
                <a:lnTo>
                  <a:pt x="3645" y="6927"/>
                </a:lnTo>
                <a:lnTo>
                  <a:pt x="3764" y="6915"/>
                </a:lnTo>
                <a:lnTo>
                  <a:pt x="3894" y="6904"/>
                </a:lnTo>
                <a:lnTo>
                  <a:pt x="4033" y="6893"/>
                </a:lnTo>
                <a:lnTo>
                  <a:pt x="4184" y="6883"/>
                </a:lnTo>
                <a:close/>
                <a:moveTo>
                  <a:pt x="1971" y="4834"/>
                </a:moveTo>
                <a:lnTo>
                  <a:pt x="1992" y="4835"/>
                </a:lnTo>
                <a:lnTo>
                  <a:pt x="2016" y="4836"/>
                </a:lnTo>
                <a:lnTo>
                  <a:pt x="2041" y="4839"/>
                </a:lnTo>
                <a:lnTo>
                  <a:pt x="2066" y="4843"/>
                </a:lnTo>
                <a:lnTo>
                  <a:pt x="2093" y="4848"/>
                </a:lnTo>
                <a:lnTo>
                  <a:pt x="2120" y="4854"/>
                </a:lnTo>
                <a:lnTo>
                  <a:pt x="2149" y="4861"/>
                </a:lnTo>
                <a:lnTo>
                  <a:pt x="2178" y="4870"/>
                </a:lnTo>
                <a:lnTo>
                  <a:pt x="2208" y="4879"/>
                </a:lnTo>
                <a:lnTo>
                  <a:pt x="2239" y="4888"/>
                </a:lnTo>
                <a:lnTo>
                  <a:pt x="2270" y="4898"/>
                </a:lnTo>
                <a:lnTo>
                  <a:pt x="2302" y="4909"/>
                </a:lnTo>
                <a:lnTo>
                  <a:pt x="2367" y="4932"/>
                </a:lnTo>
                <a:lnTo>
                  <a:pt x="2434" y="4959"/>
                </a:lnTo>
                <a:lnTo>
                  <a:pt x="2501" y="4986"/>
                </a:lnTo>
                <a:lnTo>
                  <a:pt x="2569" y="5015"/>
                </a:lnTo>
                <a:lnTo>
                  <a:pt x="2636" y="5045"/>
                </a:lnTo>
                <a:lnTo>
                  <a:pt x="2703" y="5075"/>
                </a:lnTo>
                <a:lnTo>
                  <a:pt x="2768" y="5105"/>
                </a:lnTo>
                <a:lnTo>
                  <a:pt x="2831" y="5136"/>
                </a:lnTo>
                <a:lnTo>
                  <a:pt x="2892" y="5165"/>
                </a:lnTo>
                <a:lnTo>
                  <a:pt x="2950" y="5193"/>
                </a:lnTo>
                <a:lnTo>
                  <a:pt x="3072" y="5252"/>
                </a:lnTo>
                <a:lnTo>
                  <a:pt x="3194" y="5310"/>
                </a:lnTo>
                <a:lnTo>
                  <a:pt x="3254" y="5339"/>
                </a:lnTo>
                <a:lnTo>
                  <a:pt x="3310" y="5369"/>
                </a:lnTo>
                <a:lnTo>
                  <a:pt x="3337" y="5385"/>
                </a:lnTo>
                <a:lnTo>
                  <a:pt x="3364" y="5401"/>
                </a:lnTo>
                <a:lnTo>
                  <a:pt x="3391" y="5416"/>
                </a:lnTo>
                <a:lnTo>
                  <a:pt x="3416" y="5432"/>
                </a:lnTo>
                <a:lnTo>
                  <a:pt x="3440" y="5448"/>
                </a:lnTo>
                <a:lnTo>
                  <a:pt x="3463" y="5465"/>
                </a:lnTo>
                <a:lnTo>
                  <a:pt x="3484" y="5483"/>
                </a:lnTo>
                <a:lnTo>
                  <a:pt x="3506" y="5500"/>
                </a:lnTo>
                <a:lnTo>
                  <a:pt x="3526" y="5518"/>
                </a:lnTo>
                <a:lnTo>
                  <a:pt x="3544" y="5536"/>
                </a:lnTo>
                <a:lnTo>
                  <a:pt x="3561" y="5555"/>
                </a:lnTo>
                <a:lnTo>
                  <a:pt x="3576" y="5575"/>
                </a:lnTo>
                <a:lnTo>
                  <a:pt x="3590" y="5594"/>
                </a:lnTo>
                <a:lnTo>
                  <a:pt x="3602" y="5615"/>
                </a:lnTo>
                <a:lnTo>
                  <a:pt x="3612" y="5635"/>
                </a:lnTo>
                <a:lnTo>
                  <a:pt x="3621" y="5658"/>
                </a:lnTo>
                <a:lnTo>
                  <a:pt x="3629" y="5680"/>
                </a:lnTo>
                <a:lnTo>
                  <a:pt x="3634" y="5703"/>
                </a:lnTo>
                <a:lnTo>
                  <a:pt x="3637" y="5727"/>
                </a:lnTo>
                <a:lnTo>
                  <a:pt x="3638" y="5751"/>
                </a:lnTo>
                <a:lnTo>
                  <a:pt x="3638" y="5774"/>
                </a:lnTo>
                <a:lnTo>
                  <a:pt x="3637" y="5795"/>
                </a:lnTo>
                <a:lnTo>
                  <a:pt x="3635" y="5817"/>
                </a:lnTo>
                <a:lnTo>
                  <a:pt x="3632" y="5837"/>
                </a:lnTo>
                <a:lnTo>
                  <a:pt x="3629" y="5857"/>
                </a:lnTo>
                <a:lnTo>
                  <a:pt x="3624" y="5875"/>
                </a:lnTo>
                <a:lnTo>
                  <a:pt x="3618" y="5893"/>
                </a:lnTo>
                <a:lnTo>
                  <a:pt x="3611" y="5911"/>
                </a:lnTo>
                <a:lnTo>
                  <a:pt x="3604" y="5928"/>
                </a:lnTo>
                <a:lnTo>
                  <a:pt x="3596" y="5943"/>
                </a:lnTo>
                <a:lnTo>
                  <a:pt x="3586" y="5958"/>
                </a:lnTo>
                <a:lnTo>
                  <a:pt x="3576" y="5972"/>
                </a:lnTo>
                <a:lnTo>
                  <a:pt x="3564" y="5986"/>
                </a:lnTo>
                <a:lnTo>
                  <a:pt x="3552" y="5999"/>
                </a:lnTo>
                <a:lnTo>
                  <a:pt x="3538" y="6011"/>
                </a:lnTo>
                <a:lnTo>
                  <a:pt x="3523" y="6022"/>
                </a:lnTo>
                <a:lnTo>
                  <a:pt x="3507" y="6033"/>
                </a:lnTo>
                <a:lnTo>
                  <a:pt x="3488" y="6043"/>
                </a:lnTo>
                <a:lnTo>
                  <a:pt x="3469" y="6052"/>
                </a:lnTo>
                <a:lnTo>
                  <a:pt x="3449" y="6060"/>
                </a:lnTo>
                <a:lnTo>
                  <a:pt x="3427" y="6068"/>
                </a:lnTo>
                <a:lnTo>
                  <a:pt x="3404" y="6076"/>
                </a:lnTo>
                <a:lnTo>
                  <a:pt x="3380" y="6082"/>
                </a:lnTo>
                <a:lnTo>
                  <a:pt x="3353" y="6088"/>
                </a:lnTo>
                <a:lnTo>
                  <a:pt x="3326" y="6093"/>
                </a:lnTo>
                <a:lnTo>
                  <a:pt x="3297" y="6097"/>
                </a:lnTo>
                <a:lnTo>
                  <a:pt x="3267" y="6101"/>
                </a:lnTo>
                <a:lnTo>
                  <a:pt x="3234" y="6104"/>
                </a:lnTo>
                <a:lnTo>
                  <a:pt x="3200" y="6106"/>
                </a:lnTo>
                <a:lnTo>
                  <a:pt x="3165" y="6108"/>
                </a:lnTo>
                <a:lnTo>
                  <a:pt x="3127" y="6109"/>
                </a:lnTo>
                <a:lnTo>
                  <a:pt x="3088" y="6109"/>
                </a:lnTo>
                <a:lnTo>
                  <a:pt x="2526" y="6109"/>
                </a:lnTo>
                <a:lnTo>
                  <a:pt x="2478" y="6109"/>
                </a:lnTo>
                <a:lnTo>
                  <a:pt x="2432" y="6109"/>
                </a:lnTo>
                <a:lnTo>
                  <a:pt x="2384" y="6107"/>
                </a:lnTo>
                <a:lnTo>
                  <a:pt x="2338" y="6106"/>
                </a:lnTo>
                <a:lnTo>
                  <a:pt x="2292" y="6103"/>
                </a:lnTo>
                <a:lnTo>
                  <a:pt x="2246" y="6100"/>
                </a:lnTo>
                <a:lnTo>
                  <a:pt x="2201" y="6097"/>
                </a:lnTo>
                <a:lnTo>
                  <a:pt x="2156" y="6093"/>
                </a:lnTo>
                <a:lnTo>
                  <a:pt x="2112" y="6088"/>
                </a:lnTo>
                <a:lnTo>
                  <a:pt x="2069" y="6082"/>
                </a:lnTo>
                <a:lnTo>
                  <a:pt x="2028" y="6075"/>
                </a:lnTo>
                <a:lnTo>
                  <a:pt x="1986" y="6067"/>
                </a:lnTo>
                <a:lnTo>
                  <a:pt x="1946" y="6059"/>
                </a:lnTo>
                <a:lnTo>
                  <a:pt x="1908" y="6050"/>
                </a:lnTo>
                <a:lnTo>
                  <a:pt x="1869" y="6039"/>
                </a:lnTo>
                <a:lnTo>
                  <a:pt x="1834" y="6028"/>
                </a:lnTo>
                <a:lnTo>
                  <a:pt x="1799" y="6016"/>
                </a:lnTo>
                <a:lnTo>
                  <a:pt x="1766" y="6003"/>
                </a:lnTo>
                <a:lnTo>
                  <a:pt x="1734" y="5989"/>
                </a:lnTo>
                <a:lnTo>
                  <a:pt x="1705" y="5973"/>
                </a:lnTo>
                <a:lnTo>
                  <a:pt x="1677" y="5956"/>
                </a:lnTo>
                <a:lnTo>
                  <a:pt x="1651" y="5938"/>
                </a:lnTo>
                <a:lnTo>
                  <a:pt x="1627" y="5919"/>
                </a:lnTo>
                <a:lnTo>
                  <a:pt x="1606" y="5899"/>
                </a:lnTo>
                <a:lnTo>
                  <a:pt x="1586" y="5877"/>
                </a:lnTo>
                <a:lnTo>
                  <a:pt x="1569" y="5854"/>
                </a:lnTo>
                <a:lnTo>
                  <a:pt x="1554" y="5829"/>
                </a:lnTo>
                <a:lnTo>
                  <a:pt x="1542" y="5803"/>
                </a:lnTo>
                <a:lnTo>
                  <a:pt x="1532" y="5776"/>
                </a:lnTo>
                <a:lnTo>
                  <a:pt x="1525" y="5747"/>
                </a:lnTo>
                <a:lnTo>
                  <a:pt x="1520" y="5716"/>
                </a:lnTo>
                <a:lnTo>
                  <a:pt x="1519" y="5684"/>
                </a:lnTo>
                <a:lnTo>
                  <a:pt x="1519" y="5259"/>
                </a:lnTo>
                <a:lnTo>
                  <a:pt x="1519" y="5222"/>
                </a:lnTo>
                <a:lnTo>
                  <a:pt x="1521" y="5186"/>
                </a:lnTo>
                <a:lnTo>
                  <a:pt x="1524" y="5154"/>
                </a:lnTo>
                <a:lnTo>
                  <a:pt x="1529" y="5122"/>
                </a:lnTo>
                <a:lnTo>
                  <a:pt x="1534" y="5094"/>
                </a:lnTo>
                <a:lnTo>
                  <a:pt x="1541" y="5067"/>
                </a:lnTo>
                <a:lnTo>
                  <a:pt x="1549" y="5043"/>
                </a:lnTo>
                <a:lnTo>
                  <a:pt x="1557" y="5019"/>
                </a:lnTo>
                <a:lnTo>
                  <a:pt x="1567" y="4998"/>
                </a:lnTo>
                <a:lnTo>
                  <a:pt x="1577" y="4979"/>
                </a:lnTo>
                <a:lnTo>
                  <a:pt x="1588" y="4961"/>
                </a:lnTo>
                <a:lnTo>
                  <a:pt x="1600" y="4944"/>
                </a:lnTo>
                <a:lnTo>
                  <a:pt x="1613" y="4929"/>
                </a:lnTo>
                <a:lnTo>
                  <a:pt x="1627" y="4915"/>
                </a:lnTo>
                <a:lnTo>
                  <a:pt x="1642" y="4903"/>
                </a:lnTo>
                <a:lnTo>
                  <a:pt x="1658" y="4893"/>
                </a:lnTo>
                <a:lnTo>
                  <a:pt x="1674" y="4883"/>
                </a:lnTo>
                <a:lnTo>
                  <a:pt x="1690" y="4875"/>
                </a:lnTo>
                <a:lnTo>
                  <a:pt x="1707" y="4867"/>
                </a:lnTo>
                <a:lnTo>
                  <a:pt x="1725" y="4860"/>
                </a:lnTo>
                <a:lnTo>
                  <a:pt x="1743" y="4854"/>
                </a:lnTo>
                <a:lnTo>
                  <a:pt x="1762" y="4849"/>
                </a:lnTo>
                <a:lnTo>
                  <a:pt x="1782" y="4845"/>
                </a:lnTo>
                <a:lnTo>
                  <a:pt x="1802" y="4842"/>
                </a:lnTo>
                <a:lnTo>
                  <a:pt x="1822" y="4840"/>
                </a:lnTo>
                <a:lnTo>
                  <a:pt x="1842" y="4838"/>
                </a:lnTo>
                <a:lnTo>
                  <a:pt x="1863" y="4836"/>
                </a:lnTo>
                <a:lnTo>
                  <a:pt x="1884" y="4835"/>
                </a:lnTo>
                <a:lnTo>
                  <a:pt x="1927" y="4834"/>
                </a:lnTo>
                <a:lnTo>
                  <a:pt x="1971" y="4834"/>
                </a:lnTo>
                <a:close/>
                <a:moveTo>
                  <a:pt x="8090" y="13637"/>
                </a:moveTo>
                <a:lnTo>
                  <a:pt x="8052" y="13637"/>
                </a:lnTo>
                <a:lnTo>
                  <a:pt x="8014" y="13636"/>
                </a:lnTo>
                <a:lnTo>
                  <a:pt x="7979" y="13634"/>
                </a:lnTo>
                <a:lnTo>
                  <a:pt x="7945" y="13632"/>
                </a:lnTo>
                <a:lnTo>
                  <a:pt x="7912" y="13629"/>
                </a:lnTo>
                <a:lnTo>
                  <a:pt x="7882" y="13625"/>
                </a:lnTo>
                <a:lnTo>
                  <a:pt x="7853" y="13621"/>
                </a:lnTo>
                <a:lnTo>
                  <a:pt x="7826" y="13615"/>
                </a:lnTo>
                <a:lnTo>
                  <a:pt x="7800" y="13610"/>
                </a:lnTo>
                <a:lnTo>
                  <a:pt x="7774" y="13603"/>
                </a:lnTo>
                <a:lnTo>
                  <a:pt x="7752" y="13596"/>
                </a:lnTo>
                <a:lnTo>
                  <a:pt x="7730" y="13588"/>
                </a:lnTo>
                <a:lnTo>
                  <a:pt x="7710" y="13580"/>
                </a:lnTo>
                <a:lnTo>
                  <a:pt x="7691" y="13571"/>
                </a:lnTo>
                <a:lnTo>
                  <a:pt x="7672" y="13560"/>
                </a:lnTo>
                <a:lnTo>
                  <a:pt x="7656" y="13549"/>
                </a:lnTo>
                <a:lnTo>
                  <a:pt x="7641" y="13538"/>
                </a:lnTo>
                <a:lnTo>
                  <a:pt x="7627" y="13526"/>
                </a:lnTo>
                <a:lnTo>
                  <a:pt x="7614" y="13513"/>
                </a:lnTo>
                <a:lnTo>
                  <a:pt x="7603" y="13500"/>
                </a:lnTo>
                <a:lnTo>
                  <a:pt x="7592" y="13485"/>
                </a:lnTo>
                <a:lnTo>
                  <a:pt x="7583" y="13470"/>
                </a:lnTo>
                <a:lnTo>
                  <a:pt x="7575" y="13454"/>
                </a:lnTo>
                <a:lnTo>
                  <a:pt x="7567" y="13438"/>
                </a:lnTo>
                <a:lnTo>
                  <a:pt x="7561" y="13420"/>
                </a:lnTo>
                <a:lnTo>
                  <a:pt x="7556" y="13402"/>
                </a:lnTo>
                <a:lnTo>
                  <a:pt x="7551" y="13383"/>
                </a:lnTo>
                <a:lnTo>
                  <a:pt x="7546" y="13363"/>
                </a:lnTo>
                <a:lnTo>
                  <a:pt x="7544" y="13343"/>
                </a:lnTo>
                <a:lnTo>
                  <a:pt x="7542" y="13323"/>
                </a:lnTo>
                <a:lnTo>
                  <a:pt x="7541" y="13300"/>
                </a:lnTo>
                <a:lnTo>
                  <a:pt x="7540" y="13277"/>
                </a:lnTo>
                <a:lnTo>
                  <a:pt x="7541" y="13253"/>
                </a:lnTo>
                <a:lnTo>
                  <a:pt x="7544" y="13230"/>
                </a:lnTo>
                <a:lnTo>
                  <a:pt x="7549" y="13206"/>
                </a:lnTo>
                <a:lnTo>
                  <a:pt x="7557" y="13184"/>
                </a:lnTo>
                <a:lnTo>
                  <a:pt x="7566" y="13162"/>
                </a:lnTo>
                <a:lnTo>
                  <a:pt x="7577" y="13141"/>
                </a:lnTo>
                <a:lnTo>
                  <a:pt x="7589" y="13120"/>
                </a:lnTo>
                <a:lnTo>
                  <a:pt x="7603" y="13100"/>
                </a:lnTo>
                <a:lnTo>
                  <a:pt x="7618" y="13081"/>
                </a:lnTo>
                <a:lnTo>
                  <a:pt x="7635" y="13062"/>
                </a:lnTo>
                <a:lnTo>
                  <a:pt x="7653" y="13043"/>
                </a:lnTo>
                <a:lnTo>
                  <a:pt x="7672" y="13026"/>
                </a:lnTo>
                <a:lnTo>
                  <a:pt x="7694" y="13008"/>
                </a:lnTo>
                <a:lnTo>
                  <a:pt x="7716" y="12991"/>
                </a:lnTo>
                <a:lnTo>
                  <a:pt x="7739" y="12975"/>
                </a:lnTo>
                <a:lnTo>
                  <a:pt x="7763" y="12958"/>
                </a:lnTo>
                <a:lnTo>
                  <a:pt x="7788" y="12942"/>
                </a:lnTo>
                <a:lnTo>
                  <a:pt x="7814" y="12926"/>
                </a:lnTo>
                <a:lnTo>
                  <a:pt x="7841" y="12911"/>
                </a:lnTo>
                <a:lnTo>
                  <a:pt x="7868" y="12896"/>
                </a:lnTo>
                <a:lnTo>
                  <a:pt x="7926" y="12865"/>
                </a:lnTo>
                <a:lnTo>
                  <a:pt x="7984" y="12836"/>
                </a:lnTo>
                <a:lnTo>
                  <a:pt x="8106" y="12777"/>
                </a:lnTo>
                <a:lnTo>
                  <a:pt x="8229" y="12719"/>
                </a:lnTo>
                <a:lnTo>
                  <a:pt x="8286" y="12691"/>
                </a:lnTo>
                <a:lnTo>
                  <a:pt x="8348" y="12662"/>
                </a:lnTo>
                <a:lnTo>
                  <a:pt x="8411" y="12632"/>
                </a:lnTo>
                <a:lnTo>
                  <a:pt x="8476" y="12601"/>
                </a:lnTo>
                <a:lnTo>
                  <a:pt x="8543" y="12571"/>
                </a:lnTo>
                <a:lnTo>
                  <a:pt x="8610" y="12542"/>
                </a:lnTo>
                <a:lnTo>
                  <a:pt x="8678" y="12512"/>
                </a:lnTo>
                <a:lnTo>
                  <a:pt x="8745" y="12485"/>
                </a:lnTo>
                <a:lnTo>
                  <a:pt x="8812" y="12460"/>
                </a:lnTo>
                <a:lnTo>
                  <a:pt x="8877" y="12435"/>
                </a:lnTo>
                <a:lnTo>
                  <a:pt x="8909" y="12424"/>
                </a:lnTo>
                <a:lnTo>
                  <a:pt x="8941" y="12414"/>
                </a:lnTo>
                <a:lnTo>
                  <a:pt x="8971" y="12405"/>
                </a:lnTo>
                <a:lnTo>
                  <a:pt x="9001" y="12396"/>
                </a:lnTo>
                <a:lnTo>
                  <a:pt x="9031" y="12388"/>
                </a:lnTo>
                <a:lnTo>
                  <a:pt x="9059" y="12381"/>
                </a:lnTo>
                <a:lnTo>
                  <a:pt x="9087" y="12375"/>
                </a:lnTo>
                <a:lnTo>
                  <a:pt x="9113" y="12370"/>
                </a:lnTo>
                <a:lnTo>
                  <a:pt x="9138" y="12366"/>
                </a:lnTo>
                <a:lnTo>
                  <a:pt x="9164" y="12364"/>
                </a:lnTo>
                <a:lnTo>
                  <a:pt x="9187" y="12362"/>
                </a:lnTo>
                <a:lnTo>
                  <a:pt x="9209" y="12361"/>
                </a:lnTo>
                <a:lnTo>
                  <a:pt x="9252" y="12361"/>
                </a:lnTo>
                <a:lnTo>
                  <a:pt x="9296" y="12363"/>
                </a:lnTo>
                <a:lnTo>
                  <a:pt x="9317" y="12364"/>
                </a:lnTo>
                <a:lnTo>
                  <a:pt x="9337" y="12365"/>
                </a:lnTo>
                <a:lnTo>
                  <a:pt x="9358" y="12367"/>
                </a:lnTo>
                <a:lnTo>
                  <a:pt x="9378" y="12370"/>
                </a:lnTo>
                <a:lnTo>
                  <a:pt x="9398" y="12373"/>
                </a:lnTo>
                <a:lnTo>
                  <a:pt x="9418" y="12377"/>
                </a:lnTo>
                <a:lnTo>
                  <a:pt x="9436" y="12382"/>
                </a:lnTo>
                <a:lnTo>
                  <a:pt x="9454" y="12387"/>
                </a:lnTo>
                <a:lnTo>
                  <a:pt x="9472" y="12394"/>
                </a:lnTo>
                <a:lnTo>
                  <a:pt x="9489" y="12401"/>
                </a:lnTo>
                <a:lnTo>
                  <a:pt x="9506" y="12410"/>
                </a:lnTo>
                <a:lnTo>
                  <a:pt x="9523" y="12419"/>
                </a:lnTo>
                <a:lnTo>
                  <a:pt x="9538" y="12430"/>
                </a:lnTo>
                <a:lnTo>
                  <a:pt x="9552" y="12443"/>
                </a:lnTo>
                <a:lnTo>
                  <a:pt x="9566" y="12456"/>
                </a:lnTo>
                <a:lnTo>
                  <a:pt x="9579" y="12471"/>
                </a:lnTo>
                <a:lnTo>
                  <a:pt x="9591" y="12487"/>
                </a:lnTo>
                <a:lnTo>
                  <a:pt x="9602" y="12505"/>
                </a:lnTo>
                <a:lnTo>
                  <a:pt x="9612" y="12525"/>
                </a:lnTo>
                <a:lnTo>
                  <a:pt x="9622" y="12547"/>
                </a:lnTo>
                <a:lnTo>
                  <a:pt x="9630" y="12569"/>
                </a:lnTo>
                <a:lnTo>
                  <a:pt x="9639" y="12594"/>
                </a:lnTo>
                <a:lnTo>
                  <a:pt x="9645" y="12621"/>
                </a:lnTo>
                <a:lnTo>
                  <a:pt x="9650" y="12650"/>
                </a:lnTo>
                <a:lnTo>
                  <a:pt x="9654" y="12680"/>
                </a:lnTo>
                <a:lnTo>
                  <a:pt x="9657" y="12714"/>
                </a:lnTo>
                <a:lnTo>
                  <a:pt x="9659" y="12748"/>
                </a:lnTo>
                <a:lnTo>
                  <a:pt x="9660" y="12785"/>
                </a:lnTo>
                <a:lnTo>
                  <a:pt x="9660" y="13211"/>
                </a:lnTo>
                <a:lnTo>
                  <a:pt x="9658" y="13244"/>
                </a:lnTo>
                <a:lnTo>
                  <a:pt x="9654" y="13274"/>
                </a:lnTo>
                <a:lnTo>
                  <a:pt x="9647" y="13302"/>
                </a:lnTo>
                <a:lnTo>
                  <a:pt x="9636" y="13331"/>
                </a:lnTo>
                <a:lnTo>
                  <a:pt x="9624" y="13356"/>
                </a:lnTo>
                <a:lnTo>
                  <a:pt x="9610" y="13381"/>
                </a:lnTo>
                <a:lnTo>
                  <a:pt x="9593" y="13404"/>
                </a:lnTo>
                <a:lnTo>
                  <a:pt x="9573" y="13426"/>
                </a:lnTo>
                <a:lnTo>
                  <a:pt x="9552" y="13446"/>
                </a:lnTo>
                <a:lnTo>
                  <a:pt x="9528" y="13465"/>
                </a:lnTo>
                <a:lnTo>
                  <a:pt x="9501" y="13484"/>
                </a:lnTo>
                <a:lnTo>
                  <a:pt x="9474" y="13501"/>
                </a:lnTo>
                <a:lnTo>
                  <a:pt x="9444" y="13516"/>
                </a:lnTo>
                <a:lnTo>
                  <a:pt x="9413" y="13530"/>
                </a:lnTo>
                <a:lnTo>
                  <a:pt x="9379" y="13543"/>
                </a:lnTo>
                <a:lnTo>
                  <a:pt x="9345" y="13556"/>
                </a:lnTo>
                <a:lnTo>
                  <a:pt x="9309" y="13568"/>
                </a:lnTo>
                <a:lnTo>
                  <a:pt x="9272" y="13578"/>
                </a:lnTo>
                <a:lnTo>
                  <a:pt x="9233" y="13587"/>
                </a:lnTo>
                <a:lnTo>
                  <a:pt x="9193" y="13595"/>
                </a:lnTo>
                <a:lnTo>
                  <a:pt x="9152" y="13603"/>
                </a:lnTo>
                <a:lnTo>
                  <a:pt x="9110" y="13609"/>
                </a:lnTo>
                <a:lnTo>
                  <a:pt x="9067" y="13615"/>
                </a:lnTo>
                <a:lnTo>
                  <a:pt x="9022" y="13620"/>
                </a:lnTo>
                <a:lnTo>
                  <a:pt x="8978" y="13624"/>
                </a:lnTo>
                <a:lnTo>
                  <a:pt x="8933" y="13628"/>
                </a:lnTo>
                <a:lnTo>
                  <a:pt x="8887" y="13631"/>
                </a:lnTo>
                <a:lnTo>
                  <a:pt x="8841" y="13633"/>
                </a:lnTo>
                <a:lnTo>
                  <a:pt x="8795" y="13635"/>
                </a:lnTo>
                <a:lnTo>
                  <a:pt x="8748" y="13636"/>
                </a:lnTo>
                <a:lnTo>
                  <a:pt x="8701" y="13637"/>
                </a:lnTo>
                <a:lnTo>
                  <a:pt x="8653" y="13637"/>
                </a:lnTo>
                <a:lnTo>
                  <a:pt x="8090" y="13637"/>
                </a:lnTo>
                <a:close/>
                <a:moveTo>
                  <a:pt x="5591" y="11084"/>
                </a:moveTo>
                <a:lnTo>
                  <a:pt x="5364" y="11083"/>
                </a:lnTo>
                <a:lnTo>
                  <a:pt x="5144" y="11080"/>
                </a:lnTo>
                <a:lnTo>
                  <a:pt x="4932" y="11075"/>
                </a:lnTo>
                <a:lnTo>
                  <a:pt x="4728" y="11067"/>
                </a:lnTo>
                <a:lnTo>
                  <a:pt x="4530" y="11057"/>
                </a:lnTo>
                <a:lnTo>
                  <a:pt x="4340" y="11047"/>
                </a:lnTo>
                <a:lnTo>
                  <a:pt x="4157" y="11035"/>
                </a:lnTo>
                <a:lnTo>
                  <a:pt x="3981" y="11022"/>
                </a:lnTo>
                <a:lnTo>
                  <a:pt x="3813" y="11008"/>
                </a:lnTo>
                <a:lnTo>
                  <a:pt x="3652" y="10992"/>
                </a:lnTo>
                <a:lnTo>
                  <a:pt x="3497" y="10975"/>
                </a:lnTo>
                <a:lnTo>
                  <a:pt x="3350" y="10958"/>
                </a:lnTo>
                <a:lnTo>
                  <a:pt x="3211" y="10941"/>
                </a:lnTo>
                <a:lnTo>
                  <a:pt x="3078" y="10923"/>
                </a:lnTo>
                <a:lnTo>
                  <a:pt x="2953" y="10905"/>
                </a:lnTo>
                <a:lnTo>
                  <a:pt x="2835" y="10886"/>
                </a:lnTo>
                <a:lnTo>
                  <a:pt x="2724" y="10867"/>
                </a:lnTo>
                <a:lnTo>
                  <a:pt x="2620" y="10849"/>
                </a:lnTo>
                <a:lnTo>
                  <a:pt x="2525" y="10831"/>
                </a:lnTo>
                <a:lnTo>
                  <a:pt x="2435" y="10814"/>
                </a:lnTo>
                <a:lnTo>
                  <a:pt x="2353" y="10796"/>
                </a:lnTo>
                <a:lnTo>
                  <a:pt x="2278" y="10780"/>
                </a:lnTo>
                <a:lnTo>
                  <a:pt x="2210" y="10764"/>
                </a:lnTo>
                <a:lnTo>
                  <a:pt x="2150" y="10750"/>
                </a:lnTo>
                <a:lnTo>
                  <a:pt x="2050" y="10725"/>
                </a:lnTo>
                <a:lnTo>
                  <a:pt x="1978" y="10705"/>
                </a:lnTo>
                <a:lnTo>
                  <a:pt x="1936" y="10692"/>
                </a:lnTo>
                <a:lnTo>
                  <a:pt x="1922" y="10688"/>
                </a:lnTo>
                <a:lnTo>
                  <a:pt x="1948" y="10587"/>
                </a:lnTo>
                <a:lnTo>
                  <a:pt x="1975" y="10490"/>
                </a:lnTo>
                <a:lnTo>
                  <a:pt x="2002" y="10396"/>
                </a:lnTo>
                <a:lnTo>
                  <a:pt x="2030" y="10304"/>
                </a:lnTo>
                <a:lnTo>
                  <a:pt x="2057" y="10216"/>
                </a:lnTo>
                <a:lnTo>
                  <a:pt x="2085" y="10131"/>
                </a:lnTo>
                <a:lnTo>
                  <a:pt x="2112" y="10048"/>
                </a:lnTo>
                <a:lnTo>
                  <a:pt x="2140" y="9969"/>
                </a:lnTo>
                <a:lnTo>
                  <a:pt x="2168" y="9892"/>
                </a:lnTo>
                <a:lnTo>
                  <a:pt x="2196" y="9818"/>
                </a:lnTo>
                <a:lnTo>
                  <a:pt x="2223" y="9747"/>
                </a:lnTo>
                <a:lnTo>
                  <a:pt x="2250" y="9678"/>
                </a:lnTo>
                <a:lnTo>
                  <a:pt x="2277" y="9613"/>
                </a:lnTo>
                <a:lnTo>
                  <a:pt x="2303" y="9550"/>
                </a:lnTo>
                <a:lnTo>
                  <a:pt x="2329" y="9489"/>
                </a:lnTo>
                <a:lnTo>
                  <a:pt x="2354" y="9432"/>
                </a:lnTo>
                <a:lnTo>
                  <a:pt x="2404" y="9322"/>
                </a:lnTo>
                <a:lnTo>
                  <a:pt x="2450" y="9223"/>
                </a:lnTo>
                <a:lnTo>
                  <a:pt x="2493" y="9132"/>
                </a:lnTo>
                <a:lnTo>
                  <a:pt x="2533" y="9051"/>
                </a:lnTo>
                <a:lnTo>
                  <a:pt x="2568" y="8977"/>
                </a:lnTo>
                <a:lnTo>
                  <a:pt x="2598" y="8911"/>
                </a:lnTo>
                <a:lnTo>
                  <a:pt x="2611" y="8882"/>
                </a:lnTo>
                <a:lnTo>
                  <a:pt x="2623" y="8854"/>
                </a:lnTo>
                <a:lnTo>
                  <a:pt x="2633" y="8828"/>
                </a:lnTo>
                <a:lnTo>
                  <a:pt x="2643" y="8802"/>
                </a:lnTo>
                <a:lnTo>
                  <a:pt x="2646" y="8796"/>
                </a:lnTo>
                <a:lnTo>
                  <a:pt x="2654" y="8780"/>
                </a:lnTo>
                <a:lnTo>
                  <a:pt x="2662" y="8769"/>
                </a:lnTo>
                <a:lnTo>
                  <a:pt x="2672" y="8756"/>
                </a:lnTo>
                <a:lnTo>
                  <a:pt x="2685" y="8741"/>
                </a:lnTo>
                <a:lnTo>
                  <a:pt x="2703" y="8724"/>
                </a:lnTo>
                <a:lnTo>
                  <a:pt x="2724" y="8707"/>
                </a:lnTo>
                <a:lnTo>
                  <a:pt x="2751" y="8688"/>
                </a:lnTo>
                <a:lnTo>
                  <a:pt x="2784" y="8668"/>
                </a:lnTo>
                <a:lnTo>
                  <a:pt x="2821" y="8646"/>
                </a:lnTo>
                <a:lnTo>
                  <a:pt x="2865" y="8625"/>
                </a:lnTo>
                <a:lnTo>
                  <a:pt x="2917" y="8603"/>
                </a:lnTo>
                <a:lnTo>
                  <a:pt x="2975" y="8581"/>
                </a:lnTo>
                <a:lnTo>
                  <a:pt x="3042" y="8558"/>
                </a:lnTo>
                <a:lnTo>
                  <a:pt x="3117" y="8536"/>
                </a:lnTo>
                <a:lnTo>
                  <a:pt x="3201" y="8514"/>
                </a:lnTo>
                <a:lnTo>
                  <a:pt x="3294" y="8492"/>
                </a:lnTo>
                <a:lnTo>
                  <a:pt x="3398" y="8470"/>
                </a:lnTo>
                <a:lnTo>
                  <a:pt x="3511" y="8449"/>
                </a:lnTo>
                <a:lnTo>
                  <a:pt x="3636" y="8429"/>
                </a:lnTo>
                <a:lnTo>
                  <a:pt x="3771" y="8411"/>
                </a:lnTo>
                <a:lnTo>
                  <a:pt x="3919" y="8393"/>
                </a:lnTo>
                <a:lnTo>
                  <a:pt x="4079" y="8377"/>
                </a:lnTo>
                <a:lnTo>
                  <a:pt x="4253" y="8362"/>
                </a:lnTo>
                <a:lnTo>
                  <a:pt x="4439" y="8350"/>
                </a:lnTo>
                <a:lnTo>
                  <a:pt x="4639" y="8339"/>
                </a:lnTo>
                <a:lnTo>
                  <a:pt x="4854" y="8330"/>
                </a:lnTo>
                <a:lnTo>
                  <a:pt x="5083" y="8324"/>
                </a:lnTo>
                <a:lnTo>
                  <a:pt x="5329" y="8320"/>
                </a:lnTo>
                <a:lnTo>
                  <a:pt x="5591" y="8319"/>
                </a:lnTo>
                <a:lnTo>
                  <a:pt x="5851" y="8320"/>
                </a:lnTo>
                <a:lnTo>
                  <a:pt x="6097" y="8323"/>
                </a:lnTo>
                <a:lnTo>
                  <a:pt x="6326" y="8329"/>
                </a:lnTo>
                <a:lnTo>
                  <a:pt x="6540" y="8337"/>
                </a:lnTo>
                <a:lnTo>
                  <a:pt x="6741" y="8346"/>
                </a:lnTo>
                <a:lnTo>
                  <a:pt x="6926" y="8358"/>
                </a:lnTo>
                <a:lnTo>
                  <a:pt x="7100" y="8371"/>
                </a:lnTo>
                <a:lnTo>
                  <a:pt x="7260" y="8385"/>
                </a:lnTo>
                <a:lnTo>
                  <a:pt x="7407" y="8402"/>
                </a:lnTo>
                <a:lnTo>
                  <a:pt x="7543" y="8420"/>
                </a:lnTo>
                <a:lnTo>
                  <a:pt x="7667" y="8438"/>
                </a:lnTo>
                <a:lnTo>
                  <a:pt x="7781" y="8458"/>
                </a:lnTo>
                <a:lnTo>
                  <a:pt x="7884" y="8478"/>
                </a:lnTo>
                <a:lnTo>
                  <a:pt x="7978" y="8500"/>
                </a:lnTo>
                <a:lnTo>
                  <a:pt x="8063" y="8522"/>
                </a:lnTo>
                <a:lnTo>
                  <a:pt x="8137" y="8544"/>
                </a:lnTo>
                <a:lnTo>
                  <a:pt x="8205" y="8567"/>
                </a:lnTo>
                <a:lnTo>
                  <a:pt x="8264" y="8591"/>
                </a:lnTo>
                <a:lnTo>
                  <a:pt x="8317" y="8614"/>
                </a:lnTo>
                <a:lnTo>
                  <a:pt x="8362" y="8637"/>
                </a:lnTo>
                <a:lnTo>
                  <a:pt x="8401" y="8661"/>
                </a:lnTo>
                <a:lnTo>
                  <a:pt x="8436" y="8684"/>
                </a:lnTo>
                <a:lnTo>
                  <a:pt x="8464" y="8707"/>
                </a:lnTo>
                <a:lnTo>
                  <a:pt x="8488" y="8728"/>
                </a:lnTo>
                <a:lnTo>
                  <a:pt x="8507" y="8751"/>
                </a:lnTo>
                <a:lnTo>
                  <a:pt x="8523" y="8771"/>
                </a:lnTo>
                <a:lnTo>
                  <a:pt x="8537" y="8791"/>
                </a:lnTo>
                <a:lnTo>
                  <a:pt x="8548" y="8810"/>
                </a:lnTo>
                <a:lnTo>
                  <a:pt x="8563" y="8845"/>
                </a:lnTo>
                <a:lnTo>
                  <a:pt x="8575" y="8873"/>
                </a:lnTo>
                <a:lnTo>
                  <a:pt x="8582" y="8891"/>
                </a:lnTo>
                <a:lnTo>
                  <a:pt x="8591" y="8911"/>
                </a:lnTo>
                <a:lnTo>
                  <a:pt x="8601" y="8933"/>
                </a:lnTo>
                <a:lnTo>
                  <a:pt x="8612" y="8956"/>
                </a:lnTo>
                <a:lnTo>
                  <a:pt x="8639" y="9009"/>
                </a:lnTo>
                <a:lnTo>
                  <a:pt x="8671" y="9068"/>
                </a:lnTo>
                <a:lnTo>
                  <a:pt x="8706" y="9138"/>
                </a:lnTo>
                <a:lnTo>
                  <a:pt x="8746" y="9217"/>
                </a:lnTo>
                <a:lnTo>
                  <a:pt x="8790" y="9306"/>
                </a:lnTo>
                <a:lnTo>
                  <a:pt x="8835" y="9406"/>
                </a:lnTo>
                <a:lnTo>
                  <a:pt x="8859" y="9461"/>
                </a:lnTo>
                <a:lnTo>
                  <a:pt x="8884" y="9519"/>
                </a:lnTo>
                <a:lnTo>
                  <a:pt x="8910" y="9578"/>
                </a:lnTo>
                <a:lnTo>
                  <a:pt x="8936" y="9642"/>
                </a:lnTo>
                <a:lnTo>
                  <a:pt x="8962" y="9710"/>
                </a:lnTo>
                <a:lnTo>
                  <a:pt x="8988" y="9780"/>
                </a:lnTo>
                <a:lnTo>
                  <a:pt x="9015" y="9853"/>
                </a:lnTo>
                <a:lnTo>
                  <a:pt x="9043" y="9931"/>
                </a:lnTo>
                <a:lnTo>
                  <a:pt x="9070" y="10012"/>
                </a:lnTo>
                <a:lnTo>
                  <a:pt x="9098" y="10097"/>
                </a:lnTo>
                <a:lnTo>
                  <a:pt x="9126" y="10185"/>
                </a:lnTo>
                <a:lnTo>
                  <a:pt x="9155" y="10277"/>
                </a:lnTo>
                <a:lnTo>
                  <a:pt x="9183" y="10374"/>
                </a:lnTo>
                <a:lnTo>
                  <a:pt x="9210" y="10475"/>
                </a:lnTo>
                <a:lnTo>
                  <a:pt x="9238" y="10579"/>
                </a:lnTo>
                <a:lnTo>
                  <a:pt x="9266" y="10688"/>
                </a:lnTo>
                <a:lnTo>
                  <a:pt x="9252" y="10692"/>
                </a:lnTo>
                <a:lnTo>
                  <a:pt x="9209" y="10705"/>
                </a:lnTo>
                <a:lnTo>
                  <a:pt x="9137" y="10725"/>
                </a:lnTo>
                <a:lnTo>
                  <a:pt x="9038" y="10750"/>
                </a:lnTo>
                <a:lnTo>
                  <a:pt x="8976" y="10764"/>
                </a:lnTo>
                <a:lnTo>
                  <a:pt x="8909" y="10780"/>
                </a:lnTo>
                <a:lnTo>
                  <a:pt x="8833" y="10796"/>
                </a:lnTo>
                <a:lnTo>
                  <a:pt x="8750" y="10814"/>
                </a:lnTo>
                <a:lnTo>
                  <a:pt x="8661" y="10831"/>
                </a:lnTo>
                <a:lnTo>
                  <a:pt x="8564" y="10849"/>
                </a:lnTo>
                <a:lnTo>
                  <a:pt x="8460" y="10867"/>
                </a:lnTo>
                <a:lnTo>
                  <a:pt x="8349" y="10886"/>
                </a:lnTo>
                <a:lnTo>
                  <a:pt x="8230" y="10905"/>
                </a:lnTo>
                <a:lnTo>
                  <a:pt x="8105" y="10923"/>
                </a:lnTo>
                <a:lnTo>
                  <a:pt x="7972" y="10941"/>
                </a:lnTo>
                <a:lnTo>
                  <a:pt x="7832" y="10958"/>
                </a:lnTo>
                <a:lnTo>
                  <a:pt x="7685" y="10975"/>
                </a:lnTo>
                <a:lnTo>
                  <a:pt x="7530" y="10992"/>
                </a:lnTo>
                <a:lnTo>
                  <a:pt x="7369" y="11008"/>
                </a:lnTo>
                <a:lnTo>
                  <a:pt x="7200" y="11022"/>
                </a:lnTo>
                <a:lnTo>
                  <a:pt x="7024" y="11035"/>
                </a:lnTo>
                <a:lnTo>
                  <a:pt x="6841" y="11047"/>
                </a:lnTo>
                <a:lnTo>
                  <a:pt x="6650" y="11057"/>
                </a:lnTo>
                <a:lnTo>
                  <a:pt x="6453" y="11067"/>
                </a:lnTo>
                <a:lnTo>
                  <a:pt x="6248" y="11075"/>
                </a:lnTo>
                <a:lnTo>
                  <a:pt x="6036" y="11080"/>
                </a:lnTo>
                <a:lnTo>
                  <a:pt x="5816" y="11083"/>
                </a:lnTo>
                <a:lnTo>
                  <a:pt x="5591" y="11084"/>
                </a:lnTo>
                <a:close/>
                <a:moveTo>
                  <a:pt x="1971" y="12362"/>
                </a:moveTo>
                <a:lnTo>
                  <a:pt x="1992" y="12362"/>
                </a:lnTo>
                <a:lnTo>
                  <a:pt x="2016" y="12364"/>
                </a:lnTo>
                <a:lnTo>
                  <a:pt x="2041" y="12367"/>
                </a:lnTo>
                <a:lnTo>
                  <a:pt x="2066" y="12371"/>
                </a:lnTo>
                <a:lnTo>
                  <a:pt x="2093" y="12376"/>
                </a:lnTo>
                <a:lnTo>
                  <a:pt x="2120" y="12382"/>
                </a:lnTo>
                <a:lnTo>
                  <a:pt x="2149" y="12389"/>
                </a:lnTo>
                <a:lnTo>
                  <a:pt x="2178" y="12397"/>
                </a:lnTo>
                <a:lnTo>
                  <a:pt x="2208" y="12405"/>
                </a:lnTo>
                <a:lnTo>
                  <a:pt x="2239" y="12415"/>
                </a:lnTo>
                <a:lnTo>
                  <a:pt x="2270" y="12425"/>
                </a:lnTo>
                <a:lnTo>
                  <a:pt x="2302" y="12436"/>
                </a:lnTo>
                <a:lnTo>
                  <a:pt x="2367" y="12460"/>
                </a:lnTo>
                <a:lnTo>
                  <a:pt x="2434" y="12485"/>
                </a:lnTo>
                <a:lnTo>
                  <a:pt x="2501" y="12513"/>
                </a:lnTo>
                <a:lnTo>
                  <a:pt x="2569" y="12542"/>
                </a:lnTo>
                <a:lnTo>
                  <a:pt x="2636" y="12571"/>
                </a:lnTo>
                <a:lnTo>
                  <a:pt x="2703" y="12601"/>
                </a:lnTo>
                <a:lnTo>
                  <a:pt x="2768" y="12632"/>
                </a:lnTo>
                <a:lnTo>
                  <a:pt x="2831" y="12662"/>
                </a:lnTo>
                <a:lnTo>
                  <a:pt x="2892" y="12691"/>
                </a:lnTo>
                <a:lnTo>
                  <a:pt x="2950" y="12719"/>
                </a:lnTo>
                <a:lnTo>
                  <a:pt x="3073" y="12778"/>
                </a:lnTo>
                <a:lnTo>
                  <a:pt x="3194" y="12836"/>
                </a:lnTo>
                <a:lnTo>
                  <a:pt x="3254" y="12866"/>
                </a:lnTo>
                <a:lnTo>
                  <a:pt x="3310" y="12896"/>
                </a:lnTo>
                <a:lnTo>
                  <a:pt x="3338" y="12911"/>
                </a:lnTo>
                <a:lnTo>
                  <a:pt x="3364" y="12927"/>
                </a:lnTo>
                <a:lnTo>
                  <a:pt x="3391" y="12942"/>
                </a:lnTo>
                <a:lnTo>
                  <a:pt x="3416" y="12958"/>
                </a:lnTo>
                <a:lnTo>
                  <a:pt x="3440" y="12975"/>
                </a:lnTo>
                <a:lnTo>
                  <a:pt x="3463" y="12992"/>
                </a:lnTo>
                <a:lnTo>
                  <a:pt x="3485" y="13009"/>
                </a:lnTo>
                <a:lnTo>
                  <a:pt x="3506" y="13026"/>
                </a:lnTo>
                <a:lnTo>
                  <a:pt x="3526" y="13044"/>
                </a:lnTo>
                <a:lnTo>
                  <a:pt x="3544" y="13063"/>
                </a:lnTo>
                <a:lnTo>
                  <a:pt x="3561" y="13082"/>
                </a:lnTo>
                <a:lnTo>
                  <a:pt x="3576" y="13101"/>
                </a:lnTo>
                <a:lnTo>
                  <a:pt x="3590" y="13120"/>
                </a:lnTo>
                <a:lnTo>
                  <a:pt x="3602" y="13142"/>
                </a:lnTo>
                <a:lnTo>
                  <a:pt x="3612" y="13162"/>
                </a:lnTo>
                <a:lnTo>
                  <a:pt x="3621" y="13184"/>
                </a:lnTo>
                <a:lnTo>
                  <a:pt x="3629" y="13206"/>
                </a:lnTo>
                <a:lnTo>
                  <a:pt x="3634" y="13230"/>
                </a:lnTo>
                <a:lnTo>
                  <a:pt x="3637" y="13253"/>
                </a:lnTo>
                <a:lnTo>
                  <a:pt x="3638" y="13277"/>
                </a:lnTo>
                <a:lnTo>
                  <a:pt x="3638" y="13300"/>
                </a:lnTo>
                <a:lnTo>
                  <a:pt x="3637" y="13323"/>
                </a:lnTo>
                <a:lnTo>
                  <a:pt x="3635" y="13343"/>
                </a:lnTo>
                <a:lnTo>
                  <a:pt x="3632" y="13363"/>
                </a:lnTo>
                <a:lnTo>
                  <a:pt x="3629" y="13383"/>
                </a:lnTo>
                <a:lnTo>
                  <a:pt x="3624" y="13402"/>
                </a:lnTo>
                <a:lnTo>
                  <a:pt x="3618" y="13420"/>
                </a:lnTo>
                <a:lnTo>
                  <a:pt x="3611" y="13437"/>
                </a:lnTo>
                <a:lnTo>
                  <a:pt x="3604" y="13454"/>
                </a:lnTo>
                <a:lnTo>
                  <a:pt x="3596" y="13469"/>
                </a:lnTo>
                <a:lnTo>
                  <a:pt x="3586" y="13485"/>
                </a:lnTo>
                <a:lnTo>
                  <a:pt x="3576" y="13499"/>
                </a:lnTo>
                <a:lnTo>
                  <a:pt x="3564" y="13513"/>
                </a:lnTo>
                <a:lnTo>
                  <a:pt x="3552" y="13526"/>
                </a:lnTo>
                <a:lnTo>
                  <a:pt x="3538" y="13538"/>
                </a:lnTo>
                <a:lnTo>
                  <a:pt x="3523" y="13549"/>
                </a:lnTo>
                <a:lnTo>
                  <a:pt x="3507" y="13559"/>
                </a:lnTo>
                <a:lnTo>
                  <a:pt x="3488" y="13570"/>
                </a:lnTo>
                <a:lnTo>
                  <a:pt x="3469" y="13579"/>
                </a:lnTo>
                <a:lnTo>
                  <a:pt x="3449" y="13588"/>
                </a:lnTo>
                <a:lnTo>
                  <a:pt x="3427" y="13596"/>
                </a:lnTo>
                <a:lnTo>
                  <a:pt x="3404" y="13603"/>
                </a:lnTo>
                <a:lnTo>
                  <a:pt x="3380" y="13609"/>
                </a:lnTo>
                <a:lnTo>
                  <a:pt x="3353" y="13615"/>
                </a:lnTo>
                <a:lnTo>
                  <a:pt x="3326" y="13620"/>
                </a:lnTo>
                <a:lnTo>
                  <a:pt x="3297" y="13624"/>
                </a:lnTo>
                <a:lnTo>
                  <a:pt x="3267" y="13628"/>
                </a:lnTo>
                <a:lnTo>
                  <a:pt x="3234" y="13631"/>
                </a:lnTo>
                <a:lnTo>
                  <a:pt x="3200" y="13633"/>
                </a:lnTo>
                <a:lnTo>
                  <a:pt x="3165" y="13635"/>
                </a:lnTo>
                <a:lnTo>
                  <a:pt x="3127" y="13636"/>
                </a:lnTo>
                <a:lnTo>
                  <a:pt x="3088" y="13636"/>
                </a:lnTo>
                <a:lnTo>
                  <a:pt x="2526" y="13636"/>
                </a:lnTo>
                <a:lnTo>
                  <a:pt x="2478" y="13636"/>
                </a:lnTo>
                <a:lnTo>
                  <a:pt x="2432" y="13635"/>
                </a:lnTo>
                <a:lnTo>
                  <a:pt x="2384" y="13634"/>
                </a:lnTo>
                <a:lnTo>
                  <a:pt x="2338" y="13632"/>
                </a:lnTo>
                <a:lnTo>
                  <a:pt x="2292" y="13630"/>
                </a:lnTo>
                <a:lnTo>
                  <a:pt x="2246" y="13627"/>
                </a:lnTo>
                <a:lnTo>
                  <a:pt x="2201" y="13623"/>
                </a:lnTo>
                <a:lnTo>
                  <a:pt x="2156" y="13619"/>
                </a:lnTo>
                <a:lnTo>
                  <a:pt x="2112" y="13614"/>
                </a:lnTo>
                <a:lnTo>
                  <a:pt x="2069" y="13608"/>
                </a:lnTo>
                <a:lnTo>
                  <a:pt x="2028" y="13602"/>
                </a:lnTo>
                <a:lnTo>
                  <a:pt x="1986" y="13594"/>
                </a:lnTo>
                <a:lnTo>
                  <a:pt x="1946" y="13586"/>
                </a:lnTo>
                <a:lnTo>
                  <a:pt x="1908" y="13577"/>
                </a:lnTo>
                <a:lnTo>
                  <a:pt x="1869" y="13567"/>
                </a:lnTo>
                <a:lnTo>
                  <a:pt x="1834" y="13555"/>
                </a:lnTo>
                <a:lnTo>
                  <a:pt x="1799" y="13543"/>
                </a:lnTo>
                <a:lnTo>
                  <a:pt x="1766" y="13530"/>
                </a:lnTo>
                <a:lnTo>
                  <a:pt x="1734" y="13516"/>
                </a:lnTo>
                <a:lnTo>
                  <a:pt x="1705" y="13500"/>
                </a:lnTo>
                <a:lnTo>
                  <a:pt x="1677" y="13484"/>
                </a:lnTo>
                <a:lnTo>
                  <a:pt x="1651" y="13465"/>
                </a:lnTo>
                <a:lnTo>
                  <a:pt x="1627" y="13446"/>
                </a:lnTo>
                <a:lnTo>
                  <a:pt x="1606" y="13426"/>
                </a:lnTo>
                <a:lnTo>
                  <a:pt x="1586" y="13404"/>
                </a:lnTo>
                <a:lnTo>
                  <a:pt x="1569" y="13380"/>
                </a:lnTo>
                <a:lnTo>
                  <a:pt x="1554" y="13356"/>
                </a:lnTo>
                <a:lnTo>
                  <a:pt x="1542" y="13330"/>
                </a:lnTo>
                <a:lnTo>
                  <a:pt x="1532" y="13302"/>
                </a:lnTo>
                <a:lnTo>
                  <a:pt x="1525" y="13274"/>
                </a:lnTo>
                <a:lnTo>
                  <a:pt x="1520" y="13244"/>
                </a:lnTo>
                <a:lnTo>
                  <a:pt x="1519" y="13211"/>
                </a:lnTo>
                <a:lnTo>
                  <a:pt x="1519" y="12786"/>
                </a:lnTo>
                <a:lnTo>
                  <a:pt x="1519" y="12749"/>
                </a:lnTo>
                <a:lnTo>
                  <a:pt x="1521" y="12714"/>
                </a:lnTo>
                <a:lnTo>
                  <a:pt x="1524" y="12681"/>
                </a:lnTo>
                <a:lnTo>
                  <a:pt x="1529" y="12651"/>
                </a:lnTo>
                <a:lnTo>
                  <a:pt x="1534" y="12622"/>
                </a:lnTo>
                <a:lnTo>
                  <a:pt x="1541" y="12595"/>
                </a:lnTo>
                <a:lnTo>
                  <a:pt x="1549" y="12570"/>
                </a:lnTo>
                <a:lnTo>
                  <a:pt x="1557" y="12547"/>
                </a:lnTo>
                <a:lnTo>
                  <a:pt x="1567" y="12525"/>
                </a:lnTo>
                <a:lnTo>
                  <a:pt x="1577" y="12506"/>
                </a:lnTo>
                <a:lnTo>
                  <a:pt x="1588" y="12488"/>
                </a:lnTo>
                <a:lnTo>
                  <a:pt x="1600" y="12472"/>
                </a:lnTo>
                <a:lnTo>
                  <a:pt x="1613" y="12457"/>
                </a:lnTo>
                <a:lnTo>
                  <a:pt x="1627" y="12444"/>
                </a:lnTo>
                <a:lnTo>
                  <a:pt x="1642" y="12431"/>
                </a:lnTo>
                <a:lnTo>
                  <a:pt x="1658" y="12420"/>
                </a:lnTo>
                <a:lnTo>
                  <a:pt x="1674" y="12410"/>
                </a:lnTo>
                <a:lnTo>
                  <a:pt x="1690" y="12402"/>
                </a:lnTo>
                <a:lnTo>
                  <a:pt x="1707" y="12394"/>
                </a:lnTo>
                <a:lnTo>
                  <a:pt x="1725" y="12388"/>
                </a:lnTo>
                <a:lnTo>
                  <a:pt x="1743" y="12382"/>
                </a:lnTo>
                <a:lnTo>
                  <a:pt x="1762" y="12378"/>
                </a:lnTo>
                <a:lnTo>
                  <a:pt x="1782" y="12374"/>
                </a:lnTo>
                <a:lnTo>
                  <a:pt x="1802" y="12370"/>
                </a:lnTo>
                <a:lnTo>
                  <a:pt x="1822" y="12368"/>
                </a:lnTo>
                <a:lnTo>
                  <a:pt x="1842" y="12366"/>
                </a:lnTo>
                <a:lnTo>
                  <a:pt x="1863" y="12364"/>
                </a:lnTo>
                <a:lnTo>
                  <a:pt x="1884" y="12363"/>
                </a:lnTo>
                <a:lnTo>
                  <a:pt x="1927" y="12362"/>
                </a:lnTo>
                <a:lnTo>
                  <a:pt x="1971" y="12362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arrow10_1_solid"/>
          <p:cNvSpPr/>
          <p:nvPr>
            <p:custDataLst>
              <p:tags r:id="rId14"/>
            </p:custDataLst>
          </p:nvPr>
        </p:nvSpPr>
        <p:spPr bwMode="auto">
          <a:xfrm>
            <a:off x="766639" y="3006130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3" name="arrow10_1_solid"/>
          <p:cNvSpPr/>
          <p:nvPr>
            <p:custDataLst>
              <p:tags r:id="rId15"/>
            </p:custDataLst>
          </p:nvPr>
        </p:nvSpPr>
        <p:spPr bwMode="auto">
          <a:xfrm>
            <a:off x="1558727" y="3006131"/>
            <a:ext cx="1106696" cy="144016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4" name="arrow10_1_solid"/>
          <p:cNvSpPr/>
          <p:nvPr>
            <p:custDataLst>
              <p:tags r:id="rId16"/>
            </p:custDataLst>
          </p:nvPr>
        </p:nvSpPr>
        <p:spPr bwMode="auto">
          <a:xfrm>
            <a:off x="1229269" y="3536951"/>
            <a:ext cx="576064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5" name="arrow10_1_solid"/>
          <p:cNvSpPr/>
          <p:nvPr>
            <p:custDataLst>
              <p:tags r:id="rId17"/>
            </p:custDataLst>
          </p:nvPr>
        </p:nvSpPr>
        <p:spPr bwMode="auto">
          <a:xfrm>
            <a:off x="3205483" y="3006131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6" name="arrow10_1_solid"/>
          <p:cNvSpPr/>
          <p:nvPr>
            <p:custDataLst>
              <p:tags r:id="rId18"/>
            </p:custDataLst>
          </p:nvPr>
        </p:nvSpPr>
        <p:spPr bwMode="auto">
          <a:xfrm>
            <a:off x="4105583" y="3006131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7" name="arrow10_1_solid"/>
          <p:cNvSpPr/>
          <p:nvPr>
            <p:custDataLst>
              <p:tags r:id="rId19"/>
            </p:custDataLst>
          </p:nvPr>
        </p:nvSpPr>
        <p:spPr bwMode="auto">
          <a:xfrm>
            <a:off x="4871095" y="3006131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8" name="arrow10_1_solid"/>
          <p:cNvSpPr/>
          <p:nvPr>
            <p:custDataLst>
              <p:tags r:id="rId20"/>
            </p:custDataLst>
          </p:nvPr>
        </p:nvSpPr>
        <p:spPr bwMode="auto">
          <a:xfrm>
            <a:off x="5689759" y="3006131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9" name="arrow10_1_solid"/>
          <p:cNvSpPr/>
          <p:nvPr/>
        </p:nvSpPr>
        <p:spPr bwMode="auto">
          <a:xfrm>
            <a:off x="7355371" y="3006131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1" name="TextBox 20"/>
          <p:cNvSpPr txBox="1"/>
          <p:nvPr>
            <p:custDataLst>
              <p:tags r:id="rId21"/>
            </p:custDataLst>
          </p:nvPr>
        </p:nvSpPr>
        <p:spPr>
          <a:xfrm>
            <a:off x="907906" y="3150147"/>
            <a:ext cx="753411" cy="34881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роизводство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битума</a:t>
            </a:r>
          </a:p>
        </p:txBody>
      </p:sp>
      <p:sp>
        <p:nvSpPr>
          <p:cNvPr id="32" name="TextBox 31"/>
          <p:cNvSpPr txBox="1"/>
          <p:nvPr>
            <p:custDataLst>
              <p:tags r:id="rId22"/>
            </p:custDataLst>
          </p:nvPr>
        </p:nvSpPr>
        <p:spPr>
          <a:xfrm>
            <a:off x="1683099" y="3665430"/>
            <a:ext cx="859210" cy="34881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роизводство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БВ и эмульсий</a:t>
            </a:r>
          </a:p>
        </p:txBody>
      </p:sp>
      <p:sp>
        <p:nvSpPr>
          <p:cNvPr id="33" name="arrow10_1_solid"/>
          <p:cNvSpPr/>
          <p:nvPr>
            <p:custDataLst>
              <p:tags r:id="rId23"/>
            </p:custDataLst>
          </p:nvPr>
        </p:nvSpPr>
        <p:spPr bwMode="auto">
          <a:xfrm rot="16200000">
            <a:off x="2481036" y="3320321"/>
            <a:ext cx="433258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31" name="Прямоугольник 30"/>
          <p:cNvSpPr/>
          <p:nvPr>
            <p:custDataLst>
              <p:tags r:id="rId24"/>
            </p:custDataLst>
          </p:nvPr>
        </p:nvSpPr>
        <p:spPr>
          <a:xfrm rot="5400000">
            <a:off x="1173548" y="3516760"/>
            <a:ext cx="157162" cy="45720"/>
          </a:xfrm>
          <a:prstGeom prst="rect">
            <a:avLst/>
          </a:prstGeom>
          <a:solidFill>
            <a:schemeClr val="accent4">
              <a:lumMod val="90000"/>
            </a:schemeClr>
          </a:solidFill>
          <a:ln w="12700">
            <a:solidFill>
              <a:schemeClr val="accent4">
                <a:lumMod val="90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25"/>
            </p:custDataLst>
          </p:nvPr>
        </p:nvSpPr>
        <p:spPr>
          <a:xfrm>
            <a:off x="2417401" y="3572479"/>
            <a:ext cx="288032" cy="45722"/>
          </a:xfrm>
          <a:prstGeom prst="rect">
            <a:avLst/>
          </a:prstGeom>
          <a:solidFill>
            <a:schemeClr val="accent4">
              <a:lumMod val="90000"/>
            </a:schemeClr>
          </a:solidFill>
          <a:ln w="12700">
            <a:solidFill>
              <a:schemeClr val="accent4">
                <a:lumMod val="90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36" name="TextBox 35"/>
          <p:cNvSpPr txBox="1"/>
          <p:nvPr>
            <p:custDataLst>
              <p:tags r:id="rId26"/>
            </p:custDataLst>
          </p:nvPr>
        </p:nvSpPr>
        <p:spPr>
          <a:xfrm>
            <a:off x="2777441" y="3150147"/>
            <a:ext cx="500138" cy="22057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Хранение</a:t>
            </a:r>
          </a:p>
        </p:txBody>
      </p:sp>
      <p:sp>
        <p:nvSpPr>
          <p:cNvPr id="37" name="TextBox 36"/>
          <p:cNvSpPr txBox="1"/>
          <p:nvPr>
            <p:custDataLst>
              <p:tags r:id="rId27"/>
            </p:custDataLst>
          </p:nvPr>
        </p:nvSpPr>
        <p:spPr>
          <a:xfrm>
            <a:off x="3507139" y="3150147"/>
            <a:ext cx="480902" cy="22057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Доставка</a:t>
            </a:r>
          </a:p>
        </p:txBody>
      </p:sp>
      <p:sp>
        <p:nvSpPr>
          <p:cNvPr id="38" name="TextBox 37"/>
          <p:cNvSpPr txBox="1"/>
          <p:nvPr>
            <p:custDataLst>
              <p:tags r:id="rId28"/>
            </p:custDataLst>
          </p:nvPr>
        </p:nvSpPr>
        <p:spPr>
          <a:xfrm>
            <a:off x="4189207" y="3150147"/>
            <a:ext cx="872034" cy="34881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роизводство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асфальтобетона</a:t>
            </a:r>
          </a:p>
        </p:txBody>
      </p:sp>
      <p:sp>
        <p:nvSpPr>
          <p:cNvPr id="39" name="TextBox 38"/>
          <p:cNvSpPr txBox="1"/>
          <p:nvPr>
            <p:custDataLst>
              <p:tags r:id="rId29"/>
            </p:custDataLst>
          </p:nvPr>
        </p:nvSpPr>
        <p:spPr>
          <a:xfrm>
            <a:off x="5189709" y="3150147"/>
            <a:ext cx="480902" cy="22057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Доставка</a:t>
            </a:r>
          </a:p>
        </p:txBody>
      </p:sp>
      <p:sp>
        <p:nvSpPr>
          <p:cNvPr id="40" name="TextBox 39"/>
          <p:cNvSpPr txBox="1"/>
          <p:nvPr>
            <p:custDataLst>
              <p:tags r:id="rId30"/>
            </p:custDataLst>
          </p:nvPr>
        </p:nvSpPr>
        <p:spPr>
          <a:xfrm>
            <a:off x="6197821" y="3150147"/>
            <a:ext cx="1019510" cy="34881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Укладка дорожного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олотна</a:t>
            </a:r>
          </a:p>
        </p:txBody>
      </p:sp>
      <p:sp>
        <p:nvSpPr>
          <p:cNvPr id="41" name="TextBox 40"/>
          <p:cNvSpPr txBox="1"/>
          <p:nvPr>
            <p:custDataLst>
              <p:tags r:id="rId31"/>
            </p:custDataLst>
          </p:nvPr>
        </p:nvSpPr>
        <p:spPr>
          <a:xfrm>
            <a:off x="7457961" y="3150147"/>
            <a:ext cx="730970" cy="22057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Эксплуатация</a:t>
            </a:r>
          </a:p>
        </p:txBody>
      </p:sp>
      <p:sp>
        <p:nvSpPr>
          <p:cNvPr id="42" name="Picture96"/>
          <p:cNvSpPr>
            <a:spLocks noEditPoints="1"/>
          </p:cNvSpPr>
          <p:nvPr>
            <p:custDataLst>
              <p:tags r:id="rId32"/>
            </p:custDataLst>
          </p:nvPr>
        </p:nvSpPr>
        <p:spPr bwMode="auto">
          <a:xfrm>
            <a:off x="287524" y="2143200"/>
            <a:ext cx="322263" cy="482600"/>
          </a:xfrm>
          <a:custGeom>
            <a:avLst/>
            <a:gdLst>
              <a:gd name="T0" fmla="*/ 455 w 609"/>
              <a:gd name="T1" fmla="*/ 261 h 912"/>
              <a:gd name="T2" fmla="*/ 385 w 609"/>
              <a:gd name="T3" fmla="*/ 152 h 912"/>
              <a:gd name="T4" fmla="*/ 305 w 609"/>
              <a:gd name="T5" fmla="*/ 0 h 912"/>
              <a:gd name="T6" fmla="*/ 244 w 609"/>
              <a:gd name="T7" fmla="*/ 118 h 912"/>
              <a:gd name="T8" fmla="*/ 180 w 609"/>
              <a:gd name="T9" fmla="*/ 222 h 912"/>
              <a:gd name="T10" fmla="*/ 122 w 609"/>
              <a:gd name="T11" fmla="*/ 305 h 912"/>
              <a:gd name="T12" fmla="*/ 77 w 609"/>
              <a:gd name="T13" fmla="*/ 370 h 912"/>
              <a:gd name="T14" fmla="*/ 43 w 609"/>
              <a:gd name="T15" fmla="*/ 430 h 912"/>
              <a:gd name="T16" fmla="*/ 20 w 609"/>
              <a:gd name="T17" fmla="*/ 486 h 912"/>
              <a:gd name="T18" fmla="*/ 6 w 609"/>
              <a:gd name="T19" fmla="*/ 540 h 912"/>
              <a:gd name="T20" fmla="*/ 1 w 609"/>
              <a:gd name="T21" fmla="*/ 591 h 912"/>
              <a:gd name="T22" fmla="*/ 1 w 609"/>
              <a:gd name="T23" fmla="*/ 624 h 912"/>
              <a:gd name="T24" fmla="*/ 6 w 609"/>
              <a:gd name="T25" fmla="*/ 670 h 912"/>
              <a:gd name="T26" fmla="*/ 18 w 609"/>
              <a:gd name="T27" fmla="*/ 712 h 912"/>
              <a:gd name="T28" fmla="*/ 37 w 609"/>
              <a:gd name="T29" fmla="*/ 753 h 912"/>
              <a:gd name="T30" fmla="*/ 60 w 609"/>
              <a:gd name="T31" fmla="*/ 791 h 912"/>
              <a:gd name="T32" fmla="*/ 89 w 609"/>
              <a:gd name="T33" fmla="*/ 823 h 912"/>
              <a:gd name="T34" fmla="*/ 122 w 609"/>
              <a:gd name="T35" fmla="*/ 852 h 912"/>
              <a:gd name="T36" fmla="*/ 160 w 609"/>
              <a:gd name="T37" fmla="*/ 876 h 912"/>
              <a:gd name="T38" fmla="*/ 200 w 609"/>
              <a:gd name="T39" fmla="*/ 894 h 912"/>
              <a:gd name="T40" fmla="*/ 244 w 609"/>
              <a:gd name="T41" fmla="*/ 907 h 912"/>
              <a:gd name="T42" fmla="*/ 289 w 609"/>
              <a:gd name="T43" fmla="*/ 912 h 912"/>
              <a:gd name="T44" fmla="*/ 320 w 609"/>
              <a:gd name="T45" fmla="*/ 912 h 912"/>
              <a:gd name="T46" fmla="*/ 366 w 609"/>
              <a:gd name="T47" fmla="*/ 907 h 912"/>
              <a:gd name="T48" fmla="*/ 409 w 609"/>
              <a:gd name="T49" fmla="*/ 894 h 912"/>
              <a:gd name="T50" fmla="*/ 450 w 609"/>
              <a:gd name="T51" fmla="*/ 876 h 912"/>
              <a:gd name="T52" fmla="*/ 487 w 609"/>
              <a:gd name="T53" fmla="*/ 852 h 912"/>
              <a:gd name="T54" fmla="*/ 520 w 609"/>
              <a:gd name="T55" fmla="*/ 823 h 912"/>
              <a:gd name="T56" fmla="*/ 549 w 609"/>
              <a:gd name="T57" fmla="*/ 791 h 912"/>
              <a:gd name="T58" fmla="*/ 572 w 609"/>
              <a:gd name="T59" fmla="*/ 753 h 912"/>
              <a:gd name="T60" fmla="*/ 591 w 609"/>
              <a:gd name="T61" fmla="*/ 712 h 912"/>
              <a:gd name="T62" fmla="*/ 603 w 609"/>
              <a:gd name="T63" fmla="*/ 670 h 912"/>
              <a:gd name="T64" fmla="*/ 609 w 609"/>
              <a:gd name="T65" fmla="*/ 624 h 912"/>
              <a:gd name="T66" fmla="*/ 609 w 609"/>
              <a:gd name="T67" fmla="*/ 591 h 912"/>
              <a:gd name="T68" fmla="*/ 603 w 609"/>
              <a:gd name="T69" fmla="*/ 540 h 912"/>
              <a:gd name="T70" fmla="*/ 589 w 609"/>
              <a:gd name="T71" fmla="*/ 486 h 912"/>
              <a:gd name="T72" fmla="*/ 566 w 609"/>
              <a:gd name="T73" fmla="*/ 430 h 912"/>
              <a:gd name="T74" fmla="*/ 533 w 609"/>
              <a:gd name="T75" fmla="*/ 370 h 912"/>
              <a:gd name="T76" fmla="*/ 488 w 609"/>
              <a:gd name="T77" fmla="*/ 305 h 912"/>
              <a:gd name="T78" fmla="*/ 305 w 609"/>
              <a:gd name="T79" fmla="*/ 882 h 912"/>
              <a:gd name="T80" fmla="*/ 321 w 609"/>
              <a:gd name="T81" fmla="*/ 838 h 912"/>
              <a:gd name="T82" fmla="*/ 371 w 609"/>
              <a:gd name="T83" fmla="*/ 827 h 912"/>
              <a:gd name="T84" fmla="*/ 416 w 609"/>
              <a:gd name="T85" fmla="*/ 807 h 912"/>
              <a:gd name="T86" fmla="*/ 456 w 609"/>
              <a:gd name="T87" fmla="*/ 777 h 912"/>
              <a:gd name="T88" fmla="*/ 492 w 609"/>
              <a:gd name="T89" fmla="*/ 738 h 912"/>
              <a:gd name="T90" fmla="*/ 521 w 609"/>
              <a:gd name="T91" fmla="*/ 692 h 912"/>
              <a:gd name="T92" fmla="*/ 554 w 609"/>
              <a:gd name="T93" fmla="*/ 721 h 912"/>
              <a:gd name="T94" fmla="*/ 522 w 609"/>
              <a:gd name="T95" fmla="*/ 775 h 912"/>
              <a:gd name="T96" fmla="*/ 480 w 609"/>
              <a:gd name="T97" fmla="*/ 819 h 912"/>
              <a:gd name="T98" fmla="*/ 429 w 609"/>
              <a:gd name="T99" fmla="*/ 853 h 912"/>
              <a:gd name="T100" fmla="*/ 369 w 609"/>
              <a:gd name="T101" fmla="*/ 874 h 912"/>
              <a:gd name="T102" fmla="*/ 305 w 609"/>
              <a:gd name="T103" fmla="*/ 882 h 912"/>
              <a:gd name="T104" fmla="*/ 532 w 609"/>
              <a:gd name="T105" fmla="*/ 652 h 912"/>
              <a:gd name="T106" fmla="*/ 535 w 609"/>
              <a:gd name="T107" fmla="*/ 608 h 912"/>
              <a:gd name="T108" fmla="*/ 579 w 609"/>
              <a:gd name="T109" fmla="*/ 608 h 912"/>
              <a:gd name="T110" fmla="*/ 575 w 609"/>
              <a:gd name="T111" fmla="*/ 658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09" h="912">
                <a:moveTo>
                  <a:pt x="488" y="305"/>
                </a:moveTo>
                <a:lnTo>
                  <a:pt x="488" y="305"/>
                </a:lnTo>
                <a:lnTo>
                  <a:pt x="455" y="261"/>
                </a:lnTo>
                <a:lnTo>
                  <a:pt x="429" y="222"/>
                </a:lnTo>
                <a:lnTo>
                  <a:pt x="405" y="187"/>
                </a:lnTo>
                <a:lnTo>
                  <a:pt x="385" y="152"/>
                </a:lnTo>
                <a:lnTo>
                  <a:pt x="365" y="118"/>
                </a:lnTo>
                <a:lnTo>
                  <a:pt x="346" y="82"/>
                </a:lnTo>
                <a:lnTo>
                  <a:pt x="305" y="0"/>
                </a:lnTo>
                <a:lnTo>
                  <a:pt x="305" y="0"/>
                </a:lnTo>
                <a:lnTo>
                  <a:pt x="263" y="82"/>
                </a:lnTo>
                <a:lnTo>
                  <a:pt x="244" y="118"/>
                </a:lnTo>
                <a:lnTo>
                  <a:pt x="224" y="152"/>
                </a:lnTo>
                <a:lnTo>
                  <a:pt x="204" y="187"/>
                </a:lnTo>
                <a:lnTo>
                  <a:pt x="180" y="222"/>
                </a:lnTo>
                <a:lnTo>
                  <a:pt x="154" y="261"/>
                </a:lnTo>
                <a:lnTo>
                  <a:pt x="122" y="305"/>
                </a:lnTo>
                <a:lnTo>
                  <a:pt x="122" y="305"/>
                </a:lnTo>
                <a:lnTo>
                  <a:pt x="105" y="327"/>
                </a:lnTo>
                <a:lnTo>
                  <a:pt x="90" y="349"/>
                </a:lnTo>
                <a:lnTo>
                  <a:pt x="77" y="370"/>
                </a:lnTo>
                <a:lnTo>
                  <a:pt x="64" y="391"/>
                </a:lnTo>
                <a:lnTo>
                  <a:pt x="54" y="410"/>
                </a:lnTo>
                <a:lnTo>
                  <a:pt x="43" y="430"/>
                </a:lnTo>
                <a:lnTo>
                  <a:pt x="34" y="448"/>
                </a:lnTo>
                <a:lnTo>
                  <a:pt x="27" y="468"/>
                </a:lnTo>
                <a:lnTo>
                  <a:pt x="20" y="486"/>
                </a:lnTo>
                <a:lnTo>
                  <a:pt x="15" y="504"/>
                </a:lnTo>
                <a:lnTo>
                  <a:pt x="10" y="521"/>
                </a:lnTo>
                <a:lnTo>
                  <a:pt x="6" y="540"/>
                </a:lnTo>
                <a:lnTo>
                  <a:pt x="3" y="557"/>
                </a:lnTo>
                <a:lnTo>
                  <a:pt x="2" y="574"/>
                </a:lnTo>
                <a:lnTo>
                  <a:pt x="1" y="591"/>
                </a:lnTo>
                <a:lnTo>
                  <a:pt x="0" y="608"/>
                </a:lnTo>
                <a:lnTo>
                  <a:pt x="0" y="608"/>
                </a:lnTo>
                <a:lnTo>
                  <a:pt x="1" y="624"/>
                </a:lnTo>
                <a:lnTo>
                  <a:pt x="2" y="639"/>
                </a:lnTo>
                <a:lnTo>
                  <a:pt x="3" y="654"/>
                </a:lnTo>
                <a:lnTo>
                  <a:pt x="6" y="670"/>
                </a:lnTo>
                <a:lnTo>
                  <a:pt x="10" y="685"/>
                </a:lnTo>
                <a:lnTo>
                  <a:pt x="14" y="698"/>
                </a:lnTo>
                <a:lnTo>
                  <a:pt x="18" y="712"/>
                </a:lnTo>
                <a:lnTo>
                  <a:pt x="24" y="726"/>
                </a:lnTo>
                <a:lnTo>
                  <a:pt x="30" y="740"/>
                </a:lnTo>
                <a:lnTo>
                  <a:pt x="37" y="753"/>
                </a:lnTo>
                <a:lnTo>
                  <a:pt x="44" y="766"/>
                </a:lnTo>
                <a:lnTo>
                  <a:pt x="53" y="779"/>
                </a:lnTo>
                <a:lnTo>
                  <a:pt x="60" y="791"/>
                </a:lnTo>
                <a:lnTo>
                  <a:pt x="70" y="801"/>
                </a:lnTo>
                <a:lnTo>
                  <a:pt x="79" y="813"/>
                </a:lnTo>
                <a:lnTo>
                  <a:pt x="89" y="823"/>
                </a:lnTo>
                <a:lnTo>
                  <a:pt x="100" y="834"/>
                </a:lnTo>
                <a:lnTo>
                  <a:pt x="111" y="843"/>
                </a:lnTo>
                <a:lnTo>
                  <a:pt x="122" y="852"/>
                </a:lnTo>
                <a:lnTo>
                  <a:pt x="134" y="860"/>
                </a:lnTo>
                <a:lnTo>
                  <a:pt x="147" y="868"/>
                </a:lnTo>
                <a:lnTo>
                  <a:pt x="160" y="876"/>
                </a:lnTo>
                <a:lnTo>
                  <a:pt x="173" y="883"/>
                </a:lnTo>
                <a:lnTo>
                  <a:pt x="186" y="888"/>
                </a:lnTo>
                <a:lnTo>
                  <a:pt x="200" y="894"/>
                </a:lnTo>
                <a:lnTo>
                  <a:pt x="214" y="899"/>
                </a:lnTo>
                <a:lnTo>
                  <a:pt x="229" y="903"/>
                </a:lnTo>
                <a:lnTo>
                  <a:pt x="244" y="907"/>
                </a:lnTo>
                <a:lnTo>
                  <a:pt x="258" y="909"/>
                </a:lnTo>
                <a:lnTo>
                  <a:pt x="274" y="911"/>
                </a:lnTo>
                <a:lnTo>
                  <a:pt x="289" y="912"/>
                </a:lnTo>
                <a:lnTo>
                  <a:pt x="305" y="912"/>
                </a:lnTo>
                <a:lnTo>
                  <a:pt x="305" y="912"/>
                </a:lnTo>
                <a:lnTo>
                  <a:pt x="320" y="912"/>
                </a:lnTo>
                <a:lnTo>
                  <a:pt x="336" y="911"/>
                </a:lnTo>
                <a:lnTo>
                  <a:pt x="351" y="909"/>
                </a:lnTo>
                <a:lnTo>
                  <a:pt x="366" y="907"/>
                </a:lnTo>
                <a:lnTo>
                  <a:pt x="380" y="903"/>
                </a:lnTo>
                <a:lnTo>
                  <a:pt x="395" y="899"/>
                </a:lnTo>
                <a:lnTo>
                  <a:pt x="409" y="894"/>
                </a:lnTo>
                <a:lnTo>
                  <a:pt x="423" y="888"/>
                </a:lnTo>
                <a:lnTo>
                  <a:pt x="437" y="883"/>
                </a:lnTo>
                <a:lnTo>
                  <a:pt x="450" y="876"/>
                </a:lnTo>
                <a:lnTo>
                  <a:pt x="463" y="868"/>
                </a:lnTo>
                <a:lnTo>
                  <a:pt x="475" y="860"/>
                </a:lnTo>
                <a:lnTo>
                  <a:pt x="487" y="852"/>
                </a:lnTo>
                <a:lnTo>
                  <a:pt x="498" y="843"/>
                </a:lnTo>
                <a:lnTo>
                  <a:pt x="509" y="834"/>
                </a:lnTo>
                <a:lnTo>
                  <a:pt x="520" y="823"/>
                </a:lnTo>
                <a:lnTo>
                  <a:pt x="530" y="813"/>
                </a:lnTo>
                <a:lnTo>
                  <a:pt x="539" y="801"/>
                </a:lnTo>
                <a:lnTo>
                  <a:pt x="549" y="791"/>
                </a:lnTo>
                <a:lnTo>
                  <a:pt x="557" y="779"/>
                </a:lnTo>
                <a:lnTo>
                  <a:pt x="565" y="766"/>
                </a:lnTo>
                <a:lnTo>
                  <a:pt x="572" y="753"/>
                </a:lnTo>
                <a:lnTo>
                  <a:pt x="579" y="740"/>
                </a:lnTo>
                <a:lnTo>
                  <a:pt x="585" y="726"/>
                </a:lnTo>
                <a:lnTo>
                  <a:pt x="591" y="712"/>
                </a:lnTo>
                <a:lnTo>
                  <a:pt x="595" y="698"/>
                </a:lnTo>
                <a:lnTo>
                  <a:pt x="599" y="685"/>
                </a:lnTo>
                <a:lnTo>
                  <a:pt x="603" y="670"/>
                </a:lnTo>
                <a:lnTo>
                  <a:pt x="606" y="654"/>
                </a:lnTo>
                <a:lnTo>
                  <a:pt x="608" y="639"/>
                </a:lnTo>
                <a:lnTo>
                  <a:pt x="609" y="624"/>
                </a:lnTo>
                <a:lnTo>
                  <a:pt x="609" y="608"/>
                </a:lnTo>
                <a:lnTo>
                  <a:pt x="609" y="608"/>
                </a:lnTo>
                <a:lnTo>
                  <a:pt x="609" y="591"/>
                </a:lnTo>
                <a:lnTo>
                  <a:pt x="608" y="574"/>
                </a:lnTo>
                <a:lnTo>
                  <a:pt x="606" y="557"/>
                </a:lnTo>
                <a:lnTo>
                  <a:pt x="603" y="540"/>
                </a:lnTo>
                <a:lnTo>
                  <a:pt x="599" y="521"/>
                </a:lnTo>
                <a:lnTo>
                  <a:pt x="595" y="504"/>
                </a:lnTo>
                <a:lnTo>
                  <a:pt x="589" y="486"/>
                </a:lnTo>
                <a:lnTo>
                  <a:pt x="582" y="468"/>
                </a:lnTo>
                <a:lnTo>
                  <a:pt x="575" y="448"/>
                </a:lnTo>
                <a:lnTo>
                  <a:pt x="566" y="430"/>
                </a:lnTo>
                <a:lnTo>
                  <a:pt x="556" y="410"/>
                </a:lnTo>
                <a:lnTo>
                  <a:pt x="545" y="391"/>
                </a:lnTo>
                <a:lnTo>
                  <a:pt x="533" y="370"/>
                </a:lnTo>
                <a:lnTo>
                  <a:pt x="519" y="349"/>
                </a:lnTo>
                <a:lnTo>
                  <a:pt x="504" y="326"/>
                </a:lnTo>
                <a:lnTo>
                  <a:pt x="488" y="305"/>
                </a:lnTo>
                <a:lnTo>
                  <a:pt x="488" y="305"/>
                </a:lnTo>
                <a:close/>
                <a:moveTo>
                  <a:pt x="305" y="882"/>
                </a:moveTo>
                <a:lnTo>
                  <a:pt x="305" y="882"/>
                </a:lnTo>
                <a:lnTo>
                  <a:pt x="305" y="839"/>
                </a:lnTo>
                <a:lnTo>
                  <a:pt x="305" y="839"/>
                </a:lnTo>
                <a:lnTo>
                  <a:pt x="321" y="838"/>
                </a:lnTo>
                <a:lnTo>
                  <a:pt x="338" y="836"/>
                </a:lnTo>
                <a:lnTo>
                  <a:pt x="354" y="833"/>
                </a:lnTo>
                <a:lnTo>
                  <a:pt x="371" y="827"/>
                </a:lnTo>
                <a:lnTo>
                  <a:pt x="386" y="822"/>
                </a:lnTo>
                <a:lnTo>
                  <a:pt x="401" y="815"/>
                </a:lnTo>
                <a:lnTo>
                  <a:pt x="416" y="807"/>
                </a:lnTo>
                <a:lnTo>
                  <a:pt x="430" y="798"/>
                </a:lnTo>
                <a:lnTo>
                  <a:pt x="444" y="789"/>
                </a:lnTo>
                <a:lnTo>
                  <a:pt x="456" y="777"/>
                </a:lnTo>
                <a:lnTo>
                  <a:pt x="469" y="765"/>
                </a:lnTo>
                <a:lnTo>
                  <a:pt x="481" y="752"/>
                </a:lnTo>
                <a:lnTo>
                  <a:pt x="492" y="738"/>
                </a:lnTo>
                <a:lnTo>
                  <a:pt x="503" y="723"/>
                </a:lnTo>
                <a:lnTo>
                  <a:pt x="512" y="708"/>
                </a:lnTo>
                <a:lnTo>
                  <a:pt x="521" y="692"/>
                </a:lnTo>
                <a:lnTo>
                  <a:pt x="562" y="702"/>
                </a:lnTo>
                <a:lnTo>
                  <a:pt x="562" y="702"/>
                </a:lnTo>
                <a:lnTo>
                  <a:pt x="554" y="721"/>
                </a:lnTo>
                <a:lnTo>
                  <a:pt x="545" y="740"/>
                </a:lnTo>
                <a:lnTo>
                  <a:pt x="535" y="757"/>
                </a:lnTo>
                <a:lnTo>
                  <a:pt x="522" y="775"/>
                </a:lnTo>
                <a:lnTo>
                  <a:pt x="509" y="791"/>
                </a:lnTo>
                <a:lnTo>
                  <a:pt x="495" y="805"/>
                </a:lnTo>
                <a:lnTo>
                  <a:pt x="480" y="819"/>
                </a:lnTo>
                <a:lnTo>
                  <a:pt x="464" y="832"/>
                </a:lnTo>
                <a:lnTo>
                  <a:pt x="446" y="842"/>
                </a:lnTo>
                <a:lnTo>
                  <a:pt x="429" y="853"/>
                </a:lnTo>
                <a:lnTo>
                  <a:pt x="409" y="862"/>
                </a:lnTo>
                <a:lnTo>
                  <a:pt x="390" y="869"/>
                </a:lnTo>
                <a:lnTo>
                  <a:pt x="369" y="874"/>
                </a:lnTo>
                <a:lnTo>
                  <a:pt x="348" y="879"/>
                </a:lnTo>
                <a:lnTo>
                  <a:pt x="327" y="881"/>
                </a:lnTo>
                <a:lnTo>
                  <a:pt x="305" y="882"/>
                </a:lnTo>
                <a:lnTo>
                  <a:pt x="305" y="882"/>
                </a:lnTo>
                <a:close/>
                <a:moveTo>
                  <a:pt x="575" y="658"/>
                </a:moveTo>
                <a:lnTo>
                  <a:pt x="532" y="652"/>
                </a:lnTo>
                <a:lnTo>
                  <a:pt x="532" y="652"/>
                </a:lnTo>
                <a:lnTo>
                  <a:pt x="534" y="631"/>
                </a:lnTo>
                <a:lnTo>
                  <a:pt x="535" y="608"/>
                </a:lnTo>
                <a:lnTo>
                  <a:pt x="579" y="608"/>
                </a:lnTo>
                <a:lnTo>
                  <a:pt x="579" y="608"/>
                </a:lnTo>
                <a:lnTo>
                  <a:pt x="579" y="608"/>
                </a:lnTo>
                <a:lnTo>
                  <a:pt x="578" y="633"/>
                </a:lnTo>
                <a:lnTo>
                  <a:pt x="575" y="658"/>
                </a:lnTo>
                <a:lnTo>
                  <a:pt x="575" y="658"/>
                </a:lnTo>
                <a:close/>
              </a:path>
            </a:pathLst>
          </a:custGeom>
          <a:solidFill>
            <a:schemeClr val="tx2">
              <a:lumMod val="65000"/>
              <a:lumOff val="3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43" name="koks"/>
          <p:cNvGrpSpPr>
            <a:grpSpLocks noChangeAspect="1"/>
          </p:cNvGrpSpPr>
          <p:nvPr>
            <p:custDataLst>
              <p:tags r:id="rId33"/>
            </p:custDataLst>
          </p:nvPr>
        </p:nvGrpSpPr>
        <p:grpSpPr bwMode="auto">
          <a:xfrm>
            <a:off x="4331043" y="2176253"/>
            <a:ext cx="534987" cy="411163"/>
            <a:chOff x="3719" y="900"/>
            <a:chExt cx="337" cy="259"/>
          </a:xfrm>
          <a:solidFill>
            <a:schemeClr val="tx2"/>
          </a:solidFill>
        </p:grpSpPr>
        <p:sp>
          <p:nvSpPr>
            <p:cNvPr id="44" name="Freeform 33"/>
            <p:cNvSpPr>
              <a:spLocks noEditPoints="1"/>
            </p:cNvSpPr>
            <p:nvPr/>
          </p:nvSpPr>
          <p:spPr bwMode="auto">
            <a:xfrm>
              <a:off x="3858" y="900"/>
              <a:ext cx="126" cy="134"/>
            </a:xfrm>
            <a:custGeom>
              <a:avLst/>
              <a:gdLst>
                <a:gd name="T0" fmla="*/ 364 w 6031"/>
                <a:gd name="T1" fmla="*/ 1602 h 6411"/>
                <a:gd name="T2" fmla="*/ 687 w 6031"/>
                <a:gd name="T3" fmla="*/ 1922 h 6411"/>
                <a:gd name="T4" fmla="*/ 1434 w 6031"/>
                <a:gd name="T5" fmla="*/ 4555 h 6411"/>
                <a:gd name="T6" fmla="*/ 1442 w 6031"/>
                <a:gd name="T7" fmla="*/ 4588 h 6411"/>
                <a:gd name="T8" fmla="*/ 1448 w 6031"/>
                <a:gd name="T9" fmla="*/ 4621 h 6411"/>
                <a:gd name="T10" fmla="*/ 1451 w 6031"/>
                <a:gd name="T11" fmla="*/ 4656 h 6411"/>
                <a:gd name="T12" fmla="*/ 1452 w 6031"/>
                <a:gd name="T13" fmla="*/ 4690 h 6411"/>
                <a:gd name="T14" fmla="*/ 1450 w 6031"/>
                <a:gd name="T15" fmla="*/ 4723 h 6411"/>
                <a:gd name="T16" fmla="*/ 1446 w 6031"/>
                <a:gd name="T17" fmla="*/ 4757 h 6411"/>
                <a:gd name="T18" fmla="*/ 1440 w 6031"/>
                <a:gd name="T19" fmla="*/ 4791 h 6411"/>
                <a:gd name="T20" fmla="*/ 1431 w 6031"/>
                <a:gd name="T21" fmla="*/ 4823 h 6411"/>
                <a:gd name="T22" fmla="*/ 1419 w 6031"/>
                <a:gd name="T23" fmla="*/ 4855 h 6411"/>
                <a:gd name="T24" fmla="*/ 1405 w 6031"/>
                <a:gd name="T25" fmla="*/ 4887 h 6411"/>
                <a:gd name="T26" fmla="*/ 1389 w 6031"/>
                <a:gd name="T27" fmla="*/ 4917 h 6411"/>
                <a:gd name="T28" fmla="*/ 1371 w 6031"/>
                <a:gd name="T29" fmla="*/ 4946 h 6411"/>
                <a:gd name="T30" fmla="*/ 1349 w 6031"/>
                <a:gd name="T31" fmla="*/ 4974 h 6411"/>
                <a:gd name="T32" fmla="*/ 1325 w 6031"/>
                <a:gd name="T33" fmla="*/ 5001 h 6411"/>
                <a:gd name="T34" fmla="*/ 1300 w 6031"/>
                <a:gd name="T35" fmla="*/ 5026 h 6411"/>
                <a:gd name="T36" fmla="*/ 479 w 6031"/>
                <a:gd name="T37" fmla="*/ 5704 h 6411"/>
                <a:gd name="T38" fmla="*/ 3415 w 6031"/>
                <a:gd name="T39" fmla="*/ 6081 h 6411"/>
                <a:gd name="T40" fmla="*/ 3608 w 6031"/>
                <a:gd name="T41" fmla="*/ 4791 h 6411"/>
                <a:gd name="T42" fmla="*/ 3624 w 6031"/>
                <a:gd name="T43" fmla="*/ 4735 h 6411"/>
                <a:gd name="T44" fmla="*/ 3646 w 6031"/>
                <a:gd name="T45" fmla="*/ 4683 h 6411"/>
                <a:gd name="T46" fmla="*/ 3674 w 6031"/>
                <a:gd name="T47" fmla="*/ 4634 h 6411"/>
                <a:gd name="T48" fmla="*/ 3707 w 6031"/>
                <a:gd name="T49" fmla="*/ 4590 h 6411"/>
                <a:gd name="T50" fmla="*/ 3745 w 6031"/>
                <a:gd name="T51" fmla="*/ 4550 h 6411"/>
                <a:gd name="T52" fmla="*/ 3789 w 6031"/>
                <a:gd name="T53" fmla="*/ 4514 h 6411"/>
                <a:gd name="T54" fmla="*/ 3835 w 6031"/>
                <a:gd name="T55" fmla="*/ 4485 h 6411"/>
                <a:gd name="T56" fmla="*/ 6031 w 6031"/>
                <a:gd name="T57" fmla="*/ 3268 h 6411"/>
                <a:gd name="T58" fmla="*/ 1969 w 6031"/>
                <a:gd name="T59" fmla="*/ 0 h 6411"/>
                <a:gd name="T60" fmla="*/ 364 w 6031"/>
                <a:gd name="T61" fmla="*/ 1602 h 6411"/>
                <a:gd name="T62" fmla="*/ 419 w 6031"/>
                <a:gd name="T63" fmla="*/ 1621 h 6411"/>
                <a:gd name="T64" fmla="*/ 472 w 6031"/>
                <a:gd name="T65" fmla="*/ 1647 h 6411"/>
                <a:gd name="T66" fmla="*/ 520 w 6031"/>
                <a:gd name="T67" fmla="*/ 1679 h 6411"/>
                <a:gd name="T68" fmla="*/ 566 w 6031"/>
                <a:gd name="T69" fmla="*/ 1716 h 6411"/>
                <a:gd name="T70" fmla="*/ 605 w 6031"/>
                <a:gd name="T71" fmla="*/ 1761 h 6411"/>
                <a:gd name="T72" fmla="*/ 639 w 6031"/>
                <a:gd name="T73" fmla="*/ 1809 h 6411"/>
                <a:gd name="T74" fmla="*/ 654 w 6031"/>
                <a:gd name="T75" fmla="*/ 1835 h 6411"/>
                <a:gd name="T76" fmla="*/ 667 w 6031"/>
                <a:gd name="T77" fmla="*/ 1864 h 6411"/>
                <a:gd name="T78" fmla="*/ 678 w 6031"/>
                <a:gd name="T79" fmla="*/ 1892 h 6411"/>
                <a:gd name="T80" fmla="*/ 687 w 6031"/>
                <a:gd name="T81" fmla="*/ 1922 h 6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031" h="6411">
                  <a:moveTo>
                    <a:pt x="364" y="1602"/>
                  </a:moveTo>
                  <a:lnTo>
                    <a:pt x="364" y="1602"/>
                  </a:lnTo>
                  <a:lnTo>
                    <a:pt x="364" y="1602"/>
                  </a:lnTo>
                  <a:close/>
                  <a:moveTo>
                    <a:pt x="687" y="1922"/>
                  </a:moveTo>
                  <a:lnTo>
                    <a:pt x="1429" y="4539"/>
                  </a:lnTo>
                  <a:lnTo>
                    <a:pt x="1434" y="4555"/>
                  </a:lnTo>
                  <a:lnTo>
                    <a:pt x="1438" y="4572"/>
                  </a:lnTo>
                  <a:lnTo>
                    <a:pt x="1442" y="4588"/>
                  </a:lnTo>
                  <a:lnTo>
                    <a:pt x="1445" y="4605"/>
                  </a:lnTo>
                  <a:lnTo>
                    <a:pt x="1448" y="4621"/>
                  </a:lnTo>
                  <a:lnTo>
                    <a:pt x="1450" y="4638"/>
                  </a:lnTo>
                  <a:lnTo>
                    <a:pt x="1451" y="4656"/>
                  </a:lnTo>
                  <a:lnTo>
                    <a:pt x="1452" y="4673"/>
                  </a:lnTo>
                  <a:lnTo>
                    <a:pt x="1452" y="4690"/>
                  </a:lnTo>
                  <a:lnTo>
                    <a:pt x="1451" y="4706"/>
                  </a:lnTo>
                  <a:lnTo>
                    <a:pt x="1450" y="4723"/>
                  </a:lnTo>
                  <a:lnTo>
                    <a:pt x="1449" y="4740"/>
                  </a:lnTo>
                  <a:lnTo>
                    <a:pt x="1446" y="4757"/>
                  </a:lnTo>
                  <a:lnTo>
                    <a:pt x="1443" y="4774"/>
                  </a:lnTo>
                  <a:lnTo>
                    <a:pt x="1440" y="4791"/>
                  </a:lnTo>
                  <a:lnTo>
                    <a:pt x="1435" y="4807"/>
                  </a:lnTo>
                  <a:lnTo>
                    <a:pt x="1431" y="4823"/>
                  </a:lnTo>
                  <a:lnTo>
                    <a:pt x="1425" y="4839"/>
                  </a:lnTo>
                  <a:lnTo>
                    <a:pt x="1419" y="4855"/>
                  </a:lnTo>
                  <a:lnTo>
                    <a:pt x="1413" y="4871"/>
                  </a:lnTo>
                  <a:lnTo>
                    <a:pt x="1405" y="4887"/>
                  </a:lnTo>
                  <a:lnTo>
                    <a:pt x="1398" y="4902"/>
                  </a:lnTo>
                  <a:lnTo>
                    <a:pt x="1389" y="4917"/>
                  </a:lnTo>
                  <a:lnTo>
                    <a:pt x="1380" y="4932"/>
                  </a:lnTo>
                  <a:lnTo>
                    <a:pt x="1371" y="4946"/>
                  </a:lnTo>
                  <a:lnTo>
                    <a:pt x="1360" y="4960"/>
                  </a:lnTo>
                  <a:lnTo>
                    <a:pt x="1349" y="4974"/>
                  </a:lnTo>
                  <a:lnTo>
                    <a:pt x="1337" y="4988"/>
                  </a:lnTo>
                  <a:lnTo>
                    <a:pt x="1325" y="5001"/>
                  </a:lnTo>
                  <a:lnTo>
                    <a:pt x="1313" y="5014"/>
                  </a:lnTo>
                  <a:lnTo>
                    <a:pt x="1300" y="5026"/>
                  </a:lnTo>
                  <a:lnTo>
                    <a:pt x="1286" y="5037"/>
                  </a:lnTo>
                  <a:lnTo>
                    <a:pt x="479" y="5704"/>
                  </a:lnTo>
                  <a:lnTo>
                    <a:pt x="1370" y="6411"/>
                  </a:lnTo>
                  <a:lnTo>
                    <a:pt x="3415" y="6081"/>
                  </a:lnTo>
                  <a:lnTo>
                    <a:pt x="3603" y="4820"/>
                  </a:lnTo>
                  <a:lnTo>
                    <a:pt x="3608" y="4791"/>
                  </a:lnTo>
                  <a:lnTo>
                    <a:pt x="3615" y="4763"/>
                  </a:lnTo>
                  <a:lnTo>
                    <a:pt x="3624" y="4735"/>
                  </a:lnTo>
                  <a:lnTo>
                    <a:pt x="3634" y="4709"/>
                  </a:lnTo>
                  <a:lnTo>
                    <a:pt x="3646" y="4683"/>
                  </a:lnTo>
                  <a:lnTo>
                    <a:pt x="3659" y="4658"/>
                  </a:lnTo>
                  <a:lnTo>
                    <a:pt x="3674" y="4634"/>
                  </a:lnTo>
                  <a:lnTo>
                    <a:pt x="3690" y="4611"/>
                  </a:lnTo>
                  <a:lnTo>
                    <a:pt x="3707" y="4590"/>
                  </a:lnTo>
                  <a:lnTo>
                    <a:pt x="3726" y="4569"/>
                  </a:lnTo>
                  <a:lnTo>
                    <a:pt x="3745" y="4550"/>
                  </a:lnTo>
                  <a:lnTo>
                    <a:pt x="3767" y="4531"/>
                  </a:lnTo>
                  <a:lnTo>
                    <a:pt x="3789" y="4514"/>
                  </a:lnTo>
                  <a:lnTo>
                    <a:pt x="3811" y="4499"/>
                  </a:lnTo>
                  <a:lnTo>
                    <a:pt x="3835" y="4485"/>
                  </a:lnTo>
                  <a:lnTo>
                    <a:pt x="3860" y="4472"/>
                  </a:lnTo>
                  <a:lnTo>
                    <a:pt x="6031" y="3268"/>
                  </a:lnTo>
                  <a:lnTo>
                    <a:pt x="5362" y="910"/>
                  </a:lnTo>
                  <a:lnTo>
                    <a:pt x="1969" y="0"/>
                  </a:lnTo>
                  <a:lnTo>
                    <a:pt x="0" y="1504"/>
                  </a:lnTo>
                  <a:lnTo>
                    <a:pt x="364" y="1602"/>
                  </a:lnTo>
                  <a:lnTo>
                    <a:pt x="392" y="1611"/>
                  </a:lnTo>
                  <a:lnTo>
                    <a:pt x="419" y="1621"/>
                  </a:lnTo>
                  <a:lnTo>
                    <a:pt x="445" y="1634"/>
                  </a:lnTo>
                  <a:lnTo>
                    <a:pt x="472" y="1647"/>
                  </a:lnTo>
                  <a:lnTo>
                    <a:pt x="497" y="1662"/>
                  </a:lnTo>
                  <a:lnTo>
                    <a:pt x="520" y="1679"/>
                  </a:lnTo>
                  <a:lnTo>
                    <a:pt x="544" y="1697"/>
                  </a:lnTo>
                  <a:lnTo>
                    <a:pt x="566" y="1716"/>
                  </a:lnTo>
                  <a:lnTo>
                    <a:pt x="586" y="1738"/>
                  </a:lnTo>
                  <a:lnTo>
                    <a:pt x="605" y="1761"/>
                  </a:lnTo>
                  <a:lnTo>
                    <a:pt x="622" y="1784"/>
                  </a:lnTo>
                  <a:lnTo>
                    <a:pt x="639" y="1809"/>
                  </a:lnTo>
                  <a:lnTo>
                    <a:pt x="647" y="1822"/>
                  </a:lnTo>
                  <a:lnTo>
                    <a:pt x="654" y="1835"/>
                  </a:lnTo>
                  <a:lnTo>
                    <a:pt x="661" y="1850"/>
                  </a:lnTo>
                  <a:lnTo>
                    <a:pt x="667" y="1864"/>
                  </a:lnTo>
                  <a:lnTo>
                    <a:pt x="673" y="1878"/>
                  </a:lnTo>
                  <a:lnTo>
                    <a:pt x="678" y="1892"/>
                  </a:lnTo>
                  <a:lnTo>
                    <a:pt x="683" y="1907"/>
                  </a:lnTo>
                  <a:lnTo>
                    <a:pt x="687" y="19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5" name="Freeform 34"/>
            <p:cNvSpPr>
              <a:spLocks noEditPoints="1"/>
            </p:cNvSpPr>
            <p:nvPr/>
          </p:nvSpPr>
          <p:spPr bwMode="auto">
            <a:xfrm>
              <a:off x="3949" y="986"/>
              <a:ext cx="107" cy="126"/>
            </a:xfrm>
            <a:custGeom>
              <a:avLst/>
              <a:gdLst>
                <a:gd name="T0" fmla="*/ 114 w 5141"/>
                <a:gd name="T1" fmla="*/ 1926 h 6014"/>
                <a:gd name="T2" fmla="*/ 114 w 5141"/>
                <a:gd name="T3" fmla="*/ 1926 h 6014"/>
                <a:gd name="T4" fmla="*/ 114 w 5141"/>
                <a:gd name="T5" fmla="*/ 1926 h 6014"/>
                <a:gd name="T6" fmla="*/ 1929 w 5141"/>
                <a:gd name="T7" fmla="*/ 32 h 6014"/>
                <a:gd name="T8" fmla="*/ 122 w 5141"/>
                <a:gd name="T9" fmla="*/ 1034 h 6014"/>
                <a:gd name="T10" fmla="*/ 0 w 5141"/>
                <a:gd name="T11" fmla="*/ 1857 h 6014"/>
                <a:gd name="T12" fmla="*/ 15 w 5141"/>
                <a:gd name="T13" fmla="*/ 1864 h 6014"/>
                <a:gd name="T14" fmla="*/ 30 w 5141"/>
                <a:gd name="T15" fmla="*/ 1871 h 6014"/>
                <a:gd name="T16" fmla="*/ 46 w 5141"/>
                <a:gd name="T17" fmla="*/ 1879 h 6014"/>
                <a:gd name="T18" fmla="*/ 60 w 5141"/>
                <a:gd name="T19" fmla="*/ 1887 h 6014"/>
                <a:gd name="T20" fmla="*/ 74 w 5141"/>
                <a:gd name="T21" fmla="*/ 1896 h 6014"/>
                <a:gd name="T22" fmla="*/ 88 w 5141"/>
                <a:gd name="T23" fmla="*/ 1905 h 6014"/>
                <a:gd name="T24" fmla="*/ 102 w 5141"/>
                <a:gd name="T25" fmla="*/ 1915 h 6014"/>
                <a:gd name="T26" fmla="*/ 115 w 5141"/>
                <a:gd name="T27" fmla="*/ 1925 h 6014"/>
                <a:gd name="T28" fmla="*/ 1087 w 5141"/>
                <a:gd name="T29" fmla="*/ 2728 h 6014"/>
                <a:gd name="T30" fmla="*/ 1448 w 5141"/>
                <a:gd name="T31" fmla="*/ 3027 h 6014"/>
                <a:gd name="T32" fmla="*/ 1808 w 5141"/>
                <a:gd name="T33" fmla="*/ 3325 h 6014"/>
                <a:gd name="T34" fmla="*/ 1948 w 5141"/>
                <a:gd name="T35" fmla="*/ 3441 h 6014"/>
                <a:gd name="T36" fmla="*/ 1962 w 5141"/>
                <a:gd name="T37" fmla="*/ 3453 h 6014"/>
                <a:gd name="T38" fmla="*/ 1976 w 5141"/>
                <a:gd name="T39" fmla="*/ 3465 h 6014"/>
                <a:gd name="T40" fmla="*/ 1989 w 5141"/>
                <a:gd name="T41" fmla="*/ 3478 h 6014"/>
                <a:gd name="T42" fmla="*/ 2000 w 5141"/>
                <a:gd name="T43" fmla="*/ 3491 h 6014"/>
                <a:gd name="T44" fmla="*/ 2012 w 5141"/>
                <a:gd name="T45" fmla="*/ 3504 h 6014"/>
                <a:gd name="T46" fmla="*/ 2023 w 5141"/>
                <a:gd name="T47" fmla="*/ 3518 h 6014"/>
                <a:gd name="T48" fmla="*/ 2033 w 5141"/>
                <a:gd name="T49" fmla="*/ 3533 h 6014"/>
                <a:gd name="T50" fmla="*/ 2042 w 5141"/>
                <a:gd name="T51" fmla="*/ 3547 h 6014"/>
                <a:gd name="T52" fmla="*/ 2051 w 5141"/>
                <a:gd name="T53" fmla="*/ 3562 h 6014"/>
                <a:gd name="T54" fmla="*/ 2060 w 5141"/>
                <a:gd name="T55" fmla="*/ 3577 h 6014"/>
                <a:gd name="T56" fmla="*/ 2068 w 5141"/>
                <a:gd name="T57" fmla="*/ 3592 h 6014"/>
                <a:gd name="T58" fmla="*/ 2076 w 5141"/>
                <a:gd name="T59" fmla="*/ 3607 h 6014"/>
                <a:gd name="T60" fmla="*/ 2082 w 5141"/>
                <a:gd name="T61" fmla="*/ 3623 h 6014"/>
                <a:gd name="T62" fmla="*/ 2088 w 5141"/>
                <a:gd name="T63" fmla="*/ 3639 h 6014"/>
                <a:gd name="T64" fmla="*/ 2094 w 5141"/>
                <a:gd name="T65" fmla="*/ 3656 h 6014"/>
                <a:gd name="T66" fmla="*/ 2098 w 5141"/>
                <a:gd name="T67" fmla="*/ 3672 h 6014"/>
                <a:gd name="T68" fmla="*/ 2103 w 5141"/>
                <a:gd name="T69" fmla="*/ 3688 h 6014"/>
                <a:gd name="T70" fmla="*/ 2106 w 5141"/>
                <a:gd name="T71" fmla="*/ 3705 h 6014"/>
                <a:gd name="T72" fmla="*/ 2109 w 5141"/>
                <a:gd name="T73" fmla="*/ 3721 h 6014"/>
                <a:gd name="T74" fmla="*/ 2112 w 5141"/>
                <a:gd name="T75" fmla="*/ 3738 h 6014"/>
                <a:gd name="T76" fmla="*/ 2113 w 5141"/>
                <a:gd name="T77" fmla="*/ 3756 h 6014"/>
                <a:gd name="T78" fmla="*/ 2114 w 5141"/>
                <a:gd name="T79" fmla="*/ 3772 h 6014"/>
                <a:gd name="T80" fmla="*/ 2115 w 5141"/>
                <a:gd name="T81" fmla="*/ 3789 h 6014"/>
                <a:gd name="T82" fmla="*/ 2115 w 5141"/>
                <a:gd name="T83" fmla="*/ 3806 h 6014"/>
                <a:gd name="T84" fmla="*/ 2114 w 5141"/>
                <a:gd name="T85" fmla="*/ 3823 h 6014"/>
                <a:gd name="T86" fmla="*/ 2113 w 5141"/>
                <a:gd name="T87" fmla="*/ 3840 h 6014"/>
                <a:gd name="T88" fmla="*/ 2111 w 5141"/>
                <a:gd name="T89" fmla="*/ 3856 h 6014"/>
                <a:gd name="T90" fmla="*/ 2108 w 5141"/>
                <a:gd name="T91" fmla="*/ 3874 h 6014"/>
                <a:gd name="T92" fmla="*/ 2105 w 5141"/>
                <a:gd name="T93" fmla="*/ 3891 h 6014"/>
                <a:gd name="T94" fmla="*/ 2101 w 5141"/>
                <a:gd name="T95" fmla="*/ 3907 h 6014"/>
                <a:gd name="T96" fmla="*/ 2097 w 5141"/>
                <a:gd name="T97" fmla="*/ 3924 h 6014"/>
                <a:gd name="T98" fmla="*/ 2092 w 5141"/>
                <a:gd name="T99" fmla="*/ 3940 h 6014"/>
                <a:gd name="T100" fmla="*/ 1726 w 5141"/>
                <a:gd name="T101" fmla="*/ 5231 h 6014"/>
                <a:gd name="T102" fmla="*/ 2685 w 5141"/>
                <a:gd name="T103" fmla="*/ 6014 h 6014"/>
                <a:gd name="T104" fmla="*/ 4354 w 5141"/>
                <a:gd name="T105" fmla="*/ 5171 h 6014"/>
                <a:gd name="T106" fmla="*/ 5141 w 5141"/>
                <a:gd name="T107" fmla="*/ 2098 h 6014"/>
                <a:gd name="T108" fmla="*/ 4090 w 5141"/>
                <a:gd name="T109" fmla="*/ 254 h 6014"/>
                <a:gd name="T110" fmla="*/ 2907 w 5141"/>
                <a:gd name="T111" fmla="*/ 111 h 6014"/>
                <a:gd name="T112" fmla="*/ 2412 w 5141"/>
                <a:gd name="T113" fmla="*/ 51 h 6014"/>
                <a:gd name="T114" fmla="*/ 1988 w 5141"/>
                <a:gd name="T115" fmla="*/ 0 h 6014"/>
                <a:gd name="T116" fmla="*/ 1929 w 5141"/>
                <a:gd name="T117" fmla="*/ 32 h 60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141" h="6014">
                  <a:moveTo>
                    <a:pt x="114" y="1926"/>
                  </a:moveTo>
                  <a:lnTo>
                    <a:pt x="114" y="1926"/>
                  </a:lnTo>
                  <a:lnTo>
                    <a:pt x="114" y="1926"/>
                  </a:lnTo>
                  <a:close/>
                  <a:moveTo>
                    <a:pt x="1929" y="32"/>
                  </a:moveTo>
                  <a:lnTo>
                    <a:pt x="122" y="1034"/>
                  </a:lnTo>
                  <a:lnTo>
                    <a:pt x="0" y="1857"/>
                  </a:lnTo>
                  <a:lnTo>
                    <a:pt x="15" y="1864"/>
                  </a:lnTo>
                  <a:lnTo>
                    <a:pt x="30" y="1871"/>
                  </a:lnTo>
                  <a:lnTo>
                    <a:pt x="46" y="1879"/>
                  </a:lnTo>
                  <a:lnTo>
                    <a:pt x="60" y="1887"/>
                  </a:lnTo>
                  <a:lnTo>
                    <a:pt x="74" y="1896"/>
                  </a:lnTo>
                  <a:lnTo>
                    <a:pt x="88" y="1905"/>
                  </a:lnTo>
                  <a:lnTo>
                    <a:pt x="102" y="1915"/>
                  </a:lnTo>
                  <a:lnTo>
                    <a:pt x="115" y="1925"/>
                  </a:lnTo>
                  <a:lnTo>
                    <a:pt x="1087" y="2728"/>
                  </a:lnTo>
                  <a:lnTo>
                    <a:pt x="1448" y="3027"/>
                  </a:lnTo>
                  <a:lnTo>
                    <a:pt x="1808" y="3325"/>
                  </a:lnTo>
                  <a:lnTo>
                    <a:pt x="1948" y="3441"/>
                  </a:lnTo>
                  <a:lnTo>
                    <a:pt x="1962" y="3453"/>
                  </a:lnTo>
                  <a:lnTo>
                    <a:pt x="1976" y="3465"/>
                  </a:lnTo>
                  <a:lnTo>
                    <a:pt x="1989" y="3478"/>
                  </a:lnTo>
                  <a:lnTo>
                    <a:pt x="2000" y="3491"/>
                  </a:lnTo>
                  <a:lnTo>
                    <a:pt x="2012" y="3504"/>
                  </a:lnTo>
                  <a:lnTo>
                    <a:pt x="2023" y="3518"/>
                  </a:lnTo>
                  <a:lnTo>
                    <a:pt x="2033" y="3533"/>
                  </a:lnTo>
                  <a:lnTo>
                    <a:pt x="2042" y="3547"/>
                  </a:lnTo>
                  <a:lnTo>
                    <a:pt x="2051" y="3562"/>
                  </a:lnTo>
                  <a:lnTo>
                    <a:pt x="2060" y="3577"/>
                  </a:lnTo>
                  <a:lnTo>
                    <a:pt x="2068" y="3592"/>
                  </a:lnTo>
                  <a:lnTo>
                    <a:pt x="2076" y="3607"/>
                  </a:lnTo>
                  <a:lnTo>
                    <a:pt x="2082" y="3623"/>
                  </a:lnTo>
                  <a:lnTo>
                    <a:pt x="2088" y="3639"/>
                  </a:lnTo>
                  <a:lnTo>
                    <a:pt x="2094" y="3656"/>
                  </a:lnTo>
                  <a:lnTo>
                    <a:pt x="2098" y="3672"/>
                  </a:lnTo>
                  <a:lnTo>
                    <a:pt x="2103" y="3688"/>
                  </a:lnTo>
                  <a:lnTo>
                    <a:pt x="2106" y="3705"/>
                  </a:lnTo>
                  <a:lnTo>
                    <a:pt x="2109" y="3721"/>
                  </a:lnTo>
                  <a:lnTo>
                    <a:pt x="2112" y="3738"/>
                  </a:lnTo>
                  <a:lnTo>
                    <a:pt x="2113" y="3756"/>
                  </a:lnTo>
                  <a:lnTo>
                    <a:pt x="2114" y="3772"/>
                  </a:lnTo>
                  <a:lnTo>
                    <a:pt x="2115" y="3789"/>
                  </a:lnTo>
                  <a:lnTo>
                    <a:pt x="2115" y="3806"/>
                  </a:lnTo>
                  <a:lnTo>
                    <a:pt x="2114" y="3823"/>
                  </a:lnTo>
                  <a:lnTo>
                    <a:pt x="2113" y="3840"/>
                  </a:lnTo>
                  <a:lnTo>
                    <a:pt x="2111" y="3856"/>
                  </a:lnTo>
                  <a:lnTo>
                    <a:pt x="2108" y="3874"/>
                  </a:lnTo>
                  <a:lnTo>
                    <a:pt x="2105" y="3891"/>
                  </a:lnTo>
                  <a:lnTo>
                    <a:pt x="2101" y="3907"/>
                  </a:lnTo>
                  <a:lnTo>
                    <a:pt x="2097" y="3924"/>
                  </a:lnTo>
                  <a:lnTo>
                    <a:pt x="2092" y="3940"/>
                  </a:lnTo>
                  <a:lnTo>
                    <a:pt x="1726" y="5231"/>
                  </a:lnTo>
                  <a:lnTo>
                    <a:pt x="2685" y="6014"/>
                  </a:lnTo>
                  <a:lnTo>
                    <a:pt x="4354" y="5171"/>
                  </a:lnTo>
                  <a:lnTo>
                    <a:pt x="5141" y="2098"/>
                  </a:lnTo>
                  <a:lnTo>
                    <a:pt x="4090" y="254"/>
                  </a:lnTo>
                  <a:lnTo>
                    <a:pt x="2907" y="111"/>
                  </a:lnTo>
                  <a:lnTo>
                    <a:pt x="2412" y="51"/>
                  </a:lnTo>
                  <a:lnTo>
                    <a:pt x="1988" y="0"/>
                  </a:lnTo>
                  <a:lnTo>
                    <a:pt x="1929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6" name="Freeform 35"/>
            <p:cNvSpPr>
              <a:spLocks noEditPoints="1"/>
            </p:cNvSpPr>
            <p:nvPr/>
          </p:nvSpPr>
          <p:spPr bwMode="auto">
            <a:xfrm>
              <a:off x="3869" y="1044"/>
              <a:ext cx="103" cy="115"/>
            </a:xfrm>
            <a:custGeom>
              <a:avLst/>
              <a:gdLst>
                <a:gd name="T0" fmla="*/ 1377 w 4981"/>
                <a:gd name="T1" fmla="*/ 3747 h 5524"/>
                <a:gd name="T2" fmla="*/ 1377 w 4981"/>
                <a:gd name="T3" fmla="*/ 3747 h 5524"/>
                <a:gd name="T4" fmla="*/ 1377 w 4981"/>
                <a:gd name="T5" fmla="*/ 3747 h 5524"/>
                <a:gd name="T6" fmla="*/ 4576 w 4981"/>
                <a:gd name="T7" fmla="*/ 858 h 5524"/>
                <a:gd name="T8" fmla="*/ 4153 w 4981"/>
                <a:gd name="T9" fmla="*/ 508 h 5524"/>
                <a:gd name="T10" fmla="*/ 3695 w 4981"/>
                <a:gd name="T11" fmla="*/ 130 h 5524"/>
                <a:gd name="T12" fmla="*/ 3538 w 4981"/>
                <a:gd name="T13" fmla="*/ 0 h 5524"/>
                <a:gd name="T14" fmla="*/ 3241 w 4981"/>
                <a:gd name="T15" fmla="*/ 48 h 5524"/>
                <a:gd name="T16" fmla="*/ 2765 w 4981"/>
                <a:gd name="T17" fmla="*/ 125 h 5524"/>
                <a:gd name="T18" fmla="*/ 2269 w 4981"/>
                <a:gd name="T19" fmla="*/ 205 h 5524"/>
                <a:gd name="T20" fmla="*/ 1491 w 4981"/>
                <a:gd name="T21" fmla="*/ 330 h 5524"/>
                <a:gd name="T22" fmla="*/ 1502 w 4981"/>
                <a:gd name="T23" fmla="*/ 546 h 5524"/>
                <a:gd name="T24" fmla="*/ 1524 w 4981"/>
                <a:gd name="T25" fmla="*/ 1013 h 5524"/>
                <a:gd name="T26" fmla="*/ 1631 w 4981"/>
                <a:gd name="T27" fmla="*/ 3317 h 5524"/>
                <a:gd name="T28" fmla="*/ 1632 w 4981"/>
                <a:gd name="T29" fmla="*/ 3334 h 5524"/>
                <a:gd name="T30" fmla="*/ 1632 w 4981"/>
                <a:gd name="T31" fmla="*/ 3352 h 5524"/>
                <a:gd name="T32" fmla="*/ 1631 w 4981"/>
                <a:gd name="T33" fmla="*/ 3369 h 5524"/>
                <a:gd name="T34" fmla="*/ 1629 w 4981"/>
                <a:gd name="T35" fmla="*/ 3386 h 5524"/>
                <a:gd name="T36" fmla="*/ 1627 w 4981"/>
                <a:gd name="T37" fmla="*/ 3402 h 5524"/>
                <a:gd name="T38" fmla="*/ 1625 w 4981"/>
                <a:gd name="T39" fmla="*/ 3419 h 5524"/>
                <a:gd name="T40" fmla="*/ 1621 w 4981"/>
                <a:gd name="T41" fmla="*/ 3435 h 5524"/>
                <a:gd name="T42" fmla="*/ 1617 w 4981"/>
                <a:gd name="T43" fmla="*/ 3451 h 5524"/>
                <a:gd name="T44" fmla="*/ 1613 w 4981"/>
                <a:gd name="T45" fmla="*/ 3468 h 5524"/>
                <a:gd name="T46" fmla="*/ 1608 w 4981"/>
                <a:gd name="T47" fmla="*/ 3484 h 5524"/>
                <a:gd name="T48" fmla="*/ 1603 w 4981"/>
                <a:gd name="T49" fmla="*/ 3499 h 5524"/>
                <a:gd name="T50" fmla="*/ 1597 w 4981"/>
                <a:gd name="T51" fmla="*/ 3514 h 5524"/>
                <a:gd name="T52" fmla="*/ 1589 w 4981"/>
                <a:gd name="T53" fmla="*/ 3529 h 5524"/>
                <a:gd name="T54" fmla="*/ 1582 w 4981"/>
                <a:gd name="T55" fmla="*/ 3544 h 5524"/>
                <a:gd name="T56" fmla="*/ 1574 w 4981"/>
                <a:gd name="T57" fmla="*/ 3558 h 5524"/>
                <a:gd name="T58" fmla="*/ 1566 w 4981"/>
                <a:gd name="T59" fmla="*/ 3573 h 5524"/>
                <a:gd name="T60" fmla="*/ 1558 w 4981"/>
                <a:gd name="T61" fmla="*/ 3587 h 5524"/>
                <a:gd name="T62" fmla="*/ 1549 w 4981"/>
                <a:gd name="T63" fmla="*/ 3600 h 5524"/>
                <a:gd name="T64" fmla="*/ 1539 w 4981"/>
                <a:gd name="T65" fmla="*/ 3613 h 5524"/>
                <a:gd name="T66" fmla="*/ 1529 w 4981"/>
                <a:gd name="T67" fmla="*/ 3626 h 5524"/>
                <a:gd name="T68" fmla="*/ 1519 w 4981"/>
                <a:gd name="T69" fmla="*/ 3638 h 5524"/>
                <a:gd name="T70" fmla="*/ 1508 w 4981"/>
                <a:gd name="T71" fmla="*/ 3650 h 5524"/>
                <a:gd name="T72" fmla="*/ 1496 w 4981"/>
                <a:gd name="T73" fmla="*/ 3662 h 5524"/>
                <a:gd name="T74" fmla="*/ 1484 w 4981"/>
                <a:gd name="T75" fmla="*/ 3673 h 5524"/>
                <a:gd name="T76" fmla="*/ 1472 w 4981"/>
                <a:gd name="T77" fmla="*/ 3685 h 5524"/>
                <a:gd name="T78" fmla="*/ 1460 w 4981"/>
                <a:gd name="T79" fmla="*/ 3695 h 5524"/>
                <a:gd name="T80" fmla="*/ 1447 w 4981"/>
                <a:gd name="T81" fmla="*/ 3705 h 5524"/>
                <a:gd name="T82" fmla="*/ 1434 w 4981"/>
                <a:gd name="T83" fmla="*/ 3714 h 5524"/>
                <a:gd name="T84" fmla="*/ 1421 w 4981"/>
                <a:gd name="T85" fmla="*/ 3723 h 5524"/>
                <a:gd name="T86" fmla="*/ 1406 w 4981"/>
                <a:gd name="T87" fmla="*/ 3732 h 5524"/>
                <a:gd name="T88" fmla="*/ 1392 w 4981"/>
                <a:gd name="T89" fmla="*/ 3740 h 5524"/>
                <a:gd name="T90" fmla="*/ 1378 w 4981"/>
                <a:gd name="T91" fmla="*/ 3748 h 5524"/>
                <a:gd name="T92" fmla="*/ 0 w 4981"/>
                <a:gd name="T93" fmla="*/ 4433 h 5524"/>
                <a:gd name="T94" fmla="*/ 1428 w 4981"/>
                <a:gd name="T95" fmla="*/ 5524 h 5524"/>
                <a:gd name="T96" fmla="*/ 3945 w 4981"/>
                <a:gd name="T97" fmla="*/ 4849 h 5524"/>
                <a:gd name="T98" fmla="*/ 4527 w 4981"/>
                <a:gd name="T99" fmla="*/ 2796 h 5524"/>
                <a:gd name="T100" fmla="*/ 4664 w 4981"/>
                <a:gd name="T101" fmla="*/ 2313 h 5524"/>
                <a:gd name="T102" fmla="*/ 4800 w 4981"/>
                <a:gd name="T103" fmla="*/ 1832 h 5524"/>
                <a:gd name="T104" fmla="*/ 4981 w 4981"/>
                <a:gd name="T105" fmla="*/ 1193 h 5524"/>
                <a:gd name="T106" fmla="*/ 4937 w 4981"/>
                <a:gd name="T107" fmla="*/ 1156 h 5524"/>
                <a:gd name="T108" fmla="*/ 4576 w 4981"/>
                <a:gd name="T109" fmla="*/ 858 h 5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81" h="5524">
                  <a:moveTo>
                    <a:pt x="1377" y="3747"/>
                  </a:moveTo>
                  <a:lnTo>
                    <a:pt x="1377" y="3747"/>
                  </a:lnTo>
                  <a:lnTo>
                    <a:pt x="1377" y="3747"/>
                  </a:lnTo>
                  <a:close/>
                  <a:moveTo>
                    <a:pt x="4576" y="858"/>
                  </a:moveTo>
                  <a:lnTo>
                    <a:pt x="4153" y="508"/>
                  </a:lnTo>
                  <a:lnTo>
                    <a:pt x="3695" y="130"/>
                  </a:lnTo>
                  <a:lnTo>
                    <a:pt x="3538" y="0"/>
                  </a:lnTo>
                  <a:lnTo>
                    <a:pt x="3241" y="48"/>
                  </a:lnTo>
                  <a:lnTo>
                    <a:pt x="2765" y="125"/>
                  </a:lnTo>
                  <a:lnTo>
                    <a:pt x="2269" y="205"/>
                  </a:lnTo>
                  <a:lnTo>
                    <a:pt x="1491" y="330"/>
                  </a:lnTo>
                  <a:lnTo>
                    <a:pt x="1502" y="546"/>
                  </a:lnTo>
                  <a:lnTo>
                    <a:pt x="1524" y="1013"/>
                  </a:lnTo>
                  <a:lnTo>
                    <a:pt x="1631" y="3317"/>
                  </a:lnTo>
                  <a:lnTo>
                    <a:pt x="1632" y="3334"/>
                  </a:lnTo>
                  <a:lnTo>
                    <a:pt x="1632" y="3352"/>
                  </a:lnTo>
                  <a:lnTo>
                    <a:pt x="1631" y="3369"/>
                  </a:lnTo>
                  <a:lnTo>
                    <a:pt x="1629" y="3386"/>
                  </a:lnTo>
                  <a:lnTo>
                    <a:pt x="1627" y="3402"/>
                  </a:lnTo>
                  <a:lnTo>
                    <a:pt x="1625" y="3419"/>
                  </a:lnTo>
                  <a:lnTo>
                    <a:pt x="1621" y="3435"/>
                  </a:lnTo>
                  <a:lnTo>
                    <a:pt x="1617" y="3451"/>
                  </a:lnTo>
                  <a:lnTo>
                    <a:pt x="1613" y="3468"/>
                  </a:lnTo>
                  <a:lnTo>
                    <a:pt x="1608" y="3484"/>
                  </a:lnTo>
                  <a:lnTo>
                    <a:pt x="1603" y="3499"/>
                  </a:lnTo>
                  <a:lnTo>
                    <a:pt x="1597" y="3514"/>
                  </a:lnTo>
                  <a:lnTo>
                    <a:pt x="1589" y="3529"/>
                  </a:lnTo>
                  <a:lnTo>
                    <a:pt x="1582" y="3544"/>
                  </a:lnTo>
                  <a:lnTo>
                    <a:pt x="1574" y="3558"/>
                  </a:lnTo>
                  <a:lnTo>
                    <a:pt x="1566" y="3573"/>
                  </a:lnTo>
                  <a:lnTo>
                    <a:pt x="1558" y="3587"/>
                  </a:lnTo>
                  <a:lnTo>
                    <a:pt x="1549" y="3600"/>
                  </a:lnTo>
                  <a:lnTo>
                    <a:pt x="1539" y="3613"/>
                  </a:lnTo>
                  <a:lnTo>
                    <a:pt x="1529" y="3626"/>
                  </a:lnTo>
                  <a:lnTo>
                    <a:pt x="1519" y="3638"/>
                  </a:lnTo>
                  <a:lnTo>
                    <a:pt x="1508" y="3650"/>
                  </a:lnTo>
                  <a:lnTo>
                    <a:pt x="1496" y="3662"/>
                  </a:lnTo>
                  <a:lnTo>
                    <a:pt x="1484" y="3673"/>
                  </a:lnTo>
                  <a:lnTo>
                    <a:pt x="1472" y="3685"/>
                  </a:lnTo>
                  <a:lnTo>
                    <a:pt x="1460" y="3695"/>
                  </a:lnTo>
                  <a:lnTo>
                    <a:pt x="1447" y="3705"/>
                  </a:lnTo>
                  <a:lnTo>
                    <a:pt x="1434" y="3714"/>
                  </a:lnTo>
                  <a:lnTo>
                    <a:pt x="1421" y="3723"/>
                  </a:lnTo>
                  <a:lnTo>
                    <a:pt x="1406" y="3732"/>
                  </a:lnTo>
                  <a:lnTo>
                    <a:pt x="1392" y="3740"/>
                  </a:lnTo>
                  <a:lnTo>
                    <a:pt x="1378" y="3748"/>
                  </a:lnTo>
                  <a:lnTo>
                    <a:pt x="0" y="4433"/>
                  </a:lnTo>
                  <a:lnTo>
                    <a:pt x="1428" y="5524"/>
                  </a:lnTo>
                  <a:lnTo>
                    <a:pt x="3945" y="4849"/>
                  </a:lnTo>
                  <a:lnTo>
                    <a:pt x="4527" y="2796"/>
                  </a:lnTo>
                  <a:lnTo>
                    <a:pt x="4664" y="2313"/>
                  </a:lnTo>
                  <a:lnTo>
                    <a:pt x="4800" y="1832"/>
                  </a:lnTo>
                  <a:lnTo>
                    <a:pt x="4981" y="1193"/>
                  </a:lnTo>
                  <a:lnTo>
                    <a:pt x="4937" y="1156"/>
                  </a:lnTo>
                  <a:lnTo>
                    <a:pt x="4576" y="8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7" name="Freeform 36"/>
            <p:cNvSpPr>
              <a:spLocks noEditPoints="1"/>
            </p:cNvSpPr>
            <p:nvPr/>
          </p:nvSpPr>
          <p:spPr bwMode="auto">
            <a:xfrm>
              <a:off x="3719" y="1000"/>
              <a:ext cx="164" cy="156"/>
            </a:xfrm>
            <a:custGeom>
              <a:avLst/>
              <a:gdLst>
                <a:gd name="T0" fmla="*/ 4227 w 7885"/>
                <a:gd name="T1" fmla="*/ 941 h 7481"/>
                <a:gd name="T2" fmla="*/ 4227 w 7885"/>
                <a:gd name="T3" fmla="*/ 941 h 7481"/>
                <a:gd name="T4" fmla="*/ 4227 w 7885"/>
                <a:gd name="T5" fmla="*/ 941 h 7481"/>
                <a:gd name="T6" fmla="*/ 7885 w 7885"/>
                <a:gd name="T7" fmla="*/ 5176 h 7481"/>
                <a:gd name="T8" fmla="*/ 7782 w 7885"/>
                <a:gd name="T9" fmla="*/ 2980 h 7481"/>
                <a:gd name="T10" fmla="*/ 7764 w 7885"/>
                <a:gd name="T11" fmla="*/ 2594 h 7481"/>
                <a:gd name="T12" fmla="*/ 7762 w 7885"/>
                <a:gd name="T13" fmla="*/ 2568 h 7481"/>
                <a:gd name="T14" fmla="*/ 7676 w 7885"/>
                <a:gd name="T15" fmla="*/ 2499 h 7481"/>
                <a:gd name="T16" fmla="*/ 7320 w 7885"/>
                <a:gd name="T17" fmla="*/ 2217 h 7481"/>
                <a:gd name="T18" fmla="*/ 6961 w 7885"/>
                <a:gd name="T19" fmla="*/ 1931 h 7481"/>
                <a:gd name="T20" fmla="*/ 6246 w 7885"/>
                <a:gd name="T21" fmla="*/ 1364 h 7481"/>
                <a:gd name="T22" fmla="*/ 6092 w 7885"/>
                <a:gd name="T23" fmla="*/ 1242 h 7481"/>
                <a:gd name="T24" fmla="*/ 5512 w 7885"/>
                <a:gd name="T25" fmla="*/ 1148 h 7481"/>
                <a:gd name="T26" fmla="*/ 4227 w 7885"/>
                <a:gd name="T27" fmla="*/ 941 h 7481"/>
                <a:gd name="T28" fmla="*/ 4206 w 7885"/>
                <a:gd name="T29" fmla="*/ 937 h 7481"/>
                <a:gd name="T30" fmla="*/ 4186 w 7885"/>
                <a:gd name="T31" fmla="*/ 932 h 7481"/>
                <a:gd name="T32" fmla="*/ 4164 w 7885"/>
                <a:gd name="T33" fmla="*/ 926 h 7481"/>
                <a:gd name="T34" fmla="*/ 4144 w 7885"/>
                <a:gd name="T35" fmla="*/ 919 h 7481"/>
                <a:gd name="T36" fmla="*/ 4124 w 7885"/>
                <a:gd name="T37" fmla="*/ 912 h 7481"/>
                <a:gd name="T38" fmla="*/ 4104 w 7885"/>
                <a:gd name="T39" fmla="*/ 903 h 7481"/>
                <a:gd name="T40" fmla="*/ 4084 w 7885"/>
                <a:gd name="T41" fmla="*/ 893 h 7481"/>
                <a:gd name="T42" fmla="*/ 4065 w 7885"/>
                <a:gd name="T43" fmla="*/ 883 h 7481"/>
                <a:gd name="T44" fmla="*/ 4047 w 7885"/>
                <a:gd name="T45" fmla="*/ 871 h 7481"/>
                <a:gd name="T46" fmla="*/ 4029 w 7885"/>
                <a:gd name="T47" fmla="*/ 858 h 7481"/>
                <a:gd name="T48" fmla="*/ 4011 w 7885"/>
                <a:gd name="T49" fmla="*/ 844 h 7481"/>
                <a:gd name="T50" fmla="*/ 3993 w 7885"/>
                <a:gd name="T51" fmla="*/ 830 h 7481"/>
                <a:gd name="T52" fmla="*/ 3977 w 7885"/>
                <a:gd name="T53" fmla="*/ 815 h 7481"/>
                <a:gd name="T54" fmla="*/ 3962 w 7885"/>
                <a:gd name="T55" fmla="*/ 799 h 7481"/>
                <a:gd name="T56" fmla="*/ 3947 w 7885"/>
                <a:gd name="T57" fmla="*/ 782 h 7481"/>
                <a:gd name="T58" fmla="*/ 3933 w 7885"/>
                <a:gd name="T59" fmla="*/ 764 h 7481"/>
                <a:gd name="T60" fmla="*/ 3360 w 7885"/>
                <a:gd name="T61" fmla="*/ 0 h 7481"/>
                <a:gd name="T62" fmla="*/ 1496 w 7885"/>
                <a:gd name="T63" fmla="*/ 179 h 7481"/>
                <a:gd name="T64" fmla="*/ 0 w 7885"/>
                <a:gd name="T65" fmla="*/ 2653 h 7481"/>
                <a:gd name="T66" fmla="*/ 249 w 7885"/>
                <a:gd name="T67" fmla="*/ 5558 h 7481"/>
                <a:gd name="T68" fmla="*/ 3255 w 7885"/>
                <a:gd name="T69" fmla="*/ 7481 h 7481"/>
                <a:gd name="T70" fmla="*/ 5903 w 7885"/>
                <a:gd name="T71" fmla="*/ 6163 h 7481"/>
                <a:gd name="T72" fmla="*/ 6321 w 7885"/>
                <a:gd name="T73" fmla="*/ 5955 h 7481"/>
                <a:gd name="T74" fmla="*/ 6739 w 7885"/>
                <a:gd name="T75" fmla="*/ 5746 h 7481"/>
                <a:gd name="T76" fmla="*/ 7885 w 7885"/>
                <a:gd name="T77" fmla="*/ 5176 h 7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885" h="7481">
                  <a:moveTo>
                    <a:pt x="4227" y="941"/>
                  </a:moveTo>
                  <a:lnTo>
                    <a:pt x="4227" y="941"/>
                  </a:lnTo>
                  <a:lnTo>
                    <a:pt x="4227" y="941"/>
                  </a:lnTo>
                  <a:close/>
                  <a:moveTo>
                    <a:pt x="7885" y="5176"/>
                  </a:moveTo>
                  <a:lnTo>
                    <a:pt x="7782" y="2980"/>
                  </a:lnTo>
                  <a:lnTo>
                    <a:pt x="7764" y="2594"/>
                  </a:lnTo>
                  <a:lnTo>
                    <a:pt x="7762" y="2568"/>
                  </a:lnTo>
                  <a:lnTo>
                    <a:pt x="7676" y="2499"/>
                  </a:lnTo>
                  <a:lnTo>
                    <a:pt x="7320" y="2217"/>
                  </a:lnTo>
                  <a:lnTo>
                    <a:pt x="6961" y="1931"/>
                  </a:lnTo>
                  <a:lnTo>
                    <a:pt x="6246" y="1364"/>
                  </a:lnTo>
                  <a:lnTo>
                    <a:pt x="6092" y="1242"/>
                  </a:lnTo>
                  <a:lnTo>
                    <a:pt x="5512" y="1148"/>
                  </a:lnTo>
                  <a:lnTo>
                    <a:pt x="4227" y="941"/>
                  </a:lnTo>
                  <a:lnTo>
                    <a:pt x="4206" y="937"/>
                  </a:lnTo>
                  <a:lnTo>
                    <a:pt x="4186" y="932"/>
                  </a:lnTo>
                  <a:lnTo>
                    <a:pt x="4164" y="926"/>
                  </a:lnTo>
                  <a:lnTo>
                    <a:pt x="4144" y="919"/>
                  </a:lnTo>
                  <a:lnTo>
                    <a:pt x="4124" y="912"/>
                  </a:lnTo>
                  <a:lnTo>
                    <a:pt x="4104" y="903"/>
                  </a:lnTo>
                  <a:lnTo>
                    <a:pt x="4084" y="893"/>
                  </a:lnTo>
                  <a:lnTo>
                    <a:pt x="4065" y="883"/>
                  </a:lnTo>
                  <a:lnTo>
                    <a:pt x="4047" y="871"/>
                  </a:lnTo>
                  <a:lnTo>
                    <a:pt x="4029" y="858"/>
                  </a:lnTo>
                  <a:lnTo>
                    <a:pt x="4011" y="844"/>
                  </a:lnTo>
                  <a:lnTo>
                    <a:pt x="3993" y="830"/>
                  </a:lnTo>
                  <a:lnTo>
                    <a:pt x="3977" y="815"/>
                  </a:lnTo>
                  <a:lnTo>
                    <a:pt x="3962" y="799"/>
                  </a:lnTo>
                  <a:lnTo>
                    <a:pt x="3947" y="782"/>
                  </a:lnTo>
                  <a:lnTo>
                    <a:pt x="3933" y="764"/>
                  </a:lnTo>
                  <a:lnTo>
                    <a:pt x="3360" y="0"/>
                  </a:lnTo>
                  <a:lnTo>
                    <a:pt x="1496" y="179"/>
                  </a:lnTo>
                  <a:lnTo>
                    <a:pt x="0" y="2653"/>
                  </a:lnTo>
                  <a:lnTo>
                    <a:pt x="249" y="5558"/>
                  </a:lnTo>
                  <a:lnTo>
                    <a:pt x="3255" y="7481"/>
                  </a:lnTo>
                  <a:lnTo>
                    <a:pt x="5903" y="6163"/>
                  </a:lnTo>
                  <a:lnTo>
                    <a:pt x="6321" y="5955"/>
                  </a:lnTo>
                  <a:lnTo>
                    <a:pt x="6739" y="5746"/>
                  </a:lnTo>
                  <a:lnTo>
                    <a:pt x="7885" y="51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48" name="Freeform 37"/>
            <p:cNvSpPr>
              <a:spLocks/>
            </p:cNvSpPr>
            <p:nvPr/>
          </p:nvSpPr>
          <p:spPr bwMode="auto">
            <a:xfrm>
              <a:off x="3799" y="943"/>
              <a:ext cx="69" cy="64"/>
            </a:xfrm>
            <a:custGeom>
              <a:avLst/>
              <a:gdLst>
                <a:gd name="T0" fmla="*/ 2177 w 3299"/>
                <a:gd name="T1" fmla="*/ 3050 h 3108"/>
                <a:gd name="T2" fmla="*/ 2535 w 3299"/>
                <a:gd name="T3" fmla="*/ 3108 h 3108"/>
                <a:gd name="T4" fmla="*/ 2573 w 3299"/>
                <a:gd name="T5" fmla="*/ 3077 h 3108"/>
                <a:gd name="T6" fmla="*/ 3299 w 3299"/>
                <a:gd name="T7" fmla="*/ 2477 h 3108"/>
                <a:gd name="T8" fmla="*/ 2703 w 3299"/>
                <a:gd name="T9" fmla="*/ 379 h 3108"/>
                <a:gd name="T10" fmla="*/ 2345 w 3299"/>
                <a:gd name="T11" fmla="*/ 282 h 3108"/>
                <a:gd name="T12" fmla="*/ 1901 w 3299"/>
                <a:gd name="T13" fmla="*/ 163 h 3108"/>
                <a:gd name="T14" fmla="*/ 1456 w 3299"/>
                <a:gd name="T15" fmla="*/ 44 h 3108"/>
                <a:gd name="T16" fmla="*/ 1295 w 3299"/>
                <a:gd name="T17" fmla="*/ 0 h 3108"/>
                <a:gd name="T18" fmla="*/ 340 w 3299"/>
                <a:gd name="T19" fmla="*/ 730 h 3108"/>
                <a:gd name="T20" fmla="*/ 27 w 3299"/>
                <a:gd name="T21" fmla="*/ 1778 h 3108"/>
                <a:gd name="T22" fmla="*/ 0 w 3299"/>
                <a:gd name="T23" fmla="*/ 1869 h 3108"/>
                <a:gd name="T24" fmla="*/ 260 w 3299"/>
                <a:gd name="T25" fmla="*/ 2216 h 3108"/>
                <a:gd name="T26" fmla="*/ 625 w 3299"/>
                <a:gd name="T27" fmla="*/ 2702 h 3108"/>
                <a:gd name="T28" fmla="*/ 709 w 3299"/>
                <a:gd name="T29" fmla="*/ 2813 h 3108"/>
                <a:gd name="T30" fmla="*/ 779 w 3299"/>
                <a:gd name="T31" fmla="*/ 2825 h 3108"/>
                <a:gd name="T32" fmla="*/ 872 w 3299"/>
                <a:gd name="T33" fmla="*/ 2841 h 3108"/>
                <a:gd name="T34" fmla="*/ 1524 w 3299"/>
                <a:gd name="T35" fmla="*/ 2946 h 3108"/>
                <a:gd name="T36" fmla="*/ 1705 w 3299"/>
                <a:gd name="T37" fmla="*/ 2975 h 3108"/>
                <a:gd name="T38" fmla="*/ 2177 w 3299"/>
                <a:gd name="T39" fmla="*/ 3050 h 3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99" h="3108">
                  <a:moveTo>
                    <a:pt x="2177" y="3050"/>
                  </a:moveTo>
                  <a:lnTo>
                    <a:pt x="2535" y="3108"/>
                  </a:lnTo>
                  <a:lnTo>
                    <a:pt x="2573" y="3077"/>
                  </a:lnTo>
                  <a:lnTo>
                    <a:pt x="3299" y="2477"/>
                  </a:lnTo>
                  <a:lnTo>
                    <a:pt x="2703" y="379"/>
                  </a:lnTo>
                  <a:lnTo>
                    <a:pt x="2345" y="282"/>
                  </a:lnTo>
                  <a:lnTo>
                    <a:pt x="1901" y="163"/>
                  </a:lnTo>
                  <a:lnTo>
                    <a:pt x="1456" y="44"/>
                  </a:lnTo>
                  <a:lnTo>
                    <a:pt x="1295" y="0"/>
                  </a:lnTo>
                  <a:lnTo>
                    <a:pt x="340" y="730"/>
                  </a:lnTo>
                  <a:lnTo>
                    <a:pt x="27" y="1778"/>
                  </a:lnTo>
                  <a:lnTo>
                    <a:pt x="0" y="1869"/>
                  </a:lnTo>
                  <a:lnTo>
                    <a:pt x="260" y="2216"/>
                  </a:lnTo>
                  <a:lnTo>
                    <a:pt x="625" y="2702"/>
                  </a:lnTo>
                  <a:lnTo>
                    <a:pt x="709" y="2813"/>
                  </a:lnTo>
                  <a:lnTo>
                    <a:pt x="779" y="2825"/>
                  </a:lnTo>
                  <a:lnTo>
                    <a:pt x="872" y="2841"/>
                  </a:lnTo>
                  <a:lnTo>
                    <a:pt x="1524" y="2946"/>
                  </a:lnTo>
                  <a:lnTo>
                    <a:pt x="1705" y="2975"/>
                  </a:lnTo>
                  <a:lnTo>
                    <a:pt x="2177" y="30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49" name="bitum"/>
          <p:cNvSpPr>
            <a:spLocks noEditPoints="1"/>
          </p:cNvSpPr>
          <p:nvPr>
            <p:custDataLst>
              <p:tags r:id="rId34"/>
            </p:custDataLst>
          </p:nvPr>
        </p:nvSpPr>
        <p:spPr bwMode="auto">
          <a:xfrm>
            <a:off x="1055120" y="2132087"/>
            <a:ext cx="439738" cy="504825"/>
          </a:xfrm>
          <a:custGeom>
            <a:avLst/>
            <a:gdLst>
              <a:gd name="T0" fmla="*/ 938 w 14127"/>
              <a:gd name="T1" fmla="*/ 965 h 16218"/>
              <a:gd name="T2" fmla="*/ 1951 w 14127"/>
              <a:gd name="T3" fmla="*/ 1438 h 16218"/>
              <a:gd name="T4" fmla="*/ 1577 w 14127"/>
              <a:gd name="T5" fmla="*/ 5688 h 16218"/>
              <a:gd name="T6" fmla="*/ 1773 w 14127"/>
              <a:gd name="T7" fmla="*/ 6070 h 16218"/>
              <a:gd name="T8" fmla="*/ 1810 w 14127"/>
              <a:gd name="T9" fmla="*/ 10409 h 16218"/>
              <a:gd name="T10" fmla="*/ 1577 w 14127"/>
              <a:gd name="T11" fmla="*/ 10810 h 16218"/>
              <a:gd name="T12" fmla="*/ 1951 w 14127"/>
              <a:gd name="T13" fmla="*/ 14781 h 16218"/>
              <a:gd name="T14" fmla="*/ 951 w 14127"/>
              <a:gd name="T15" fmla="*/ 15266 h 16218"/>
              <a:gd name="T16" fmla="*/ 12482 w 14127"/>
              <a:gd name="T17" fmla="*/ 14974 h 16218"/>
              <a:gd name="T18" fmla="*/ 12216 w 14127"/>
              <a:gd name="T19" fmla="*/ 10958 h 16218"/>
              <a:gd name="T20" fmla="*/ 13138 w 14127"/>
              <a:gd name="T21" fmla="*/ 10494 h 16218"/>
              <a:gd name="T22" fmla="*/ 12119 w 14127"/>
              <a:gd name="T23" fmla="*/ 6342 h 16218"/>
              <a:gd name="T24" fmla="*/ 13224 w 14127"/>
              <a:gd name="T25" fmla="*/ 5839 h 16218"/>
              <a:gd name="T26" fmla="*/ 12104 w 14127"/>
              <a:gd name="T27" fmla="*/ 5305 h 16218"/>
              <a:gd name="T28" fmla="*/ 5702 w 14127"/>
              <a:gd name="T29" fmla="*/ 11633 h 16218"/>
              <a:gd name="T30" fmla="*/ 6684 w 14127"/>
              <a:gd name="T31" fmla="*/ 12427 h 16218"/>
              <a:gd name="T32" fmla="*/ 8169 w 14127"/>
              <a:gd name="T33" fmla="*/ 12009 h 16218"/>
              <a:gd name="T34" fmla="*/ 8118 w 14127"/>
              <a:gd name="T35" fmla="*/ 9588 h 16218"/>
              <a:gd name="T36" fmla="*/ 5767 w 14127"/>
              <a:gd name="T37" fmla="*/ 10087 h 16218"/>
              <a:gd name="T38" fmla="*/ 2397 w 14127"/>
              <a:gd name="T39" fmla="*/ 14848 h 16218"/>
              <a:gd name="T40" fmla="*/ 2425 w 14127"/>
              <a:gd name="T41" fmla="*/ 14446 h 16218"/>
              <a:gd name="T42" fmla="*/ 11969 w 14127"/>
              <a:gd name="T43" fmla="*/ 14700 h 16218"/>
              <a:gd name="T44" fmla="*/ 9212 w 14127"/>
              <a:gd name="T45" fmla="*/ 10834 h 16218"/>
              <a:gd name="T46" fmla="*/ 9318 w 14127"/>
              <a:gd name="T47" fmla="*/ 10446 h 16218"/>
              <a:gd name="T48" fmla="*/ 11724 w 14127"/>
              <a:gd name="T49" fmla="*/ 10755 h 16218"/>
              <a:gd name="T50" fmla="*/ 2430 w 14127"/>
              <a:gd name="T51" fmla="*/ 10802 h 16218"/>
              <a:gd name="T52" fmla="*/ 2611 w 14127"/>
              <a:gd name="T53" fmla="*/ 10441 h 16218"/>
              <a:gd name="T54" fmla="*/ 4951 w 14127"/>
              <a:gd name="T55" fmla="*/ 10793 h 16218"/>
              <a:gd name="T56" fmla="*/ 2310 w 14127"/>
              <a:gd name="T57" fmla="*/ 5991 h 16218"/>
              <a:gd name="T58" fmla="*/ 11782 w 14127"/>
              <a:gd name="T59" fmla="*/ 5669 h 16218"/>
              <a:gd name="T60" fmla="*/ 11907 w 14127"/>
              <a:gd name="T61" fmla="*/ 6052 h 16218"/>
              <a:gd name="T62" fmla="*/ 3941 w 14127"/>
              <a:gd name="T63" fmla="*/ 4055 h 16218"/>
              <a:gd name="T64" fmla="*/ 3769 w 14127"/>
              <a:gd name="T65" fmla="*/ 3281 h 16218"/>
              <a:gd name="T66" fmla="*/ 4140 w 14127"/>
              <a:gd name="T67" fmla="*/ 4456 h 16218"/>
              <a:gd name="T68" fmla="*/ 5229 w 14127"/>
              <a:gd name="T69" fmla="*/ 3370 h 16218"/>
              <a:gd name="T70" fmla="*/ 6273 w 14127"/>
              <a:gd name="T71" fmla="*/ 2719 h 16218"/>
              <a:gd name="T72" fmla="*/ 8496 w 14127"/>
              <a:gd name="T73" fmla="*/ 4412 h 16218"/>
              <a:gd name="T74" fmla="*/ 8246 w 14127"/>
              <a:gd name="T75" fmla="*/ 4146 h 16218"/>
              <a:gd name="T76" fmla="*/ 10811 w 14127"/>
              <a:gd name="T77" fmla="*/ 4630 h 16218"/>
              <a:gd name="T78" fmla="*/ 13273 w 14127"/>
              <a:gd name="T79" fmla="*/ 2119 h 16218"/>
              <a:gd name="T80" fmla="*/ 13849 w 14127"/>
              <a:gd name="T81" fmla="*/ 5138 h 16218"/>
              <a:gd name="T82" fmla="*/ 14060 w 14127"/>
              <a:gd name="T83" fmla="*/ 6227 h 16218"/>
              <a:gd name="T84" fmla="*/ 13273 w 14127"/>
              <a:gd name="T85" fmla="*/ 6906 h 16218"/>
              <a:gd name="T86" fmla="*/ 13849 w 14127"/>
              <a:gd name="T87" fmla="*/ 9924 h 16218"/>
              <a:gd name="T88" fmla="*/ 14053 w 14127"/>
              <a:gd name="T89" fmla="*/ 11035 h 16218"/>
              <a:gd name="T90" fmla="*/ 13167 w 14127"/>
              <a:gd name="T91" fmla="*/ 11707 h 16218"/>
              <a:gd name="T92" fmla="*/ 13914 w 14127"/>
              <a:gd name="T93" fmla="*/ 14509 h 16218"/>
              <a:gd name="T94" fmla="*/ 14009 w 14127"/>
              <a:gd name="T95" fmla="*/ 15635 h 16218"/>
              <a:gd name="T96" fmla="*/ 13057 w 14127"/>
              <a:gd name="T97" fmla="*/ 16218 h 16218"/>
              <a:gd name="T98" fmla="*/ 130 w 14127"/>
              <a:gd name="T99" fmla="*/ 15658 h 16218"/>
              <a:gd name="T100" fmla="*/ 198 w 14127"/>
              <a:gd name="T101" fmla="*/ 14529 h 16218"/>
              <a:gd name="T102" fmla="*/ 987 w 14127"/>
              <a:gd name="T103" fmla="*/ 11709 h 16218"/>
              <a:gd name="T104" fmla="*/ 84 w 14127"/>
              <a:gd name="T105" fmla="*/ 11060 h 16218"/>
              <a:gd name="T106" fmla="*/ 260 w 14127"/>
              <a:gd name="T107" fmla="*/ 9944 h 16218"/>
              <a:gd name="T108" fmla="*/ 880 w 14127"/>
              <a:gd name="T109" fmla="*/ 6910 h 16218"/>
              <a:gd name="T110" fmla="*/ 57 w 14127"/>
              <a:gd name="T111" fmla="*/ 6199 h 16218"/>
              <a:gd name="T112" fmla="*/ 313 w 14127"/>
              <a:gd name="T113" fmla="*/ 5102 h 16218"/>
              <a:gd name="T114" fmla="*/ 802 w 14127"/>
              <a:gd name="T115" fmla="*/ 2107 h 16218"/>
              <a:gd name="T116" fmla="*/ 27 w 14127"/>
              <a:gd name="T117" fmla="*/ 1311 h 16218"/>
              <a:gd name="T118" fmla="*/ 313 w 14127"/>
              <a:gd name="T119" fmla="*/ 313 h 16218"/>
              <a:gd name="T120" fmla="*/ 13375 w 14127"/>
              <a:gd name="T121" fmla="*/ 49 h 16218"/>
              <a:gd name="T122" fmla="*/ 14105 w 14127"/>
              <a:gd name="T123" fmla="*/ 855 h 16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4127" h="16218">
                <a:moveTo>
                  <a:pt x="13057" y="1239"/>
                </a:moveTo>
                <a:lnTo>
                  <a:pt x="13075" y="1239"/>
                </a:lnTo>
                <a:lnTo>
                  <a:pt x="13092" y="1236"/>
                </a:lnTo>
                <a:lnTo>
                  <a:pt x="13108" y="1232"/>
                </a:lnTo>
                <a:lnTo>
                  <a:pt x="13123" y="1226"/>
                </a:lnTo>
                <a:lnTo>
                  <a:pt x="13138" y="1219"/>
                </a:lnTo>
                <a:lnTo>
                  <a:pt x="13151" y="1211"/>
                </a:lnTo>
                <a:lnTo>
                  <a:pt x="13165" y="1202"/>
                </a:lnTo>
                <a:lnTo>
                  <a:pt x="13176" y="1191"/>
                </a:lnTo>
                <a:lnTo>
                  <a:pt x="13187" y="1180"/>
                </a:lnTo>
                <a:lnTo>
                  <a:pt x="13196" y="1167"/>
                </a:lnTo>
                <a:lnTo>
                  <a:pt x="13205" y="1152"/>
                </a:lnTo>
                <a:lnTo>
                  <a:pt x="13212" y="1137"/>
                </a:lnTo>
                <a:lnTo>
                  <a:pt x="13217" y="1121"/>
                </a:lnTo>
                <a:lnTo>
                  <a:pt x="13221" y="1105"/>
                </a:lnTo>
                <a:lnTo>
                  <a:pt x="13224" y="1088"/>
                </a:lnTo>
                <a:lnTo>
                  <a:pt x="13225" y="1069"/>
                </a:lnTo>
                <a:lnTo>
                  <a:pt x="13224" y="1052"/>
                </a:lnTo>
                <a:lnTo>
                  <a:pt x="13222" y="1036"/>
                </a:lnTo>
                <a:lnTo>
                  <a:pt x="13218" y="1020"/>
                </a:lnTo>
                <a:lnTo>
                  <a:pt x="13212" y="1003"/>
                </a:lnTo>
                <a:lnTo>
                  <a:pt x="13205" y="989"/>
                </a:lnTo>
                <a:lnTo>
                  <a:pt x="13197" y="976"/>
                </a:lnTo>
                <a:lnTo>
                  <a:pt x="13188" y="963"/>
                </a:lnTo>
                <a:lnTo>
                  <a:pt x="13178" y="952"/>
                </a:lnTo>
                <a:lnTo>
                  <a:pt x="13177" y="951"/>
                </a:lnTo>
                <a:lnTo>
                  <a:pt x="13176" y="952"/>
                </a:lnTo>
                <a:lnTo>
                  <a:pt x="13164" y="941"/>
                </a:lnTo>
                <a:lnTo>
                  <a:pt x="13151" y="932"/>
                </a:lnTo>
                <a:lnTo>
                  <a:pt x="13137" y="922"/>
                </a:lnTo>
                <a:lnTo>
                  <a:pt x="13123" y="915"/>
                </a:lnTo>
                <a:lnTo>
                  <a:pt x="13107" y="910"/>
                </a:lnTo>
                <a:lnTo>
                  <a:pt x="13092" y="906"/>
                </a:lnTo>
                <a:lnTo>
                  <a:pt x="13074" y="903"/>
                </a:lnTo>
                <a:lnTo>
                  <a:pt x="13057" y="902"/>
                </a:lnTo>
                <a:lnTo>
                  <a:pt x="1070" y="902"/>
                </a:lnTo>
                <a:lnTo>
                  <a:pt x="1053" y="903"/>
                </a:lnTo>
                <a:lnTo>
                  <a:pt x="1035" y="906"/>
                </a:lnTo>
                <a:lnTo>
                  <a:pt x="1020" y="910"/>
                </a:lnTo>
                <a:lnTo>
                  <a:pt x="1004" y="915"/>
                </a:lnTo>
                <a:lnTo>
                  <a:pt x="990" y="922"/>
                </a:lnTo>
                <a:lnTo>
                  <a:pt x="976" y="932"/>
                </a:lnTo>
                <a:lnTo>
                  <a:pt x="963" y="941"/>
                </a:lnTo>
                <a:lnTo>
                  <a:pt x="951" y="952"/>
                </a:lnTo>
                <a:lnTo>
                  <a:pt x="938" y="965"/>
                </a:lnTo>
                <a:lnTo>
                  <a:pt x="930" y="975"/>
                </a:lnTo>
                <a:lnTo>
                  <a:pt x="923" y="987"/>
                </a:lnTo>
                <a:lnTo>
                  <a:pt x="917" y="999"/>
                </a:lnTo>
                <a:lnTo>
                  <a:pt x="912" y="1013"/>
                </a:lnTo>
                <a:lnTo>
                  <a:pt x="908" y="1026"/>
                </a:lnTo>
                <a:lnTo>
                  <a:pt x="905" y="1040"/>
                </a:lnTo>
                <a:lnTo>
                  <a:pt x="903" y="1055"/>
                </a:lnTo>
                <a:lnTo>
                  <a:pt x="902" y="1069"/>
                </a:lnTo>
                <a:lnTo>
                  <a:pt x="903" y="1088"/>
                </a:lnTo>
                <a:lnTo>
                  <a:pt x="906" y="1105"/>
                </a:lnTo>
                <a:lnTo>
                  <a:pt x="910" y="1121"/>
                </a:lnTo>
                <a:lnTo>
                  <a:pt x="915" y="1137"/>
                </a:lnTo>
                <a:lnTo>
                  <a:pt x="922" y="1152"/>
                </a:lnTo>
                <a:lnTo>
                  <a:pt x="931" y="1167"/>
                </a:lnTo>
                <a:lnTo>
                  <a:pt x="940" y="1180"/>
                </a:lnTo>
                <a:lnTo>
                  <a:pt x="951" y="1191"/>
                </a:lnTo>
                <a:lnTo>
                  <a:pt x="962" y="1202"/>
                </a:lnTo>
                <a:lnTo>
                  <a:pt x="976" y="1211"/>
                </a:lnTo>
                <a:lnTo>
                  <a:pt x="989" y="1219"/>
                </a:lnTo>
                <a:lnTo>
                  <a:pt x="1004" y="1226"/>
                </a:lnTo>
                <a:lnTo>
                  <a:pt x="1019" y="1232"/>
                </a:lnTo>
                <a:lnTo>
                  <a:pt x="1035" y="1236"/>
                </a:lnTo>
                <a:lnTo>
                  <a:pt x="1052" y="1239"/>
                </a:lnTo>
                <a:lnTo>
                  <a:pt x="1070" y="1239"/>
                </a:lnTo>
                <a:lnTo>
                  <a:pt x="1577" y="1239"/>
                </a:lnTo>
                <a:lnTo>
                  <a:pt x="1601" y="1240"/>
                </a:lnTo>
                <a:lnTo>
                  <a:pt x="1623" y="1242"/>
                </a:lnTo>
                <a:lnTo>
                  <a:pt x="1645" y="1245"/>
                </a:lnTo>
                <a:lnTo>
                  <a:pt x="1667" y="1248"/>
                </a:lnTo>
                <a:lnTo>
                  <a:pt x="1690" y="1253"/>
                </a:lnTo>
                <a:lnTo>
                  <a:pt x="1711" y="1259"/>
                </a:lnTo>
                <a:lnTo>
                  <a:pt x="1732" y="1266"/>
                </a:lnTo>
                <a:lnTo>
                  <a:pt x="1753" y="1274"/>
                </a:lnTo>
                <a:lnTo>
                  <a:pt x="1773" y="1283"/>
                </a:lnTo>
                <a:lnTo>
                  <a:pt x="1792" y="1293"/>
                </a:lnTo>
                <a:lnTo>
                  <a:pt x="1810" y="1305"/>
                </a:lnTo>
                <a:lnTo>
                  <a:pt x="1829" y="1316"/>
                </a:lnTo>
                <a:lnTo>
                  <a:pt x="1847" y="1329"/>
                </a:lnTo>
                <a:lnTo>
                  <a:pt x="1864" y="1342"/>
                </a:lnTo>
                <a:lnTo>
                  <a:pt x="1880" y="1356"/>
                </a:lnTo>
                <a:lnTo>
                  <a:pt x="1895" y="1371"/>
                </a:lnTo>
                <a:lnTo>
                  <a:pt x="1911" y="1387"/>
                </a:lnTo>
                <a:lnTo>
                  <a:pt x="1925" y="1403"/>
                </a:lnTo>
                <a:lnTo>
                  <a:pt x="1938" y="1420"/>
                </a:lnTo>
                <a:lnTo>
                  <a:pt x="1951" y="1438"/>
                </a:lnTo>
                <a:lnTo>
                  <a:pt x="1962" y="1457"/>
                </a:lnTo>
                <a:lnTo>
                  <a:pt x="1973" y="1475"/>
                </a:lnTo>
                <a:lnTo>
                  <a:pt x="1984" y="1495"/>
                </a:lnTo>
                <a:lnTo>
                  <a:pt x="1993" y="1514"/>
                </a:lnTo>
                <a:lnTo>
                  <a:pt x="2001" y="1536"/>
                </a:lnTo>
                <a:lnTo>
                  <a:pt x="2008" y="1556"/>
                </a:lnTo>
                <a:lnTo>
                  <a:pt x="2014" y="1577"/>
                </a:lnTo>
                <a:lnTo>
                  <a:pt x="2019" y="1600"/>
                </a:lnTo>
                <a:lnTo>
                  <a:pt x="2023" y="1622"/>
                </a:lnTo>
                <a:lnTo>
                  <a:pt x="2025" y="1644"/>
                </a:lnTo>
                <a:lnTo>
                  <a:pt x="2027" y="1667"/>
                </a:lnTo>
                <a:lnTo>
                  <a:pt x="2028" y="1691"/>
                </a:lnTo>
                <a:lnTo>
                  <a:pt x="2028" y="5236"/>
                </a:lnTo>
                <a:lnTo>
                  <a:pt x="2027" y="5260"/>
                </a:lnTo>
                <a:lnTo>
                  <a:pt x="2025" y="5283"/>
                </a:lnTo>
                <a:lnTo>
                  <a:pt x="2023" y="5305"/>
                </a:lnTo>
                <a:lnTo>
                  <a:pt x="2019" y="5328"/>
                </a:lnTo>
                <a:lnTo>
                  <a:pt x="2014" y="5350"/>
                </a:lnTo>
                <a:lnTo>
                  <a:pt x="2008" y="5371"/>
                </a:lnTo>
                <a:lnTo>
                  <a:pt x="2001" y="5391"/>
                </a:lnTo>
                <a:lnTo>
                  <a:pt x="1993" y="5413"/>
                </a:lnTo>
                <a:lnTo>
                  <a:pt x="1984" y="5432"/>
                </a:lnTo>
                <a:lnTo>
                  <a:pt x="1973" y="5452"/>
                </a:lnTo>
                <a:lnTo>
                  <a:pt x="1962" y="5471"/>
                </a:lnTo>
                <a:lnTo>
                  <a:pt x="1951" y="5489"/>
                </a:lnTo>
                <a:lnTo>
                  <a:pt x="1938" y="5507"/>
                </a:lnTo>
                <a:lnTo>
                  <a:pt x="1925" y="5524"/>
                </a:lnTo>
                <a:lnTo>
                  <a:pt x="1911" y="5540"/>
                </a:lnTo>
                <a:lnTo>
                  <a:pt x="1895" y="5556"/>
                </a:lnTo>
                <a:lnTo>
                  <a:pt x="1880" y="5571"/>
                </a:lnTo>
                <a:lnTo>
                  <a:pt x="1864" y="5585"/>
                </a:lnTo>
                <a:lnTo>
                  <a:pt x="1847" y="5598"/>
                </a:lnTo>
                <a:lnTo>
                  <a:pt x="1829" y="5610"/>
                </a:lnTo>
                <a:lnTo>
                  <a:pt x="1810" y="5623"/>
                </a:lnTo>
                <a:lnTo>
                  <a:pt x="1792" y="5634"/>
                </a:lnTo>
                <a:lnTo>
                  <a:pt x="1773" y="5644"/>
                </a:lnTo>
                <a:lnTo>
                  <a:pt x="1753" y="5653"/>
                </a:lnTo>
                <a:lnTo>
                  <a:pt x="1732" y="5661"/>
                </a:lnTo>
                <a:lnTo>
                  <a:pt x="1711" y="5668"/>
                </a:lnTo>
                <a:lnTo>
                  <a:pt x="1690" y="5674"/>
                </a:lnTo>
                <a:lnTo>
                  <a:pt x="1667" y="5678"/>
                </a:lnTo>
                <a:lnTo>
                  <a:pt x="1645" y="5682"/>
                </a:lnTo>
                <a:lnTo>
                  <a:pt x="1623" y="5685"/>
                </a:lnTo>
                <a:lnTo>
                  <a:pt x="1601" y="5687"/>
                </a:lnTo>
                <a:lnTo>
                  <a:pt x="1577" y="5688"/>
                </a:lnTo>
                <a:lnTo>
                  <a:pt x="1070" y="5688"/>
                </a:lnTo>
                <a:lnTo>
                  <a:pt x="1052" y="5688"/>
                </a:lnTo>
                <a:lnTo>
                  <a:pt x="1035" y="5692"/>
                </a:lnTo>
                <a:lnTo>
                  <a:pt x="1019" y="5696"/>
                </a:lnTo>
                <a:lnTo>
                  <a:pt x="1004" y="5701"/>
                </a:lnTo>
                <a:lnTo>
                  <a:pt x="989" y="5708"/>
                </a:lnTo>
                <a:lnTo>
                  <a:pt x="976" y="5716"/>
                </a:lnTo>
                <a:lnTo>
                  <a:pt x="962" y="5725"/>
                </a:lnTo>
                <a:lnTo>
                  <a:pt x="951" y="5736"/>
                </a:lnTo>
                <a:lnTo>
                  <a:pt x="940" y="5747"/>
                </a:lnTo>
                <a:lnTo>
                  <a:pt x="931" y="5760"/>
                </a:lnTo>
                <a:lnTo>
                  <a:pt x="922" y="5775"/>
                </a:lnTo>
                <a:lnTo>
                  <a:pt x="915" y="5790"/>
                </a:lnTo>
                <a:lnTo>
                  <a:pt x="910" y="5806"/>
                </a:lnTo>
                <a:lnTo>
                  <a:pt x="906" y="5822"/>
                </a:lnTo>
                <a:lnTo>
                  <a:pt x="903" y="5839"/>
                </a:lnTo>
                <a:lnTo>
                  <a:pt x="902" y="5858"/>
                </a:lnTo>
                <a:lnTo>
                  <a:pt x="903" y="5875"/>
                </a:lnTo>
                <a:lnTo>
                  <a:pt x="905" y="5891"/>
                </a:lnTo>
                <a:lnTo>
                  <a:pt x="909" y="5907"/>
                </a:lnTo>
                <a:lnTo>
                  <a:pt x="915" y="5924"/>
                </a:lnTo>
                <a:lnTo>
                  <a:pt x="922" y="5938"/>
                </a:lnTo>
                <a:lnTo>
                  <a:pt x="930" y="5951"/>
                </a:lnTo>
                <a:lnTo>
                  <a:pt x="939" y="5964"/>
                </a:lnTo>
                <a:lnTo>
                  <a:pt x="949" y="5975"/>
                </a:lnTo>
                <a:lnTo>
                  <a:pt x="950" y="5976"/>
                </a:lnTo>
                <a:lnTo>
                  <a:pt x="951" y="5975"/>
                </a:lnTo>
                <a:lnTo>
                  <a:pt x="963" y="5986"/>
                </a:lnTo>
                <a:lnTo>
                  <a:pt x="976" y="5996"/>
                </a:lnTo>
                <a:lnTo>
                  <a:pt x="990" y="6005"/>
                </a:lnTo>
                <a:lnTo>
                  <a:pt x="1004" y="6012"/>
                </a:lnTo>
                <a:lnTo>
                  <a:pt x="1020" y="6017"/>
                </a:lnTo>
                <a:lnTo>
                  <a:pt x="1035" y="6021"/>
                </a:lnTo>
                <a:lnTo>
                  <a:pt x="1053" y="6024"/>
                </a:lnTo>
                <a:lnTo>
                  <a:pt x="1070" y="6025"/>
                </a:lnTo>
                <a:lnTo>
                  <a:pt x="1577" y="6025"/>
                </a:lnTo>
                <a:lnTo>
                  <a:pt x="1601" y="6025"/>
                </a:lnTo>
                <a:lnTo>
                  <a:pt x="1623" y="6027"/>
                </a:lnTo>
                <a:lnTo>
                  <a:pt x="1645" y="6030"/>
                </a:lnTo>
                <a:lnTo>
                  <a:pt x="1667" y="6034"/>
                </a:lnTo>
                <a:lnTo>
                  <a:pt x="1690" y="6039"/>
                </a:lnTo>
                <a:lnTo>
                  <a:pt x="1711" y="6045"/>
                </a:lnTo>
                <a:lnTo>
                  <a:pt x="1732" y="6052"/>
                </a:lnTo>
                <a:lnTo>
                  <a:pt x="1753" y="6060"/>
                </a:lnTo>
                <a:lnTo>
                  <a:pt x="1773" y="6070"/>
                </a:lnTo>
                <a:lnTo>
                  <a:pt x="1792" y="6080"/>
                </a:lnTo>
                <a:lnTo>
                  <a:pt x="1810" y="6090"/>
                </a:lnTo>
                <a:lnTo>
                  <a:pt x="1829" y="6102"/>
                </a:lnTo>
                <a:lnTo>
                  <a:pt x="1847" y="6114"/>
                </a:lnTo>
                <a:lnTo>
                  <a:pt x="1864" y="6127"/>
                </a:lnTo>
                <a:lnTo>
                  <a:pt x="1880" y="6142"/>
                </a:lnTo>
                <a:lnTo>
                  <a:pt x="1895" y="6157"/>
                </a:lnTo>
                <a:lnTo>
                  <a:pt x="1911" y="6173"/>
                </a:lnTo>
                <a:lnTo>
                  <a:pt x="1925" y="6189"/>
                </a:lnTo>
                <a:lnTo>
                  <a:pt x="1938" y="6206"/>
                </a:lnTo>
                <a:lnTo>
                  <a:pt x="1951" y="6224"/>
                </a:lnTo>
                <a:lnTo>
                  <a:pt x="1962" y="6242"/>
                </a:lnTo>
                <a:lnTo>
                  <a:pt x="1973" y="6261"/>
                </a:lnTo>
                <a:lnTo>
                  <a:pt x="1984" y="6280"/>
                </a:lnTo>
                <a:lnTo>
                  <a:pt x="1993" y="6301"/>
                </a:lnTo>
                <a:lnTo>
                  <a:pt x="2001" y="6321"/>
                </a:lnTo>
                <a:lnTo>
                  <a:pt x="2008" y="6342"/>
                </a:lnTo>
                <a:lnTo>
                  <a:pt x="2014" y="6364"/>
                </a:lnTo>
                <a:lnTo>
                  <a:pt x="2019" y="6385"/>
                </a:lnTo>
                <a:lnTo>
                  <a:pt x="2023" y="6407"/>
                </a:lnTo>
                <a:lnTo>
                  <a:pt x="2025" y="6429"/>
                </a:lnTo>
                <a:lnTo>
                  <a:pt x="2027" y="6453"/>
                </a:lnTo>
                <a:lnTo>
                  <a:pt x="2028" y="6476"/>
                </a:lnTo>
                <a:lnTo>
                  <a:pt x="2028" y="10023"/>
                </a:lnTo>
                <a:lnTo>
                  <a:pt x="2027" y="10046"/>
                </a:lnTo>
                <a:lnTo>
                  <a:pt x="2025" y="10068"/>
                </a:lnTo>
                <a:lnTo>
                  <a:pt x="2023" y="10092"/>
                </a:lnTo>
                <a:lnTo>
                  <a:pt x="2019" y="10114"/>
                </a:lnTo>
                <a:lnTo>
                  <a:pt x="2014" y="10135"/>
                </a:lnTo>
                <a:lnTo>
                  <a:pt x="2008" y="10157"/>
                </a:lnTo>
                <a:lnTo>
                  <a:pt x="2001" y="10178"/>
                </a:lnTo>
                <a:lnTo>
                  <a:pt x="1993" y="10198"/>
                </a:lnTo>
                <a:lnTo>
                  <a:pt x="1984" y="10218"/>
                </a:lnTo>
                <a:lnTo>
                  <a:pt x="1973" y="10238"/>
                </a:lnTo>
                <a:lnTo>
                  <a:pt x="1962" y="10257"/>
                </a:lnTo>
                <a:lnTo>
                  <a:pt x="1951" y="10275"/>
                </a:lnTo>
                <a:lnTo>
                  <a:pt x="1938" y="10292"/>
                </a:lnTo>
                <a:lnTo>
                  <a:pt x="1925" y="10310"/>
                </a:lnTo>
                <a:lnTo>
                  <a:pt x="1911" y="10326"/>
                </a:lnTo>
                <a:lnTo>
                  <a:pt x="1895" y="10342"/>
                </a:lnTo>
                <a:lnTo>
                  <a:pt x="1880" y="10356"/>
                </a:lnTo>
                <a:lnTo>
                  <a:pt x="1864" y="10370"/>
                </a:lnTo>
                <a:lnTo>
                  <a:pt x="1847" y="10385"/>
                </a:lnTo>
                <a:lnTo>
                  <a:pt x="1829" y="10397"/>
                </a:lnTo>
                <a:lnTo>
                  <a:pt x="1810" y="10409"/>
                </a:lnTo>
                <a:lnTo>
                  <a:pt x="1792" y="10419"/>
                </a:lnTo>
                <a:lnTo>
                  <a:pt x="1773" y="10429"/>
                </a:lnTo>
                <a:lnTo>
                  <a:pt x="1753" y="10438"/>
                </a:lnTo>
                <a:lnTo>
                  <a:pt x="1732" y="10446"/>
                </a:lnTo>
                <a:lnTo>
                  <a:pt x="1711" y="10454"/>
                </a:lnTo>
                <a:lnTo>
                  <a:pt x="1690" y="10460"/>
                </a:lnTo>
                <a:lnTo>
                  <a:pt x="1667" y="10465"/>
                </a:lnTo>
                <a:lnTo>
                  <a:pt x="1645" y="10469"/>
                </a:lnTo>
                <a:lnTo>
                  <a:pt x="1623" y="10472"/>
                </a:lnTo>
                <a:lnTo>
                  <a:pt x="1601" y="10473"/>
                </a:lnTo>
                <a:lnTo>
                  <a:pt x="1577" y="10474"/>
                </a:lnTo>
                <a:lnTo>
                  <a:pt x="1070" y="10474"/>
                </a:lnTo>
                <a:lnTo>
                  <a:pt x="1052" y="10475"/>
                </a:lnTo>
                <a:lnTo>
                  <a:pt x="1035" y="10477"/>
                </a:lnTo>
                <a:lnTo>
                  <a:pt x="1019" y="10481"/>
                </a:lnTo>
                <a:lnTo>
                  <a:pt x="1004" y="10487"/>
                </a:lnTo>
                <a:lnTo>
                  <a:pt x="989" y="10494"/>
                </a:lnTo>
                <a:lnTo>
                  <a:pt x="976" y="10502"/>
                </a:lnTo>
                <a:lnTo>
                  <a:pt x="962" y="10511"/>
                </a:lnTo>
                <a:lnTo>
                  <a:pt x="951" y="10521"/>
                </a:lnTo>
                <a:lnTo>
                  <a:pt x="940" y="10534"/>
                </a:lnTo>
                <a:lnTo>
                  <a:pt x="931" y="10547"/>
                </a:lnTo>
                <a:lnTo>
                  <a:pt x="922" y="10561"/>
                </a:lnTo>
                <a:lnTo>
                  <a:pt x="915" y="10575"/>
                </a:lnTo>
                <a:lnTo>
                  <a:pt x="910" y="10591"/>
                </a:lnTo>
                <a:lnTo>
                  <a:pt x="906" y="10608"/>
                </a:lnTo>
                <a:lnTo>
                  <a:pt x="903" y="10625"/>
                </a:lnTo>
                <a:lnTo>
                  <a:pt x="902" y="10643"/>
                </a:lnTo>
                <a:lnTo>
                  <a:pt x="903" y="10660"/>
                </a:lnTo>
                <a:lnTo>
                  <a:pt x="906" y="10677"/>
                </a:lnTo>
                <a:lnTo>
                  <a:pt x="910" y="10693"/>
                </a:lnTo>
                <a:lnTo>
                  <a:pt x="915" y="10708"/>
                </a:lnTo>
                <a:lnTo>
                  <a:pt x="922" y="10723"/>
                </a:lnTo>
                <a:lnTo>
                  <a:pt x="931" y="10736"/>
                </a:lnTo>
                <a:lnTo>
                  <a:pt x="940" y="10749"/>
                </a:lnTo>
                <a:lnTo>
                  <a:pt x="951" y="10762"/>
                </a:lnTo>
                <a:lnTo>
                  <a:pt x="963" y="10772"/>
                </a:lnTo>
                <a:lnTo>
                  <a:pt x="976" y="10782"/>
                </a:lnTo>
                <a:lnTo>
                  <a:pt x="990" y="10790"/>
                </a:lnTo>
                <a:lnTo>
                  <a:pt x="1004" y="10797"/>
                </a:lnTo>
                <a:lnTo>
                  <a:pt x="1020" y="10803"/>
                </a:lnTo>
                <a:lnTo>
                  <a:pt x="1035" y="10807"/>
                </a:lnTo>
                <a:lnTo>
                  <a:pt x="1053" y="10809"/>
                </a:lnTo>
                <a:lnTo>
                  <a:pt x="1070" y="10810"/>
                </a:lnTo>
                <a:lnTo>
                  <a:pt x="1577" y="10810"/>
                </a:lnTo>
                <a:lnTo>
                  <a:pt x="1601" y="10811"/>
                </a:lnTo>
                <a:lnTo>
                  <a:pt x="1623" y="10813"/>
                </a:lnTo>
                <a:lnTo>
                  <a:pt x="1645" y="10815"/>
                </a:lnTo>
                <a:lnTo>
                  <a:pt x="1667" y="10819"/>
                </a:lnTo>
                <a:lnTo>
                  <a:pt x="1690" y="10825"/>
                </a:lnTo>
                <a:lnTo>
                  <a:pt x="1711" y="10831"/>
                </a:lnTo>
                <a:lnTo>
                  <a:pt x="1732" y="10838"/>
                </a:lnTo>
                <a:lnTo>
                  <a:pt x="1753" y="10846"/>
                </a:lnTo>
                <a:lnTo>
                  <a:pt x="1773" y="10855"/>
                </a:lnTo>
                <a:lnTo>
                  <a:pt x="1792" y="10865"/>
                </a:lnTo>
                <a:lnTo>
                  <a:pt x="1810" y="10876"/>
                </a:lnTo>
                <a:lnTo>
                  <a:pt x="1829" y="10887"/>
                </a:lnTo>
                <a:lnTo>
                  <a:pt x="1847" y="10901"/>
                </a:lnTo>
                <a:lnTo>
                  <a:pt x="1864" y="10914"/>
                </a:lnTo>
                <a:lnTo>
                  <a:pt x="1880" y="10928"/>
                </a:lnTo>
                <a:lnTo>
                  <a:pt x="1895" y="10943"/>
                </a:lnTo>
                <a:lnTo>
                  <a:pt x="1911" y="10958"/>
                </a:lnTo>
                <a:lnTo>
                  <a:pt x="1925" y="10975"/>
                </a:lnTo>
                <a:lnTo>
                  <a:pt x="1938" y="10992"/>
                </a:lnTo>
                <a:lnTo>
                  <a:pt x="1951" y="11010"/>
                </a:lnTo>
                <a:lnTo>
                  <a:pt x="1962" y="11028"/>
                </a:lnTo>
                <a:lnTo>
                  <a:pt x="1973" y="11046"/>
                </a:lnTo>
                <a:lnTo>
                  <a:pt x="1984" y="11066"/>
                </a:lnTo>
                <a:lnTo>
                  <a:pt x="1993" y="11086"/>
                </a:lnTo>
                <a:lnTo>
                  <a:pt x="2001" y="11106"/>
                </a:lnTo>
                <a:lnTo>
                  <a:pt x="2008" y="11128"/>
                </a:lnTo>
                <a:lnTo>
                  <a:pt x="2014" y="11149"/>
                </a:lnTo>
                <a:lnTo>
                  <a:pt x="2019" y="11171"/>
                </a:lnTo>
                <a:lnTo>
                  <a:pt x="2023" y="11193"/>
                </a:lnTo>
                <a:lnTo>
                  <a:pt x="2025" y="11216"/>
                </a:lnTo>
                <a:lnTo>
                  <a:pt x="2027" y="11239"/>
                </a:lnTo>
                <a:lnTo>
                  <a:pt x="2028" y="11261"/>
                </a:lnTo>
                <a:lnTo>
                  <a:pt x="2028" y="14528"/>
                </a:lnTo>
                <a:lnTo>
                  <a:pt x="2027" y="14552"/>
                </a:lnTo>
                <a:lnTo>
                  <a:pt x="2025" y="14574"/>
                </a:lnTo>
                <a:lnTo>
                  <a:pt x="2023" y="14597"/>
                </a:lnTo>
                <a:lnTo>
                  <a:pt x="2019" y="14618"/>
                </a:lnTo>
                <a:lnTo>
                  <a:pt x="2014" y="14641"/>
                </a:lnTo>
                <a:lnTo>
                  <a:pt x="2008" y="14662"/>
                </a:lnTo>
                <a:lnTo>
                  <a:pt x="2001" y="14683"/>
                </a:lnTo>
                <a:lnTo>
                  <a:pt x="1993" y="14704"/>
                </a:lnTo>
                <a:lnTo>
                  <a:pt x="1984" y="14724"/>
                </a:lnTo>
                <a:lnTo>
                  <a:pt x="1973" y="14743"/>
                </a:lnTo>
                <a:lnTo>
                  <a:pt x="1962" y="14762"/>
                </a:lnTo>
                <a:lnTo>
                  <a:pt x="1951" y="14781"/>
                </a:lnTo>
                <a:lnTo>
                  <a:pt x="1938" y="14798"/>
                </a:lnTo>
                <a:lnTo>
                  <a:pt x="1925" y="14815"/>
                </a:lnTo>
                <a:lnTo>
                  <a:pt x="1911" y="14831"/>
                </a:lnTo>
                <a:lnTo>
                  <a:pt x="1895" y="14847"/>
                </a:lnTo>
                <a:lnTo>
                  <a:pt x="1880" y="14862"/>
                </a:lnTo>
                <a:lnTo>
                  <a:pt x="1864" y="14876"/>
                </a:lnTo>
                <a:lnTo>
                  <a:pt x="1847" y="14889"/>
                </a:lnTo>
                <a:lnTo>
                  <a:pt x="1829" y="14902"/>
                </a:lnTo>
                <a:lnTo>
                  <a:pt x="1810" y="14913"/>
                </a:lnTo>
                <a:lnTo>
                  <a:pt x="1792" y="14925"/>
                </a:lnTo>
                <a:lnTo>
                  <a:pt x="1773" y="14935"/>
                </a:lnTo>
                <a:lnTo>
                  <a:pt x="1753" y="14944"/>
                </a:lnTo>
                <a:lnTo>
                  <a:pt x="1732" y="14952"/>
                </a:lnTo>
                <a:lnTo>
                  <a:pt x="1711" y="14959"/>
                </a:lnTo>
                <a:lnTo>
                  <a:pt x="1690" y="14965"/>
                </a:lnTo>
                <a:lnTo>
                  <a:pt x="1667" y="14970"/>
                </a:lnTo>
                <a:lnTo>
                  <a:pt x="1645" y="14974"/>
                </a:lnTo>
                <a:lnTo>
                  <a:pt x="1623" y="14977"/>
                </a:lnTo>
                <a:lnTo>
                  <a:pt x="1601" y="14978"/>
                </a:lnTo>
                <a:lnTo>
                  <a:pt x="1577" y="14979"/>
                </a:lnTo>
                <a:lnTo>
                  <a:pt x="1070" y="14979"/>
                </a:lnTo>
                <a:lnTo>
                  <a:pt x="1052" y="14980"/>
                </a:lnTo>
                <a:lnTo>
                  <a:pt x="1035" y="14982"/>
                </a:lnTo>
                <a:lnTo>
                  <a:pt x="1019" y="14986"/>
                </a:lnTo>
                <a:lnTo>
                  <a:pt x="1003" y="14993"/>
                </a:lnTo>
                <a:lnTo>
                  <a:pt x="989" y="14999"/>
                </a:lnTo>
                <a:lnTo>
                  <a:pt x="976" y="15007"/>
                </a:lnTo>
                <a:lnTo>
                  <a:pt x="962" y="15017"/>
                </a:lnTo>
                <a:lnTo>
                  <a:pt x="951" y="15027"/>
                </a:lnTo>
                <a:lnTo>
                  <a:pt x="940" y="15039"/>
                </a:lnTo>
                <a:lnTo>
                  <a:pt x="931" y="15052"/>
                </a:lnTo>
                <a:lnTo>
                  <a:pt x="922" y="15066"/>
                </a:lnTo>
                <a:lnTo>
                  <a:pt x="915" y="15081"/>
                </a:lnTo>
                <a:lnTo>
                  <a:pt x="910" y="15097"/>
                </a:lnTo>
                <a:lnTo>
                  <a:pt x="906" y="15113"/>
                </a:lnTo>
                <a:lnTo>
                  <a:pt x="903" y="15130"/>
                </a:lnTo>
                <a:lnTo>
                  <a:pt x="902" y="15148"/>
                </a:lnTo>
                <a:lnTo>
                  <a:pt x="903" y="15165"/>
                </a:lnTo>
                <a:lnTo>
                  <a:pt x="906" y="15182"/>
                </a:lnTo>
                <a:lnTo>
                  <a:pt x="910" y="15197"/>
                </a:lnTo>
                <a:lnTo>
                  <a:pt x="915" y="15213"/>
                </a:lnTo>
                <a:lnTo>
                  <a:pt x="922" y="15228"/>
                </a:lnTo>
                <a:lnTo>
                  <a:pt x="931" y="15242"/>
                </a:lnTo>
                <a:lnTo>
                  <a:pt x="940" y="15254"/>
                </a:lnTo>
                <a:lnTo>
                  <a:pt x="951" y="15266"/>
                </a:lnTo>
                <a:lnTo>
                  <a:pt x="963" y="15277"/>
                </a:lnTo>
                <a:lnTo>
                  <a:pt x="976" y="15286"/>
                </a:lnTo>
                <a:lnTo>
                  <a:pt x="990" y="15296"/>
                </a:lnTo>
                <a:lnTo>
                  <a:pt x="1004" y="15303"/>
                </a:lnTo>
                <a:lnTo>
                  <a:pt x="1020" y="15308"/>
                </a:lnTo>
                <a:lnTo>
                  <a:pt x="1035" y="15312"/>
                </a:lnTo>
                <a:lnTo>
                  <a:pt x="1053" y="15315"/>
                </a:lnTo>
                <a:lnTo>
                  <a:pt x="1070" y="15316"/>
                </a:lnTo>
                <a:lnTo>
                  <a:pt x="13057" y="15316"/>
                </a:lnTo>
                <a:lnTo>
                  <a:pt x="13074" y="15315"/>
                </a:lnTo>
                <a:lnTo>
                  <a:pt x="13092" y="15312"/>
                </a:lnTo>
                <a:lnTo>
                  <a:pt x="13107" y="15308"/>
                </a:lnTo>
                <a:lnTo>
                  <a:pt x="13123" y="15303"/>
                </a:lnTo>
                <a:lnTo>
                  <a:pt x="13137" y="15296"/>
                </a:lnTo>
                <a:lnTo>
                  <a:pt x="13151" y="15286"/>
                </a:lnTo>
                <a:lnTo>
                  <a:pt x="13164" y="15277"/>
                </a:lnTo>
                <a:lnTo>
                  <a:pt x="13176" y="15266"/>
                </a:lnTo>
                <a:lnTo>
                  <a:pt x="13187" y="15254"/>
                </a:lnTo>
                <a:lnTo>
                  <a:pt x="13196" y="15242"/>
                </a:lnTo>
                <a:lnTo>
                  <a:pt x="13205" y="15228"/>
                </a:lnTo>
                <a:lnTo>
                  <a:pt x="13212" y="15213"/>
                </a:lnTo>
                <a:lnTo>
                  <a:pt x="13217" y="15197"/>
                </a:lnTo>
                <a:lnTo>
                  <a:pt x="13221" y="15182"/>
                </a:lnTo>
                <a:lnTo>
                  <a:pt x="13224" y="15165"/>
                </a:lnTo>
                <a:lnTo>
                  <a:pt x="13225" y="15148"/>
                </a:lnTo>
                <a:lnTo>
                  <a:pt x="13224" y="15130"/>
                </a:lnTo>
                <a:lnTo>
                  <a:pt x="13221" y="15113"/>
                </a:lnTo>
                <a:lnTo>
                  <a:pt x="13217" y="15097"/>
                </a:lnTo>
                <a:lnTo>
                  <a:pt x="13212" y="15081"/>
                </a:lnTo>
                <a:lnTo>
                  <a:pt x="13205" y="15066"/>
                </a:lnTo>
                <a:lnTo>
                  <a:pt x="13196" y="15052"/>
                </a:lnTo>
                <a:lnTo>
                  <a:pt x="13187" y="15039"/>
                </a:lnTo>
                <a:lnTo>
                  <a:pt x="13176" y="15027"/>
                </a:lnTo>
                <a:lnTo>
                  <a:pt x="13165" y="15017"/>
                </a:lnTo>
                <a:lnTo>
                  <a:pt x="13151" y="15007"/>
                </a:lnTo>
                <a:lnTo>
                  <a:pt x="13138" y="14999"/>
                </a:lnTo>
                <a:lnTo>
                  <a:pt x="13123" y="14993"/>
                </a:lnTo>
                <a:lnTo>
                  <a:pt x="13108" y="14986"/>
                </a:lnTo>
                <a:lnTo>
                  <a:pt x="13092" y="14982"/>
                </a:lnTo>
                <a:lnTo>
                  <a:pt x="13075" y="14980"/>
                </a:lnTo>
                <a:lnTo>
                  <a:pt x="13057" y="14979"/>
                </a:lnTo>
                <a:lnTo>
                  <a:pt x="12550" y="14979"/>
                </a:lnTo>
                <a:lnTo>
                  <a:pt x="12526" y="14978"/>
                </a:lnTo>
                <a:lnTo>
                  <a:pt x="12504" y="14977"/>
                </a:lnTo>
                <a:lnTo>
                  <a:pt x="12482" y="14974"/>
                </a:lnTo>
                <a:lnTo>
                  <a:pt x="12460" y="14970"/>
                </a:lnTo>
                <a:lnTo>
                  <a:pt x="12437" y="14965"/>
                </a:lnTo>
                <a:lnTo>
                  <a:pt x="12416" y="14959"/>
                </a:lnTo>
                <a:lnTo>
                  <a:pt x="12395" y="14952"/>
                </a:lnTo>
                <a:lnTo>
                  <a:pt x="12374" y="14944"/>
                </a:lnTo>
                <a:lnTo>
                  <a:pt x="12354" y="14935"/>
                </a:lnTo>
                <a:lnTo>
                  <a:pt x="12335" y="14925"/>
                </a:lnTo>
                <a:lnTo>
                  <a:pt x="12317" y="14913"/>
                </a:lnTo>
                <a:lnTo>
                  <a:pt x="12298" y="14902"/>
                </a:lnTo>
                <a:lnTo>
                  <a:pt x="12280" y="14889"/>
                </a:lnTo>
                <a:lnTo>
                  <a:pt x="12263" y="14876"/>
                </a:lnTo>
                <a:lnTo>
                  <a:pt x="12247" y="14862"/>
                </a:lnTo>
                <a:lnTo>
                  <a:pt x="12232" y="14847"/>
                </a:lnTo>
                <a:lnTo>
                  <a:pt x="12216" y="14831"/>
                </a:lnTo>
                <a:lnTo>
                  <a:pt x="12202" y="14815"/>
                </a:lnTo>
                <a:lnTo>
                  <a:pt x="12189" y="14798"/>
                </a:lnTo>
                <a:lnTo>
                  <a:pt x="12176" y="14781"/>
                </a:lnTo>
                <a:lnTo>
                  <a:pt x="12165" y="14762"/>
                </a:lnTo>
                <a:lnTo>
                  <a:pt x="12154" y="14743"/>
                </a:lnTo>
                <a:lnTo>
                  <a:pt x="12143" y="14724"/>
                </a:lnTo>
                <a:lnTo>
                  <a:pt x="12134" y="14704"/>
                </a:lnTo>
                <a:lnTo>
                  <a:pt x="12126" y="14683"/>
                </a:lnTo>
                <a:lnTo>
                  <a:pt x="12119" y="14662"/>
                </a:lnTo>
                <a:lnTo>
                  <a:pt x="12113" y="14641"/>
                </a:lnTo>
                <a:lnTo>
                  <a:pt x="12108" y="14618"/>
                </a:lnTo>
                <a:lnTo>
                  <a:pt x="12104" y="14597"/>
                </a:lnTo>
                <a:lnTo>
                  <a:pt x="12102" y="14574"/>
                </a:lnTo>
                <a:lnTo>
                  <a:pt x="12100" y="14552"/>
                </a:lnTo>
                <a:lnTo>
                  <a:pt x="12099" y="14528"/>
                </a:lnTo>
                <a:lnTo>
                  <a:pt x="12099" y="11261"/>
                </a:lnTo>
                <a:lnTo>
                  <a:pt x="12100" y="11239"/>
                </a:lnTo>
                <a:lnTo>
                  <a:pt x="12102" y="11216"/>
                </a:lnTo>
                <a:lnTo>
                  <a:pt x="12104" y="11193"/>
                </a:lnTo>
                <a:lnTo>
                  <a:pt x="12108" y="11171"/>
                </a:lnTo>
                <a:lnTo>
                  <a:pt x="12113" y="11149"/>
                </a:lnTo>
                <a:lnTo>
                  <a:pt x="12119" y="11128"/>
                </a:lnTo>
                <a:lnTo>
                  <a:pt x="12126" y="11106"/>
                </a:lnTo>
                <a:lnTo>
                  <a:pt x="12134" y="11086"/>
                </a:lnTo>
                <a:lnTo>
                  <a:pt x="12143" y="11066"/>
                </a:lnTo>
                <a:lnTo>
                  <a:pt x="12154" y="11046"/>
                </a:lnTo>
                <a:lnTo>
                  <a:pt x="12165" y="11028"/>
                </a:lnTo>
                <a:lnTo>
                  <a:pt x="12176" y="11010"/>
                </a:lnTo>
                <a:lnTo>
                  <a:pt x="12189" y="10992"/>
                </a:lnTo>
                <a:lnTo>
                  <a:pt x="12202" y="10975"/>
                </a:lnTo>
                <a:lnTo>
                  <a:pt x="12216" y="10958"/>
                </a:lnTo>
                <a:lnTo>
                  <a:pt x="12232" y="10943"/>
                </a:lnTo>
                <a:lnTo>
                  <a:pt x="12247" y="10928"/>
                </a:lnTo>
                <a:lnTo>
                  <a:pt x="12263" y="10914"/>
                </a:lnTo>
                <a:lnTo>
                  <a:pt x="12280" y="10901"/>
                </a:lnTo>
                <a:lnTo>
                  <a:pt x="12298" y="10887"/>
                </a:lnTo>
                <a:lnTo>
                  <a:pt x="12317" y="10876"/>
                </a:lnTo>
                <a:lnTo>
                  <a:pt x="12335" y="10865"/>
                </a:lnTo>
                <a:lnTo>
                  <a:pt x="12354" y="10855"/>
                </a:lnTo>
                <a:lnTo>
                  <a:pt x="12374" y="10846"/>
                </a:lnTo>
                <a:lnTo>
                  <a:pt x="12395" y="10838"/>
                </a:lnTo>
                <a:lnTo>
                  <a:pt x="12416" y="10831"/>
                </a:lnTo>
                <a:lnTo>
                  <a:pt x="12437" y="10825"/>
                </a:lnTo>
                <a:lnTo>
                  <a:pt x="12460" y="10819"/>
                </a:lnTo>
                <a:lnTo>
                  <a:pt x="12482" y="10815"/>
                </a:lnTo>
                <a:lnTo>
                  <a:pt x="12504" y="10813"/>
                </a:lnTo>
                <a:lnTo>
                  <a:pt x="12526" y="10811"/>
                </a:lnTo>
                <a:lnTo>
                  <a:pt x="12550" y="10810"/>
                </a:lnTo>
                <a:lnTo>
                  <a:pt x="13057" y="10810"/>
                </a:lnTo>
                <a:lnTo>
                  <a:pt x="13074" y="10809"/>
                </a:lnTo>
                <a:lnTo>
                  <a:pt x="13092" y="10807"/>
                </a:lnTo>
                <a:lnTo>
                  <a:pt x="13107" y="10803"/>
                </a:lnTo>
                <a:lnTo>
                  <a:pt x="13123" y="10797"/>
                </a:lnTo>
                <a:lnTo>
                  <a:pt x="13137" y="10790"/>
                </a:lnTo>
                <a:lnTo>
                  <a:pt x="13151" y="10782"/>
                </a:lnTo>
                <a:lnTo>
                  <a:pt x="13164" y="10772"/>
                </a:lnTo>
                <a:lnTo>
                  <a:pt x="13176" y="10762"/>
                </a:lnTo>
                <a:lnTo>
                  <a:pt x="13187" y="10749"/>
                </a:lnTo>
                <a:lnTo>
                  <a:pt x="13196" y="10736"/>
                </a:lnTo>
                <a:lnTo>
                  <a:pt x="13205" y="10723"/>
                </a:lnTo>
                <a:lnTo>
                  <a:pt x="13212" y="10708"/>
                </a:lnTo>
                <a:lnTo>
                  <a:pt x="13217" y="10693"/>
                </a:lnTo>
                <a:lnTo>
                  <a:pt x="13221" y="10677"/>
                </a:lnTo>
                <a:lnTo>
                  <a:pt x="13224" y="10660"/>
                </a:lnTo>
                <a:lnTo>
                  <a:pt x="13225" y="10643"/>
                </a:lnTo>
                <a:lnTo>
                  <a:pt x="13224" y="10625"/>
                </a:lnTo>
                <a:lnTo>
                  <a:pt x="13221" y="10608"/>
                </a:lnTo>
                <a:lnTo>
                  <a:pt x="13217" y="10591"/>
                </a:lnTo>
                <a:lnTo>
                  <a:pt x="13212" y="10575"/>
                </a:lnTo>
                <a:lnTo>
                  <a:pt x="13205" y="10561"/>
                </a:lnTo>
                <a:lnTo>
                  <a:pt x="13196" y="10547"/>
                </a:lnTo>
                <a:lnTo>
                  <a:pt x="13187" y="10534"/>
                </a:lnTo>
                <a:lnTo>
                  <a:pt x="13176" y="10521"/>
                </a:lnTo>
                <a:lnTo>
                  <a:pt x="13165" y="10511"/>
                </a:lnTo>
                <a:lnTo>
                  <a:pt x="13151" y="10502"/>
                </a:lnTo>
                <a:lnTo>
                  <a:pt x="13138" y="10494"/>
                </a:lnTo>
                <a:lnTo>
                  <a:pt x="13123" y="10487"/>
                </a:lnTo>
                <a:lnTo>
                  <a:pt x="13108" y="10481"/>
                </a:lnTo>
                <a:lnTo>
                  <a:pt x="13092" y="10477"/>
                </a:lnTo>
                <a:lnTo>
                  <a:pt x="13075" y="10475"/>
                </a:lnTo>
                <a:lnTo>
                  <a:pt x="13057" y="10474"/>
                </a:lnTo>
                <a:lnTo>
                  <a:pt x="12550" y="10474"/>
                </a:lnTo>
                <a:lnTo>
                  <a:pt x="12526" y="10473"/>
                </a:lnTo>
                <a:lnTo>
                  <a:pt x="12504" y="10472"/>
                </a:lnTo>
                <a:lnTo>
                  <a:pt x="12482" y="10469"/>
                </a:lnTo>
                <a:lnTo>
                  <a:pt x="12460" y="10465"/>
                </a:lnTo>
                <a:lnTo>
                  <a:pt x="12437" y="10460"/>
                </a:lnTo>
                <a:lnTo>
                  <a:pt x="12416" y="10454"/>
                </a:lnTo>
                <a:lnTo>
                  <a:pt x="12395" y="10446"/>
                </a:lnTo>
                <a:lnTo>
                  <a:pt x="12374" y="10438"/>
                </a:lnTo>
                <a:lnTo>
                  <a:pt x="12354" y="10429"/>
                </a:lnTo>
                <a:lnTo>
                  <a:pt x="12335" y="10419"/>
                </a:lnTo>
                <a:lnTo>
                  <a:pt x="12317" y="10409"/>
                </a:lnTo>
                <a:lnTo>
                  <a:pt x="12298" y="10397"/>
                </a:lnTo>
                <a:lnTo>
                  <a:pt x="12280" y="10385"/>
                </a:lnTo>
                <a:lnTo>
                  <a:pt x="12263" y="10370"/>
                </a:lnTo>
                <a:lnTo>
                  <a:pt x="12247" y="10356"/>
                </a:lnTo>
                <a:lnTo>
                  <a:pt x="12232" y="10342"/>
                </a:lnTo>
                <a:lnTo>
                  <a:pt x="12216" y="10326"/>
                </a:lnTo>
                <a:lnTo>
                  <a:pt x="12202" y="10310"/>
                </a:lnTo>
                <a:lnTo>
                  <a:pt x="12189" y="10292"/>
                </a:lnTo>
                <a:lnTo>
                  <a:pt x="12176" y="10275"/>
                </a:lnTo>
                <a:lnTo>
                  <a:pt x="12165" y="10257"/>
                </a:lnTo>
                <a:lnTo>
                  <a:pt x="12154" y="10238"/>
                </a:lnTo>
                <a:lnTo>
                  <a:pt x="12143" y="10218"/>
                </a:lnTo>
                <a:lnTo>
                  <a:pt x="12134" y="10198"/>
                </a:lnTo>
                <a:lnTo>
                  <a:pt x="12126" y="10178"/>
                </a:lnTo>
                <a:lnTo>
                  <a:pt x="12119" y="10157"/>
                </a:lnTo>
                <a:lnTo>
                  <a:pt x="12113" y="10135"/>
                </a:lnTo>
                <a:lnTo>
                  <a:pt x="12108" y="10114"/>
                </a:lnTo>
                <a:lnTo>
                  <a:pt x="12104" y="10092"/>
                </a:lnTo>
                <a:lnTo>
                  <a:pt x="12102" y="10068"/>
                </a:lnTo>
                <a:lnTo>
                  <a:pt x="12100" y="10046"/>
                </a:lnTo>
                <a:lnTo>
                  <a:pt x="12099" y="10023"/>
                </a:lnTo>
                <a:lnTo>
                  <a:pt x="12099" y="6476"/>
                </a:lnTo>
                <a:lnTo>
                  <a:pt x="12100" y="6453"/>
                </a:lnTo>
                <a:lnTo>
                  <a:pt x="12102" y="6429"/>
                </a:lnTo>
                <a:lnTo>
                  <a:pt x="12104" y="6407"/>
                </a:lnTo>
                <a:lnTo>
                  <a:pt x="12108" y="6385"/>
                </a:lnTo>
                <a:lnTo>
                  <a:pt x="12113" y="6364"/>
                </a:lnTo>
                <a:lnTo>
                  <a:pt x="12119" y="6342"/>
                </a:lnTo>
                <a:lnTo>
                  <a:pt x="12126" y="6321"/>
                </a:lnTo>
                <a:lnTo>
                  <a:pt x="12134" y="6301"/>
                </a:lnTo>
                <a:lnTo>
                  <a:pt x="12143" y="6280"/>
                </a:lnTo>
                <a:lnTo>
                  <a:pt x="12154" y="6261"/>
                </a:lnTo>
                <a:lnTo>
                  <a:pt x="12165" y="6242"/>
                </a:lnTo>
                <a:lnTo>
                  <a:pt x="12176" y="6224"/>
                </a:lnTo>
                <a:lnTo>
                  <a:pt x="12189" y="6206"/>
                </a:lnTo>
                <a:lnTo>
                  <a:pt x="12202" y="6189"/>
                </a:lnTo>
                <a:lnTo>
                  <a:pt x="12216" y="6173"/>
                </a:lnTo>
                <a:lnTo>
                  <a:pt x="12232" y="6157"/>
                </a:lnTo>
                <a:lnTo>
                  <a:pt x="12247" y="6142"/>
                </a:lnTo>
                <a:lnTo>
                  <a:pt x="12263" y="6127"/>
                </a:lnTo>
                <a:lnTo>
                  <a:pt x="12280" y="6114"/>
                </a:lnTo>
                <a:lnTo>
                  <a:pt x="12298" y="6102"/>
                </a:lnTo>
                <a:lnTo>
                  <a:pt x="12317" y="6090"/>
                </a:lnTo>
                <a:lnTo>
                  <a:pt x="12335" y="6080"/>
                </a:lnTo>
                <a:lnTo>
                  <a:pt x="12354" y="6070"/>
                </a:lnTo>
                <a:lnTo>
                  <a:pt x="12374" y="6060"/>
                </a:lnTo>
                <a:lnTo>
                  <a:pt x="12395" y="6052"/>
                </a:lnTo>
                <a:lnTo>
                  <a:pt x="12416" y="6045"/>
                </a:lnTo>
                <a:lnTo>
                  <a:pt x="12437" y="6039"/>
                </a:lnTo>
                <a:lnTo>
                  <a:pt x="12460" y="6034"/>
                </a:lnTo>
                <a:lnTo>
                  <a:pt x="12482" y="6030"/>
                </a:lnTo>
                <a:lnTo>
                  <a:pt x="12504" y="6027"/>
                </a:lnTo>
                <a:lnTo>
                  <a:pt x="12526" y="6025"/>
                </a:lnTo>
                <a:lnTo>
                  <a:pt x="12550" y="6025"/>
                </a:lnTo>
                <a:lnTo>
                  <a:pt x="13057" y="6025"/>
                </a:lnTo>
                <a:lnTo>
                  <a:pt x="13074" y="6024"/>
                </a:lnTo>
                <a:lnTo>
                  <a:pt x="13092" y="6021"/>
                </a:lnTo>
                <a:lnTo>
                  <a:pt x="13107" y="6017"/>
                </a:lnTo>
                <a:lnTo>
                  <a:pt x="13123" y="6012"/>
                </a:lnTo>
                <a:lnTo>
                  <a:pt x="13137" y="6005"/>
                </a:lnTo>
                <a:lnTo>
                  <a:pt x="13151" y="5996"/>
                </a:lnTo>
                <a:lnTo>
                  <a:pt x="13164" y="5986"/>
                </a:lnTo>
                <a:lnTo>
                  <a:pt x="13176" y="5975"/>
                </a:lnTo>
                <a:lnTo>
                  <a:pt x="13189" y="5962"/>
                </a:lnTo>
                <a:lnTo>
                  <a:pt x="13197" y="5952"/>
                </a:lnTo>
                <a:lnTo>
                  <a:pt x="13204" y="5940"/>
                </a:lnTo>
                <a:lnTo>
                  <a:pt x="13210" y="5928"/>
                </a:lnTo>
                <a:lnTo>
                  <a:pt x="13215" y="5915"/>
                </a:lnTo>
                <a:lnTo>
                  <a:pt x="13219" y="5901"/>
                </a:lnTo>
                <a:lnTo>
                  <a:pt x="13222" y="5887"/>
                </a:lnTo>
                <a:lnTo>
                  <a:pt x="13224" y="5872"/>
                </a:lnTo>
                <a:lnTo>
                  <a:pt x="13225" y="5858"/>
                </a:lnTo>
                <a:lnTo>
                  <a:pt x="13224" y="5839"/>
                </a:lnTo>
                <a:lnTo>
                  <a:pt x="13221" y="5822"/>
                </a:lnTo>
                <a:lnTo>
                  <a:pt x="13217" y="5806"/>
                </a:lnTo>
                <a:lnTo>
                  <a:pt x="13212" y="5790"/>
                </a:lnTo>
                <a:lnTo>
                  <a:pt x="13205" y="5775"/>
                </a:lnTo>
                <a:lnTo>
                  <a:pt x="13196" y="5760"/>
                </a:lnTo>
                <a:lnTo>
                  <a:pt x="13187" y="5747"/>
                </a:lnTo>
                <a:lnTo>
                  <a:pt x="13176" y="5736"/>
                </a:lnTo>
                <a:lnTo>
                  <a:pt x="13165" y="5725"/>
                </a:lnTo>
                <a:lnTo>
                  <a:pt x="13151" y="5716"/>
                </a:lnTo>
                <a:lnTo>
                  <a:pt x="13138" y="5708"/>
                </a:lnTo>
                <a:lnTo>
                  <a:pt x="13123" y="5701"/>
                </a:lnTo>
                <a:lnTo>
                  <a:pt x="13108" y="5696"/>
                </a:lnTo>
                <a:lnTo>
                  <a:pt x="13092" y="5692"/>
                </a:lnTo>
                <a:lnTo>
                  <a:pt x="13075" y="5688"/>
                </a:lnTo>
                <a:lnTo>
                  <a:pt x="13057" y="5688"/>
                </a:lnTo>
                <a:lnTo>
                  <a:pt x="12550" y="5688"/>
                </a:lnTo>
                <a:lnTo>
                  <a:pt x="12526" y="5687"/>
                </a:lnTo>
                <a:lnTo>
                  <a:pt x="12504" y="5685"/>
                </a:lnTo>
                <a:lnTo>
                  <a:pt x="12482" y="5682"/>
                </a:lnTo>
                <a:lnTo>
                  <a:pt x="12460" y="5678"/>
                </a:lnTo>
                <a:lnTo>
                  <a:pt x="12437" y="5674"/>
                </a:lnTo>
                <a:lnTo>
                  <a:pt x="12416" y="5668"/>
                </a:lnTo>
                <a:lnTo>
                  <a:pt x="12395" y="5661"/>
                </a:lnTo>
                <a:lnTo>
                  <a:pt x="12374" y="5653"/>
                </a:lnTo>
                <a:lnTo>
                  <a:pt x="12354" y="5644"/>
                </a:lnTo>
                <a:lnTo>
                  <a:pt x="12335" y="5634"/>
                </a:lnTo>
                <a:lnTo>
                  <a:pt x="12317" y="5623"/>
                </a:lnTo>
                <a:lnTo>
                  <a:pt x="12298" y="5610"/>
                </a:lnTo>
                <a:lnTo>
                  <a:pt x="12280" y="5598"/>
                </a:lnTo>
                <a:lnTo>
                  <a:pt x="12263" y="5585"/>
                </a:lnTo>
                <a:lnTo>
                  <a:pt x="12247" y="5571"/>
                </a:lnTo>
                <a:lnTo>
                  <a:pt x="12232" y="5556"/>
                </a:lnTo>
                <a:lnTo>
                  <a:pt x="12216" y="5540"/>
                </a:lnTo>
                <a:lnTo>
                  <a:pt x="12202" y="5524"/>
                </a:lnTo>
                <a:lnTo>
                  <a:pt x="12189" y="5507"/>
                </a:lnTo>
                <a:lnTo>
                  <a:pt x="12176" y="5489"/>
                </a:lnTo>
                <a:lnTo>
                  <a:pt x="12165" y="5471"/>
                </a:lnTo>
                <a:lnTo>
                  <a:pt x="12154" y="5452"/>
                </a:lnTo>
                <a:lnTo>
                  <a:pt x="12143" y="5432"/>
                </a:lnTo>
                <a:lnTo>
                  <a:pt x="12134" y="5413"/>
                </a:lnTo>
                <a:lnTo>
                  <a:pt x="12126" y="5391"/>
                </a:lnTo>
                <a:lnTo>
                  <a:pt x="12119" y="5371"/>
                </a:lnTo>
                <a:lnTo>
                  <a:pt x="12113" y="5350"/>
                </a:lnTo>
                <a:lnTo>
                  <a:pt x="12108" y="5328"/>
                </a:lnTo>
                <a:lnTo>
                  <a:pt x="12104" y="5305"/>
                </a:lnTo>
                <a:lnTo>
                  <a:pt x="12102" y="5283"/>
                </a:lnTo>
                <a:lnTo>
                  <a:pt x="12100" y="5260"/>
                </a:lnTo>
                <a:lnTo>
                  <a:pt x="12099" y="5236"/>
                </a:lnTo>
                <a:lnTo>
                  <a:pt x="12099" y="1691"/>
                </a:lnTo>
                <a:lnTo>
                  <a:pt x="12100" y="1667"/>
                </a:lnTo>
                <a:lnTo>
                  <a:pt x="12102" y="1644"/>
                </a:lnTo>
                <a:lnTo>
                  <a:pt x="12104" y="1622"/>
                </a:lnTo>
                <a:lnTo>
                  <a:pt x="12108" y="1600"/>
                </a:lnTo>
                <a:lnTo>
                  <a:pt x="12113" y="1577"/>
                </a:lnTo>
                <a:lnTo>
                  <a:pt x="12119" y="1556"/>
                </a:lnTo>
                <a:lnTo>
                  <a:pt x="12126" y="1536"/>
                </a:lnTo>
                <a:lnTo>
                  <a:pt x="12134" y="1514"/>
                </a:lnTo>
                <a:lnTo>
                  <a:pt x="12143" y="1495"/>
                </a:lnTo>
                <a:lnTo>
                  <a:pt x="12154" y="1475"/>
                </a:lnTo>
                <a:lnTo>
                  <a:pt x="12165" y="1457"/>
                </a:lnTo>
                <a:lnTo>
                  <a:pt x="12176" y="1438"/>
                </a:lnTo>
                <a:lnTo>
                  <a:pt x="12189" y="1420"/>
                </a:lnTo>
                <a:lnTo>
                  <a:pt x="12202" y="1403"/>
                </a:lnTo>
                <a:lnTo>
                  <a:pt x="12216" y="1387"/>
                </a:lnTo>
                <a:lnTo>
                  <a:pt x="12232" y="1371"/>
                </a:lnTo>
                <a:lnTo>
                  <a:pt x="12247" y="1356"/>
                </a:lnTo>
                <a:lnTo>
                  <a:pt x="12263" y="1342"/>
                </a:lnTo>
                <a:lnTo>
                  <a:pt x="12280" y="1329"/>
                </a:lnTo>
                <a:lnTo>
                  <a:pt x="12298" y="1316"/>
                </a:lnTo>
                <a:lnTo>
                  <a:pt x="12317" y="1305"/>
                </a:lnTo>
                <a:lnTo>
                  <a:pt x="12335" y="1293"/>
                </a:lnTo>
                <a:lnTo>
                  <a:pt x="12354" y="1283"/>
                </a:lnTo>
                <a:lnTo>
                  <a:pt x="12374" y="1274"/>
                </a:lnTo>
                <a:lnTo>
                  <a:pt x="12395" y="1266"/>
                </a:lnTo>
                <a:lnTo>
                  <a:pt x="12416" y="1259"/>
                </a:lnTo>
                <a:lnTo>
                  <a:pt x="12437" y="1253"/>
                </a:lnTo>
                <a:lnTo>
                  <a:pt x="12460" y="1248"/>
                </a:lnTo>
                <a:lnTo>
                  <a:pt x="12482" y="1245"/>
                </a:lnTo>
                <a:lnTo>
                  <a:pt x="12504" y="1242"/>
                </a:lnTo>
                <a:lnTo>
                  <a:pt x="12526" y="1240"/>
                </a:lnTo>
                <a:lnTo>
                  <a:pt x="12550" y="1239"/>
                </a:lnTo>
                <a:lnTo>
                  <a:pt x="13057" y="1239"/>
                </a:lnTo>
                <a:close/>
                <a:moveTo>
                  <a:pt x="5631" y="11437"/>
                </a:moveTo>
                <a:lnTo>
                  <a:pt x="5639" y="11466"/>
                </a:lnTo>
                <a:lnTo>
                  <a:pt x="5648" y="11495"/>
                </a:lnTo>
                <a:lnTo>
                  <a:pt x="5658" y="11523"/>
                </a:lnTo>
                <a:lnTo>
                  <a:pt x="5668" y="11551"/>
                </a:lnTo>
                <a:lnTo>
                  <a:pt x="5679" y="11580"/>
                </a:lnTo>
                <a:lnTo>
                  <a:pt x="5690" y="11607"/>
                </a:lnTo>
                <a:lnTo>
                  <a:pt x="5702" y="11633"/>
                </a:lnTo>
                <a:lnTo>
                  <a:pt x="5715" y="11661"/>
                </a:lnTo>
                <a:lnTo>
                  <a:pt x="5728" y="11687"/>
                </a:lnTo>
                <a:lnTo>
                  <a:pt x="5741" y="11712"/>
                </a:lnTo>
                <a:lnTo>
                  <a:pt x="5754" y="11739"/>
                </a:lnTo>
                <a:lnTo>
                  <a:pt x="5769" y="11763"/>
                </a:lnTo>
                <a:lnTo>
                  <a:pt x="5784" y="11788"/>
                </a:lnTo>
                <a:lnTo>
                  <a:pt x="5799" y="11813"/>
                </a:lnTo>
                <a:lnTo>
                  <a:pt x="5815" y="11837"/>
                </a:lnTo>
                <a:lnTo>
                  <a:pt x="5831" y="11860"/>
                </a:lnTo>
                <a:lnTo>
                  <a:pt x="5847" y="11884"/>
                </a:lnTo>
                <a:lnTo>
                  <a:pt x="5865" y="11907"/>
                </a:lnTo>
                <a:lnTo>
                  <a:pt x="5882" y="11929"/>
                </a:lnTo>
                <a:lnTo>
                  <a:pt x="5900" y="11951"/>
                </a:lnTo>
                <a:lnTo>
                  <a:pt x="5918" y="11973"/>
                </a:lnTo>
                <a:lnTo>
                  <a:pt x="5937" y="11994"/>
                </a:lnTo>
                <a:lnTo>
                  <a:pt x="5957" y="12014"/>
                </a:lnTo>
                <a:lnTo>
                  <a:pt x="5976" y="12035"/>
                </a:lnTo>
                <a:lnTo>
                  <a:pt x="5996" y="12055"/>
                </a:lnTo>
                <a:lnTo>
                  <a:pt x="6017" y="12074"/>
                </a:lnTo>
                <a:lnTo>
                  <a:pt x="6037" y="12094"/>
                </a:lnTo>
                <a:lnTo>
                  <a:pt x="6058" y="12112"/>
                </a:lnTo>
                <a:lnTo>
                  <a:pt x="6079" y="12130"/>
                </a:lnTo>
                <a:lnTo>
                  <a:pt x="6102" y="12148"/>
                </a:lnTo>
                <a:lnTo>
                  <a:pt x="6124" y="12166"/>
                </a:lnTo>
                <a:lnTo>
                  <a:pt x="6146" y="12182"/>
                </a:lnTo>
                <a:lnTo>
                  <a:pt x="6169" y="12199"/>
                </a:lnTo>
                <a:lnTo>
                  <a:pt x="6194" y="12216"/>
                </a:lnTo>
                <a:lnTo>
                  <a:pt x="6218" y="12231"/>
                </a:lnTo>
                <a:lnTo>
                  <a:pt x="6243" y="12248"/>
                </a:lnTo>
                <a:lnTo>
                  <a:pt x="6269" y="12263"/>
                </a:lnTo>
                <a:lnTo>
                  <a:pt x="6294" y="12277"/>
                </a:lnTo>
                <a:lnTo>
                  <a:pt x="6320" y="12291"/>
                </a:lnTo>
                <a:lnTo>
                  <a:pt x="6347" y="12304"/>
                </a:lnTo>
                <a:lnTo>
                  <a:pt x="6373" y="12318"/>
                </a:lnTo>
                <a:lnTo>
                  <a:pt x="6400" y="12331"/>
                </a:lnTo>
                <a:lnTo>
                  <a:pt x="6427" y="12343"/>
                </a:lnTo>
                <a:lnTo>
                  <a:pt x="6455" y="12354"/>
                </a:lnTo>
                <a:lnTo>
                  <a:pt x="6483" y="12365"/>
                </a:lnTo>
                <a:lnTo>
                  <a:pt x="6511" y="12375"/>
                </a:lnTo>
                <a:lnTo>
                  <a:pt x="6539" y="12385"/>
                </a:lnTo>
                <a:lnTo>
                  <a:pt x="6568" y="12395"/>
                </a:lnTo>
                <a:lnTo>
                  <a:pt x="6596" y="12404"/>
                </a:lnTo>
                <a:lnTo>
                  <a:pt x="6625" y="12412"/>
                </a:lnTo>
                <a:lnTo>
                  <a:pt x="6655" y="12420"/>
                </a:lnTo>
                <a:lnTo>
                  <a:pt x="6684" y="12427"/>
                </a:lnTo>
                <a:lnTo>
                  <a:pt x="6715" y="12433"/>
                </a:lnTo>
                <a:lnTo>
                  <a:pt x="6744" y="12439"/>
                </a:lnTo>
                <a:lnTo>
                  <a:pt x="6774" y="12445"/>
                </a:lnTo>
                <a:lnTo>
                  <a:pt x="6805" y="12450"/>
                </a:lnTo>
                <a:lnTo>
                  <a:pt x="6836" y="12454"/>
                </a:lnTo>
                <a:lnTo>
                  <a:pt x="6866" y="12458"/>
                </a:lnTo>
                <a:lnTo>
                  <a:pt x="6898" y="12462"/>
                </a:lnTo>
                <a:lnTo>
                  <a:pt x="6928" y="12465"/>
                </a:lnTo>
                <a:lnTo>
                  <a:pt x="6960" y="12467"/>
                </a:lnTo>
                <a:lnTo>
                  <a:pt x="6991" y="12468"/>
                </a:lnTo>
                <a:lnTo>
                  <a:pt x="7023" y="12469"/>
                </a:lnTo>
                <a:lnTo>
                  <a:pt x="7055" y="12470"/>
                </a:lnTo>
                <a:lnTo>
                  <a:pt x="7095" y="12469"/>
                </a:lnTo>
                <a:lnTo>
                  <a:pt x="7136" y="12468"/>
                </a:lnTo>
                <a:lnTo>
                  <a:pt x="7176" y="12466"/>
                </a:lnTo>
                <a:lnTo>
                  <a:pt x="7216" y="12463"/>
                </a:lnTo>
                <a:lnTo>
                  <a:pt x="7255" y="12458"/>
                </a:lnTo>
                <a:lnTo>
                  <a:pt x="7294" y="12453"/>
                </a:lnTo>
                <a:lnTo>
                  <a:pt x="7332" y="12447"/>
                </a:lnTo>
                <a:lnTo>
                  <a:pt x="7371" y="12441"/>
                </a:lnTo>
                <a:lnTo>
                  <a:pt x="7409" y="12434"/>
                </a:lnTo>
                <a:lnTo>
                  <a:pt x="7447" y="12425"/>
                </a:lnTo>
                <a:lnTo>
                  <a:pt x="7483" y="12416"/>
                </a:lnTo>
                <a:lnTo>
                  <a:pt x="7521" y="12407"/>
                </a:lnTo>
                <a:lnTo>
                  <a:pt x="7556" y="12396"/>
                </a:lnTo>
                <a:lnTo>
                  <a:pt x="7593" y="12383"/>
                </a:lnTo>
                <a:lnTo>
                  <a:pt x="7628" y="12371"/>
                </a:lnTo>
                <a:lnTo>
                  <a:pt x="7663" y="12358"/>
                </a:lnTo>
                <a:lnTo>
                  <a:pt x="7697" y="12344"/>
                </a:lnTo>
                <a:lnTo>
                  <a:pt x="7732" y="12329"/>
                </a:lnTo>
                <a:lnTo>
                  <a:pt x="7765" y="12314"/>
                </a:lnTo>
                <a:lnTo>
                  <a:pt x="7797" y="12296"/>
                </a:lnTo>
                <a:lnTo>
                  <a:pt x="7830" y="12279"/>
                </a:lnTo>
                <a:lnTo>
                  <a:pt x="7861" y="12261"/>
                </a:lnTo>
                <a:lnTo>
                  <a:pt x="7893" y="12243"/>
                </a:lnTo>
                <a:lnTo>
                  <a:pt x="7923" y="12222"/>
                </a:lnTo>
                <a:lnTo>
                  <a:pt x="7953" y="12202"/>
                </a:lnTo>
                <a:lnTo>
                  <a:pt x="7983" y="12181"/>
                </a:lnTo>
                <a:lnTo>
                  <a:pt x="8012" y="12158"/>
                </a:lnTo>
                <a:lnTo>
                  <a:pt x="8040" y="12135"/>
                </a:lnTo>
                <a:lnTo>
                  <a:pt x="8068" y="12111"/>
                </a:lnTo>
                <a:lnTo>
                  <a:pt x="8094" y="12086"/>
                </a:lnTo>
                <a:lnTo>
                  <a:pt x="8121" y="12061"/>
                </a:lnTo>
                <a:lnTo>
                  <a:pt x="8146" y="12035"/>
                </a:lnTo>
                <a:lnTo>
                  <a:pt x="8169" y="12009"/>
                </a:lnTo>
                <a:lnTo>
                  <a:pt x="8193" y="11984"/>
                </a:lnTo>
                <a:lnTo>
                  <a:pt x="8215" y="11957"/>
                </a:lnTo>
                <a:lnTo>
                  <a:pt x="8236" y="11929"/>
                </a:lnTo>
                <a:lnTo>
                  <a:pt x="8257" y="11901"/>
                </a:lnTo>
                <a:lnTo>
                  <a:pt x="8278" y="11872"/>
                </a:lnTo>
                <a:lnTo>
                  <a:pt x="8298" y="11841"/>
                </a:lnTo>
                <a:lnTo>
                  <a:pt x="8317" y="11811"/>
                </a:lnTo>
                <a:lnTo>
                  <a:pt x="8335" y="11779"/>
                </a:lnTo>
                <a:lnTo>
                  <a:pt x="8354" y="11748"/>
                </a:lnTo>
                <a:lnTo>
                  <a:pt x="8371" y="11714"/>
                </a:lnTo>
                <a:lnTo>
                  <a:pt x="8387" y="11681"/>
                </a:lnTo>
                <a:lnTo>
                  <a:pt x="8403" y="11648"/>
                </a:lnTo>
                <a:lnTo>
                  <a:pt x="8418" y="11612"/>
                </a:lnTo>
                <a:lnTo>
                  <a:pt x="8433" y="11577"/>
                </a:lnTo>
                <a:lnTo>
                  <a:pt x="8446" y="11540"/>
                </a:lnTo>
                <a:lnTo>
                  <a:pt x="8459" y="11504"/>
                </a:lnTo>
                <a:lnTo>
                  <a:pt x="8471" y="11465"/>
                </a:lnTo>
                <a:lnTo>
                  <a:pt x="8482" y="11427"/>
                </a:lnTo>
                <a:lnTo>
                  <a:pt x="8493" y="11388"/>
                </a:lnTo>
                <a:lnTo>
                  <a:pt x="8503" y="11348"/>
                </a:lnTo>
                <a:lnTo>
                  <a:pt x="8512" y="11307"/>
                </a:lnTo>
                <a:lnTo>
                  <a:pt x="8520" y="11266"/>
                </a:lnTo>
                <a:lnTo>
                  <a:pt x="8527" y="11224"/>
                </a:lnTo>
                <a:lnTo>
                  <a:pt x="8534" y="11181"/>
                </a:lnTo>
                <a:lnTo>
                  <a:pt x="8540" y="11139"/>
                </a:lnTo>
                <a:lnTo>
                  <a:pt x="8544" y="11094"/>
                </a:lnTo>
                <a:lnTo>
                  <a:pt x="8548" y="11050"/>
                </a:lnTo>
                <a:lnTo>
                  <a:pt x="8551" y="11004"/>
                </a:lnTo>
                <a:lnTo>
                  <a:pt x="8554" y="10958"/>
                </a:lnTo>
                <a:lnTo>
                  <a:pt x="8555" y="10912"/>
                </a:lnTo>
                <a:lnTo>
                  <a:pt x="8555" y="10864"/>
                </a:lnTo>
                <a:lnTo>
                  <a:pt x="8553" y="10785"/>
                </a:lnTo>
                <a:lnTo>
                  <a:pt x="8545" y="10704"/>
                </a:lnTo>
                <a:lnTo>
                  <a:pt x="8531" y="10620"/>
                </a:lnTo>
                <a:lnTo>
                  <a:pt x="8513" y="10534"/>
                </a:lnTo>
                <a:lnTo>
                  <a:pt x="8490" y="10444"/>
                </a:lnTo>
                <a:lnTo>
                  <a:pt x="8463" y="10354"/>
                </a:lnTo>
                <a:lnTo>
                  <a:pt x="8432" y="10262"/>
                </a:lnTo>
                <a:lnTo>
                  <a:pt x="8396" y="10169"/>
                </a:lnTo>
                <a:lnTo>
                  <a:pt x="8358" y="10073"/>
                </a:lnTo>
                <a:lnTo>
                  <a:pt x="8315" y="9978"/>
                </a:lnTo>
                <a:lnTo>
                  <a:pt x="8270" y="9881"/>
                </a:lnTo>
                <a:lnTo>
                  <a:pt x="8222" y="9784"/>
                </a:lnTo>
                <a:lnTo>
                  <a:pt x="8170" y="9686"/>
                </a:lnTo>
                <a:lnTo>
                  <a:pt x="8118" y="9588"/>
                </a:lnTo>
                <a:lnTo>
                  <a:pt x="8063" y="9491"/>
                </a:lnTo>
                <a:lnTo>
                  <a:pt x="8005" y="9393"/>
                </a:lnTo>
                <a:lnTo>
                  <a:pt x="7946" y="9296"/>
                </a:lnTo>
                <a:lnTo>
                  <a:pt x="7887" y="9200"/>
                </a:lnTo>
                <a:lnTo>
                  <a:pt x="7826" y="9103"/>
                </a:lnTo>
                <a:lnTo>
                  <a:pt x="7764" y="9009"/>
                </a:lnTo>
                <a:lnTo>
                  <a:pt x="7702" y="8916"/>
                </a:lnTo>
                <a:lnTo>
                  <a:pt x="7639" y="8825"/>
                </a:lnTo>
                <a:lnTo>
                  <a:pt x="7578" y="8734"/>
                </a:lnTo>
                <a:lnTo>
                  <a:pt x="7515" y="8647"/>
                </a:lnTo>
                <a:lnTo>
                  <a:pt x="7453" y="8561"/>
                </a:lnTo>
                <a:lnTo>
                  <a:pt x="7392" y="8478"/>
                </a:lnTo>
                <a:lnTo>
                  <a:pt x="7332" y="8397"/>
                </a:lnTo>
                <a:lnTo>
                  <a:pt x="7274" y="8319"/>
                </a:lnTo>
                <a:lnTo>
                  <a:pt x="7161" y="8173"/>
                </a:lnTo>
                <a:lnTo>
                  <a:pt x="7056" y="8040"/>
                </a:lnTo>
                <a:lnTo>
                  <a:pt x="7013" y="8094"/>
                </a:lnTo>
                <a:lnTo>
                  <a:pt x="6969" y="8152"/>
                </a:lnTo>
                <a:lnTo>
                  <a:pt x="6923" y="8210"/>
                </a:lnTo>
                <a:lnTo>
                  <a:pt x="6876" y="8272"/>
                </a:lnTo>
                <a:lnTo>
                  <a:pt x="6827" y="8337"/>
                </a:lnTo>
                <a:lnTo>
                  <a:pt x="6777" y="8403"/>
                </a:lnTo>
                <a:lnTo>
                  <a:pt x="6727" y="8472"/>
                </a:lnTo>
                <a:lnTo>
                  <a:pt x="6676" y="8542"/>
                </a:lnTo>
                <a:lnTo>
                  <a:pt x="6624" y="8614"/>
                </a:lnTo>
                <a:lnTo>
                  <a:pt x="6572" y="8688"/>
                </a:lnTo>
                <a:lnTo>
                  <a:pt x="6519" y="8763"/>
                </a:lnTo>
                <a:lnTo>
                  <a:pt x="6466" y="8840"/>
                </a:lnTo>
                <a:lnTo>
                  <a:pt x="6414" y="8918"/>
                </a:lnTo>
                <a:lnTo>
                  <a:pt x="6361" y="8998"/>
                </a:lnTo>
                <a:lnTo>
                  <a:pt x="6308" y="9078"/>
                </a:lnTo>
                <a:lnTo>
                  <a:pt x="6257" y="9160"/>
                </a:lnTo>
                <a:lnTo>
                  <a:pt x="6214" y="9227"/>
                </a:lnTo>
                <a:lnTo>
                  <a:pt x="6173" y="9295"/>
                </a:lnTo>
                <a:lnTo>
                  <a:pt x="6132" y="9363"/>
                </a:lnTo>
                <a:lnTo>
                  <a:pt x="6090" y="9433"/>
                </a:lnTo>
                <a:lnTo>
                  <a:pt x="6051" y="9503"/>
                </a:lnTo>
                <a:lnTo>
                  <a:pt x="6011" y="9574"/>
                </a:lnTo>
                <a:lnTo>
                  <a:pt x="5973" y="9646"/>
                </a:lnTo>
                <a:lnTo>
                  <a:pt x="5935" y="9718"/>
                </a:lnTo>
                <a:lnTo>
                  <a:pt x="5899" y="9791"/>
                </a:lnTo>
                <a:lnTo>
                  <a:pt x="5864" y="9865"/>
                </a:lnTo>
                <a:lnTo>
                  <a:pt x="5830" y="9939"/>
                </a:lnTo>
                <a:lnTo>
                  <a:pt x="5798" y="10013"/>
                </a:lnTo>
                <a:lnTo>
                  <a:pt x="5767" y="10087"/>
                </a:lnTo>
                <a:lnTo>
                  <a:pt x="5738" y="10162"/>
                </a:lnTo>
                <a:lnTo>
                  <a:pt x="5711" y="10238"/>
                </a:lnTo>
                <a:lnTo>
                  <a:pt x="5686" y="10313"/>
                </a:lnTo>
                <a:lnTo>
                  <a:pt x="5665" y="10383"/>
                </a:lnTo>
                <a:lnTo>
                  <a:pt x="5646" y="10453"/>
                </a:lnTo>
                <a:lnTo>
                  <a:pt x="5637" y="10487"/>
                </a:lnTo>
                <a:lnTo>
                  <a:pt x="5627" y="10522"/>
                </a:lnTo>
                <a:lnTo>
                  <a:pt x="5620" y="10558"/>
                </a:lnTo>
                <a:lnTo>
                  <a:pt x="5612" y="10593"/>
                </a:lnTo>
                <a:lnTo>
                  <a:pt x="5606" y="10628"/>
                </a:lnTo>
                <a:lnTo>
                  <a:pt x="5600" y="10663"/>
                </a:lnTo>
                <a:lnTo>
                  <a:pt x="5594" y="10699"/>
                </a:lnTo>
                <a:lnTo>
                  <a:pt x="5589" y="10734"/>
                </a:lnTo>
                <a:lnTo>
                  <a:pt x="5584" y="10770"/>
                </a:lnTo>
                <a:lnTo>
                  <a:pt x="5581" y="10805"/>
                </a:lnTo>
                <a:lnTo>
                  <a:pt x="5577" y="10840"/>
                </a:lnTo>
                <a:lnTo>
                  <a:pt x="5575" y="10875"/>
                </a:lnTo>
                <a:lnTo>
                  <a:pt x="5573" y="10911"/>
                </a:lnTo>
                <a:lnTo>
                  <a:pt x="5572" y="10946"/>
                </a:lnTo>
                <a:lnTo>
                  <a:pt x="5571" y="10982"/>
                </a:lnTo>
                <a:lnTo>
                  <a:pt x="5571" y="11017"/>
                </a:lnTo>
                <a:lnTo>
                  <a:pt x="5572" y="11052"/>
                </a:lnTo>
                <a:lnTo>
                  <a:pt x="5573" y="11087"/>
                </a:lnTo>
                <a:lnTo>
                  <a:pt x="5575" y="11123"/>
                </a:lnTo>
                <a:lnTo>
                  <a:pt x="5578" y="11158"/>
                </a:lnTo>
                <a:lnTo>
                  <a:pt x="5582" y="11192"/>
                </a:lnTo>
                <a:lnTo>
                  <a:pt x="5586" y="11228"/>
                </a:lnTo>
                <a:lnTo>
                  <a:pt x="5592" y="11262"/>
                </a:lnTo>
                <a:lnTo>
                  <a:pt x="5598" y="11298"/>
                </a:lnTo>
                <a:lnTo>
                  <a:pt x="5604" y="11332"/>
                </a:lnTo>
                <a:lnTo>
                  <a:pt x="5612" y="11367"/>
                </a:lnTo>
                <a:lnTo>
                  <a:pt x="5620" y="11402"/>
                </a:lnTo>
                <a:lnTo>
                  <a:pt x="5631" y="11437"/>
                </a:lnTo>
                <a:close/>
                <a:moveTo>
                  <a:pt x="2513" y="14880"/>
                </a:moveTo>
                <a:lnTo>
                  <a:pt x="2501" y="14880"/>
                </a:lnTo>
                <a:lnTo>
                  <a:pt x="2490" y="14879"/>
                </a:lnTo>
                <a:lnTo>
                  <a:pt x="2479" y="14877"/>
                </a:lnTo>
                <a:lnTo>
                  <a:pt x="2468" y="14875"/>
                </a:lnTo>
                <a:lnTo>
                  <a:pt x="2457" y="14873"/>
                </a:lnTo>
                <a:lnTo>
                  <a:pt x="2447" y="14870"/>
                </a:lnTo>
                <a:lnTo>
                  <a:pt x="2435" y="14866"/>
                </a:lnTo>
                <a:lnTo>
                  <a:pt x="2425" y="14862"/>
                </a:lnTo>
                <a:lnTo>
                  <a:pt x="2415" y="14858"/>
                </a:lnTo>
                <a:lnTo>
                  <a:pt x="2406" y="14853"/>
                </a:lnTo>
                <a:lnTo>
                  <a:pt x="2397" y="14848"/>
                </a:lnTo>
                <a:lnTo>
                  <a:pt x="2387" y="14841"/>
                </a:lnTo>
                <a:lnTo>
                  <a:pt x="2379" y="14835"/>
                </a:lnTo>
                <a:lnTo>
                  <a:pt x="2370" y="14828"/>
                </a:lnTo>
                <a:lnTo>
                  <a:pt x="2361" y="14821"/>
                </a:lnTo>
                <a:lnTo>
                  <a:pt x="2354" y="14814"/>
                </a:lnTo>
                <a:lnTo>
                  <a:pt x="2346" y="14806"/>
                </a:lnTo>
                <a:lnTo>
                  <a:pt x="2339" y="14798"/>
                </a:lnTo>
                <a:lnTo>
                  <a:pt x="2333" y="14789"/>
                </a:lnTo>
                <a:lnTo>
                  <a:pt x="2326" y="14781"/>
                </a:lnTo>
                <a:lnTo>
                  <a:pt x="2321" y="14772"/>
                </a:lnTo>
                <a:lnTo>
                  <a:pt x="2315" y="14761"/>
                </a:lnTo>
                <a:lnTo>
                  <a:pt x="2310" y="14752"/>
                </a:lnTo>
                <a:lnTo>
                  <a:pt x="2306" y="14742"/>
                </a:lnTo>
                <a:lnTo>
                  <a:pt x="2302" y="14732"/>
                </a:lnTo>
                <a:lnTo>
                  <a:pt x="2298" y="14721"/>
                </a:lnTo>
                <a:lnTo>
                  <a:pt x="2295" y="14711"/>
                </a:lnTo>
                <a:lnTo>
                  <a:pt x="2293" y="14700"/>
                </a:lnTo>
                <a:lnTo>
                  <a:pt x="2291" y="14688"/>
                </a:lnTo>
                <a:lnTo>
                  <a:pt x="2288" y="14677"/>
                </a:lnTo>
                <a:lnTo>
                  <a:pt x="2288" y="14666"/>
                </a:lnTo>
                <a:lnTo>
                  <a:pt x="2287" y="14654"/>
                </a:lnTo>
                <a:lnTo>
                  <a:pt x="2288" y="14643"/>
                </a:lnTo>
                <a:lnTo>
                  <a:pt x="2288" y="14632"/>
                </a:lnTo>
                <a:lnTo>
                  <a:pt x="2291" y="14620"/>
                </a:lnTo>
                <a:lnTo>
                  <a:pt x="2293" y="14608"/>
                </a:lnTo>
                <a:lnTo>
                  <a:pt x="2295" y="14598"/>
                </a:lnTo>
                <a:lnTo>
                  <a:pt x="2298" y="14587"/>
                </a:lnTo>
                <a:lnTo>
                  <a:pt x="2302" y="14577"/>
                </a:lnTo>
                <a:lnTo>
                  <a:pt x="2306" y="14567"/>
                </a:lnTo>
                <a:lnTo>
                  <a:pt x="2310" y="14557"/>
                </a:lnTo>
                <a:lnTo>
                  <a:pt x="2315" y="14547"/>
                </a:lnTo>
                <a:lnTo>
                  <a:pt x="2321" y="14537"/>
                </a:lnTo>
                <a:lnTo>
                  <a:pt x="2326" y="14528"/>
                </a:lnTo>
                <a:lnTo>
                  <a:pt x="2333" y="14519"/>
                </a:lnTo>
                <a:lnTo>
                  <a:pt x="2339" y="14511"/>
                </a:lnTo>
                <a:lnTo>
                  <a:pt x="2346" y="14503"/>
                </a:lnTo>
                <a:lnTo>
                  <a:pt x="2354" y="14495"/>
                </a:lnTo>
                <a:lnTo>
                  <a:pt x="2361" y="14488"/>
                </a:lnTo>
                <a:lnTo>
                  <a:pt x="2370" y="14481"/>
                </a:lnTo>
                <a:lnTo>
                  <a:pt x="2379" y="14474"/>
                </a:lnTo>
                <a:lnTo>
                  <a:pt x="2387" y="14467"/>
                </a:lnTo>
                <a:lnTo>
                  <a:pt x="2397" y="14461"/>
                </a:lnTo>
                <a:lnTo>
                  <a:pt x="2406" y="14456"/>
                </a:lnTo>
                <a:lnTo>
                  <a:pt x="2415" y="14451"/>
                </a:lnTo>
                <a:lnTo>
                  <a:pt x="2425" y="14446"/>
                </a:lnTo>
                <a:lnTo>
                  <a:pt x="2435" y="14442"/>
                </a:lnTo>
                <a:lnTo>
                  <a:pt x="2447" y="14439"/>
                </a:lnTo>
                <a:lnTo>
                  <a:pt x="2457" y="14436"/>
                </a:lnTo>
                <a:lnTo>
                  <a:pt x="2468" y="14433"/>
                </a:lnTo>
                <a:lnTo>
                  <a:pt x="2479" y="14431"/>
                </a:lnTo>
                <a:lnTo>
                  <a:pt x="2490" y="14430"/>
                </a:lnTo>
                <a:lnTo>
                  <a:pt x="2501" y="14429"/>
                </a:lnTo>
                <a:lnTo>
                  <a:pt x="2513" y="14429"/>
                </a:lnTo>
                <a:lnTo>
                  <a:pt x="11748" y="14429"/>
                </a:lnTo>
                <a:lnTo>
                  <a:pt x="11759" y="14429"/>
                </a:lnTo>
                <a:lnTo>
                  <a:pt x="11771" y="14430"/>
                </a:lnTo>
                <a:lnTo>
                  <a:pt x="11782" y="14431"/>
                </a:lnTo>
                <a:lnTo>
                  <a:pt x="11793" y="14433"/>
                </a:lnTo>
                <a:lnTo>
                  <a:pt x="11804" y="14436"/>
                </a:lnTo>
                <a:lnTo>
                  <a:pt x="11815" y="14439"/>
                </a:lnTo>
                <a:lnTo>
                  <a:pt x="11825" y="14442"/>
                </a:lnTo>
                <a:lnTo>
                  <a:pt x="11835" y="14446"/>
                </a:lnTo>
                <a:lnTo>
                  <a:pt x="11846" y="14451"/>
                </a:lnTo>
                <a:lnTo>
                  <a:pt x="11856" y="14456"/>
                </a:lnTo>
                <a:lnTo>
                  <a:pt x="11865" y="14461"/>
                </a:lnTo>
                <a:lnTo>
                  <a:pt x="11874" y="14467"/>
                </a:lnTo>
                <a:lnTo>
                  <a:pt x="11883" y="14474"/>
                </a:lnTo>
                <a:lnTo>
                  <a:pt x="11891" y="14481"/>
                </a:lnTo>
                <a:lnTo>
                  <a:pt x="11899" y="14488"/>
                </a:lnTo>
                <a:lnTo>
                  <a:pt x="11907" y="14495"/>
                </a:lnTo>
                <a:lnTo>
                  <a:pt x="11914" y="14503"/>
                </a:lnTo>
                <a:lnTo>
                  <a:pt x="11922" y="14511"/>
                </a:lnTo>
                <a:lnTo>
                  <a:pt x="11929" y="14519"/>
                </a:lnTo>
                <a:lnTo>
                  <a:pt x="11935" y="14528"/>
                </a:lnTo>
                <a:lnTo>
                  <a:pt x="11941" y="14537"/>
                </a:lnTo>
                <a:lnTo>
                  <a:pt x="11946" y="14547"/>
                </a:lnTo>
                <a:lnTo>
                  <a:pt x="11951" y="14557"/>
                </a:lnTo>
                <a:lnTo>
                  <a:pt x="11956" y="14567"/>
                </a:lnTo>
                <a:lnTo>
                  <a:pt x="11960" y="14577"/>
                </a:lnTo>
                <a:lnTo>
                  <a:pt x="11963" y="14587"/>
                </a:lnTo>
                <a:lnTo>
                  <a:pt x="11966" y="14598"/>
                </a:lnTo>
                <a:lnTo>
                  <a:pt x="11969" y="14608"/>
                </a:lnTo>
                <a:lnTo>
                  <a:pt x="11971" y="14620"/>
                </a:lnTo>
                <a:lnTo>
                  <a:pt x="11972" y="14632"/>
                </a:lnTo>
                <a:lnTo>
                  <a:pt x="11973" y="14643"/>
                </a:lnTo>
                <a:lnTo>
                  <a:pt x="11973" y="14654"/>
                </a:lnTo>
                <a:lnTo>
                  <a:pt x="11973" y="14666"/>
                </a:lnTo>
                <a:lnTo>
                  <a:pt x="11972" y="14677"/>
                </a:lnTo>
                <a:lnTo>
                  <a:pt x="11971" y="14688"/>
                </a:lnTo>
                <a:lnTo>
                  <a:pt x="11969" y="14700"/>
                </a:lnTo>
                <a:lnTo>
                  <a:pt x="11966" y="14711"/>
                </a:lnTo>
                <a:lnTo>
                  <a:pt x="11963" y="14721"/>
                </a:lnTo>
                <a:lnTo>
                  <a:pt x="11960" y="14732"/>
                </a:lnTo>
                <a:lnTo>
                  <a:pt x="11956" y="14742"/>
                </a:lnTo>
                <a:lnTo>
                  <a:pt x="11951" y="14752"/>
                </a:lnTo>
                <a:lnTo>
                  <a:pt x="11946" y="14761"/>
                </a:lnTo>
                <a:lnTo>
                  <a:pt x="11941" y="14772"/>
                </a:lnTo>
                <a:lnTo>
                  <a:pt x="11935" y="14781"/>
                </a:lnTo>
                <a:lnTo>
                  <a:pt x="11929" y="14789"/>
                </a:lnTo>
                <a:lnTo>
                  <a:pt x="11922" y="14798"/>
                </a:lnTo>
                <a:lnTo>
                  <a:pt x="11914" y="14806"/>
                </a:lnTo>
                <a:lnTo>
                  <a:pt x="11907" y="14814"/>
                </a:lnTo>
                <a:lnTo>
                  <a:pt x="11899" y="14821"/>
                </a:lnTo>
                <a:lnTo>
                  <a:pt x="11891" y="14828"/>
                </a:lnTo>
                <a:lnTo>
                  <a:pt x="11883" y="14835"/>
                </a:lnTo>
                <a:lnTo>
                  <a:pt x="11874" y="14841"/>
                </a:lnTo>
                <a:lnTo>
                  <a:pt x="11865" y="14848"/>
                </a:lnTo>
                <a:lnTo>
                  <a:pt x="11856" y="14853"/>
                </a:lnTo>
                <a:lnTo>
                  <a:pt x="11846" y="14858"/>
                </a:lnTo>
                <a:lnTo>
                  <a:pt x="11835" y="14862"/>
                </a:lnTo>
                <a:lnTo>
                  <a:pt x="11825" y="14866"/>
                </a:lnTo>
                <a:lnTo>
                  <a:pt x="11815" y="14870"/>
                </a:lnTo>
                <a:lnTo>
                  <a:pt x="11804" y="14873"/>
                </a:lnTo>
                <a:lnTo>
                  <a:pt x="11793" y="14875"/>
                </a:lnTo>
                <a:lnTo>
                  <a:pt x="11782" y="14877"/>
                </a:lnTo>
                <a:lnTo>
                  <a:pt x="11771" y="14879"/>
                </a:lnTo>
                <a:lnTo>
                  <a:pt x="11759" y="14880"/>
                </a:lnTo>
                <a:lnTo>
                  <a:pt x="11748" y="14880"/>
                </a:lnTo>
                <a:lnTo>
                  <a:pt x="2513" y="14880"/>
                </a:lnTo>
                <a:close/>
                <a:moveTo>
                  <a:pt x="9364" y="10892"/>
                </a:moveTo>
                <a:lnTo>
                  <a:pt x="9351" y="10892"/>
                </a:lnTo>
                <a:lnTo>
                  <a:pt x="9340" y="10891"/>
                </a:lnTo>
                <a:lnTo>
                  <a:pt x="9329" y="10890"/>
                </a:lnTo>
                <a:lnTo>
                  <a:pt x="9318" y="10888"/>
                </a:lnTo>
                <a:lnTo>
                  <a:pt x="9307" y="10885"/>
                </a:lnTo>
                <a:lnTo>
                  <a:pt x="9297" y="10882"/>
                </a:lnTo>
                <a:lnTo>
                  <a:pt x="9286" y="10879"/>
                </a:lnTo>
                <a:lnTo>
                  <a:pt x="9275" y="10875"/>
                </a:lnTo>
                <a:lnTo>
                  <a:pt x="9265" y="10870"/>
                </a:lnTo>
                <a:lnTo>
                  <a:pt x="9256" y="10865"/>
                </a:lnTo>
                <a:lnTo>
                  <a:pt x="9246" y="10860"/>
                </a:lnTo>
                <a:lnTo>
                  <a:pt x="9237" y="10854"/>
                </a:lnTo>
                <a:lnTo>
                  <a:pt x="9229" y="10848"/>
                </a:lnTo>
                <a:lnTo>
                  <a:pt x="9220" y="10841"/>
                </a:lnTo>
                <a:lnTo>
                  <a:pt x="9212" y="10834"/>
                </a:lnTo>
                <a:lnTo>
                  <a:pt x="9204" y="10827"/>
                </a:lnTo>
                <a:lnTo>
                  <a:pt x="9196" y="10818"/>
                </a:lnTo>
                <a:lnTo>
                  <a:pt x="9189" y="10810"/>
                </a:lnTo>
                <a:lnTo>
                  <a:pt x="9182" y="10802"/>
                </a:lnTo>
                <a:lnTo>
                  <a:pt x="9176" y="10793"/>
                </a:lnTo>
                <a:lnTo>
                  <a:pt x="9170" y="10784"/>
                </a:lnTo>
                <a:lnTo>
                  <a:pt x="9165" y="10775"/>
                </a:lnTo>
                <a:lnTo>
                  <a:pt x="9160" y="10765"/>
                </a:lnTo>
                <a:lnTo>
                  <a:pt x="9156" y="10755"/>
                </a:lnTo>
                <a:lnTo>
                  <a:pt x="9152" y="10744"/>
                </a:lnTo>
                <a:lnTo>
                  <a:pt x="9148" y="10734"/>
                </a:lnTo>
                <a:lnTo>
                  <a:pt x="9145" y="10723"/>
                </a:lnTo>
                <a:lnTo>
                  <a:pt x="9143" y="10713"/>
                </a:lnTo>
                <a:lnTo>
                  <a:pt x="9141" y="10702"/>
                </a:lnTo>
                <a:lnTo>
                  <a:pt x="9139" y="10690"/>
                </a:lnTo>
                <a:lnTo>
                  <a:pt x="9139" y="10679"/>
                </a:lnTo>
                <a:lnTo>
                  <a:pt x="9138" y="10667"/>
                </a:lnTo>
                <a:lnTo>
                  <a:pt x="9139" y="10655"/>
                </a:lnTo>
                <a:lnTo>
                  <a:pt x="9139" y="10644"/>
                </a:lnTo>
                <a:lnTo>
                  <a:pt x="9141" y="10633"/>
                </a:lnTo>
                <a:lnTo>
                  <a:pt x="9143" y="10622"/>
                </a:lnTo>
                <a:lnTo>
                  <a:pt x="9145" y="10611"/>
                </a:lnTo>
                <a:lnTo>
                  <a:pt x="9148" y="10600"/>
                </a:lnTo>
                <a:lnTo>
                  <a:pt x="9152" y="10589"/>
                </a:lnTo>
                <a:lnTo>
                  <a:pt x="9156" y="10579"/>
                </a:lnTo>
                <a:lnTo>
                  <a:pt x="9160" y="10569"/>
                </a:lnTo>
                <a:lnTo>
                  <a:pt x="9165" y="10560"/>
                </a:lnTo>
                <a:lnTo>
                  <a:pt x="9170" y="10550"/>
                </a:lnTo>
                <a:lnTo>
                  <a:pt x="9176" y="10541"/>
                </a:lnTo>
                <a:lnTo>
                  <a:pt x="9182" y="10533"/>
                </a:lnTo>
                <a:lnTo>
                  <a:pt x="9189" y="10523"/>
                </a:lnTo>
                <a:lnTo>
                  <a:pt x="9196" y="10515"/>
                </a:lnTo>
                <a:lnTo>
                  <a:pt x="9204" y="10507"/>
                </a:lnTo>
                <a:lnTo>
                  <a:pt x="9212" y="10500"/>
                </a:lnTo>
                <a:lnTo>
                  <a:pt x="9220" y="10493"/>
                </a:lnTo>
                <a:lnTo>
                  <a:pt x="9229" y="10486"/>
                </a:lnTo>
                <a:lnTo>
                  <a:pt x="9237" y="10480"/>
                </a:lnTo>
                <a:lnTo>
                  <a:pt x="9246" y="10474"/>
                </a:lnTo>
                <a:lnTo>
                  <a:pt x="9256" y="10469"/>
                </a:lnTo>
                <a:lnTo>
                  <a:pt x="9265" y="10464"/>
                </a:lnTo>
                <a:lnTo>
                  <a:pt x="9275" y="10460"/>
                </a:lnTo>
                <a:lnTo>
                  <a:pt x="9286" y="10456"/>
                </a:lnTo>
                <a:lnTo>
                  <a:pt x="9297" y="10451"/>
                </a:lnTo>
                <a:lnTo>
                  <a:pt x="9307" y="10448"/>
                </a:lnTo>
                <a:lnTo>
                  <a:pt x="9318" y="10446"/>
                </a:lnTo>
                <a:lnTo>
                  <a:pt x="9329" y="10444"/>
                </a:lnTo>
                <a:lnTo>
                  <a:pt x="9340" y="10442"/>
                </a:lnTo>
                <a:lnTo>
                  <a:pt x="9351" y="10441"/>
                </a:lnTo>
                <a:lnTo>
                  <a:pt x="9364" y="10441"/>
                </a:lnTo>
                <a:lnTo>
                  <a:pt x="11516" y="10441"/>
                </a:lnTo>
                <a:lnTo>
                  <a:pt x="11529" y="10441"/>
                </a:lnTo>
                <a:lnTo>
                  <a:pt x="11540" y="10442"/>
                </a:lnTo>
                <a:lnTo>
                  <a:pt x="11551" y="10444"/>
                </a:lnTo>
                <a:lnTo>
                  <a:pt x="11562" y="10446"/>
                </a:lnTo>
                <a:lnTo>
                  <a:pt x="11573" y="10448"/>
                </a:lnTo>
                <a:lnTo>
                  <a:pt x="11583" y="10451"/>
                </a:lnTo>
                <a:lnTo>
                  <a:pt x="11594" y="10456"/>
                </a:lnTo>
                <a:lnTo>
                  <a:pt x="11605" y="10460"/>
                </a:lnTo>
                <a:lnTo>
                  <a:pt x="11615" y="10464"/>
                </a:lnTo>
                <a:lnTo>
                  <a:pt x="11624" y="10469"/>
                </a:lnTo>
                <a:lnTo>
                  <a:pt x="11633" y="10474"/>
                </a:lnTo>
                <a:lnTo>
                  <a:pt x="11643" y="10480"/>
                </a:lnTo>
                <a:lnTo>
                  <a:pt x="11651" y="10486"/>
                </a:lnTo>
                <a:lnTo>
                  <a:pt x="11660" y="10493"/>
                </a:lnTo>
                <a:lnTo>
                  <a:pt x="11668" y="10500"/>
                </a:lnTo>
                <a:lnTo>
                  <a:pt x="11675" y="10507"/>
                </a:lnTo>
                <a:lnTo>
                  <a:pt x="11684" y="10515"/>
                </a:lnTo>
                <a:lnTo>
                  <a:pt x="11691" y="10523"/>
                </a:lnTo>
                <a:lnTo>
                  <a:pt x="11697" y="10533"/>
                </a:lnTo>
                <a:lnTo>
                  <a:pt x="11704" y="10541"/>
                </a:lnTo>
                <a:lnTo>
                  <a:pt x="11709" y="10550"/>
                </a:lnTo>
                <a:lnTo>
                  <a:pt x="11715" y="10560"/>
                </a:lnTo>
                <a:lnTo>
                  <a:pt x="11720" y="10569"/>
                </a:lnTo>
                <a:lnTo>
                  <a:pt x="11724" y="10579"/>
                </a:lnTo>
                <a:lnTo>
                  <a:pt x="11728" y="10589"/>
                </a:lnTo>
                <a:lnTo>
                  <a:pt x="11732" y="10600"/>
                </a:lnTo>
                <a:lnTo>
                  <a:pt x="11735" y="10611"/>
                </a:lnTo>
                <a:lnTo>
                  <a:pt x="11737" y="10622"/>
                </a:lnTo>
                <a:lnTo>
                  <a:pt x="11739" y="10633"/>
                </a:lnTo>
                <a:lnTo>
                  <a:pt x="11741" y="10644"/>
                </a:lnTo>
                <a:lnTo>
                  <a:pt x="11741" y="10655"/>
                </a:lnTo>
                <a:lnTo>
                  <a:pt x="11742" y="10667"/>
                </a:lnTo>
                <a:lnTo>
                  <a:pt x="11741" y="10679"/>
                </a:lnTo>
                <a:lnTo>
                  <a:pt x="11741" y="10690"/>
                </a:lnTo>
                <a:lnTo>
                  <a:pt x="11739" y="10702"/>
                </a:lnTo>
                <a:lnTo>
                  <a:pt x="11737" y="10713"/>
                </a:lnTo>
                <a:lnTo>
                  <a:pt x="11735" y="10723"/>
                </a:lnTo>
                <a:lnTo>
                  <a:pt x="11732" y="10734"/>
                </a:lnTo>
                <a:lnTo>
                  <a:pt x="11728" y="10744"/>
                </a:lnTo>
                <a:lnTo>
                  <a:pt x="11724" y="10755"/>
                </a:lnTo>
                <a:lnTo>
                  <a:pt x="11720" y="10765"/>
                </a:lnTo>
                <a:lnTo>
                  <a:pt x="11715" y="10775"/>
                </a:lnTo>
                <a:lnTo>
                  <a:pt x="11709" y="10784"/>
                </a:lnTo>
                <a:lnTo>
                  <a:pt x="11704" y="10793"/>
                </a:lnTo>
                <a:lnTo>
                  <a:pt x="11697" y="10802"/>
                </a:lnTo>
                <a:lnTo>
                  <a:pt x="11691" y="10810"/>
                </a:lnTo>
                <a:lnTo>
                  <a:pt x="11684" y="10818"/>
                </a:lnTo>
                <a:lnTo>
                  <a:pt x="11675" y="10827"/>
                </a:lnTo>
                <a:lnTo>
                  <a:pt x="11668" y="10834"/>
                </a:lnTo>
                <a:lnTo>
                  <a:pt x="11660" y="10841"/>
                </a:lnTo>
                <a:lnTo>
                  <a:pt x="11651" y="10848"/>
                </a:lnTo>
                <a:lnTo>
                  <a:pt x="11643" y="10854"/>
                </a:lnTo>
                <a:lnTo>
                  <a:pt x="11633" y="10860"/>
                </a:lnTo>
                <a:lnTo>
                  <a:pt x="11624" y="10865"/>
                </a:lnTo>
                <a:lnTo>
                  <a:pt x="11615" y="10870"/>
                </a:lnTo>
                <a:lnTo>
                  <a:pt x="11605" y="10875"/>
                </a:lnTo>
                <a:lnTo>
                  <a:pt x="11594" y="10879"/>
                </a:lnTo>
                <a:lnTo>
                  <a:pt x="11583" y="10882"/>
                </a:lnTo>
                <a:lnTo>
                  <a:pt x="11573" y="10885"/>
                </a:lnTo>
                <a:lnTo>
                  <a:pt x="11562" y="10888"/>
                </a:lnTo>
                <a:lnTo>
                  <a:pt x="11551" y="10890"/>
                </a:lnTo>
                <a:lnTo>
                  <a:pt x="11540" y="10891"/>
                </a:lnTo>
                <a:lnTo>
                  <a:pt x="11529" y="10892"/>
                </a:lnTo>
                <a:lnTo>
                  <a:pt x="11516" y="10892"/>
                </a:lnTo>
                <a:lnTo>
                  <a:pt x="9364" y="10892"/>
                </a:lnTo>
                <a:close/>
                <a:moveTo>
                  <a:pt x="2611" y="10892"/>
                </a:moveTo>
                <a:lnTo>
                  <a:pt x="2598" y="10892"/>
                </a:lnTo>
                <a:lnTo>
                  <a:pt x="2587" y="10891"/>
                </a:lnTo>
                <a:lnTo>
                  <a:pt x="2576" y="10890"/>
                </a:lnTo>
                <a:lnTo>
                  <a:pt x="2565" y="10888"/>
                </a:lnTo>
                <a:lnTo>
                  <a:pt x="2554" y="10885"/>
                </a:lnTo>
                <a:lnTo>
                  <a:pt x="2544" y="10882"/>
                </a:lnTo>
                <a:lnTo>
                  <a:pt x="2533" y="10879"/>
                </a:lnTo>
                <a:lnTo>
                  <a:pt x="2522" y="10875"/>
                </a:lnTo>
                <a:lnTo>
                  <a:pt x="2512" y="10870"/>
                </a:lnTo>
                <a:lnTo>
                  <a:pt x="2503" y="10865"/>
                </a:lnTo>
                <a:lnTo>
                  <a:pt x="2494" y="10860"/>
                </a:lnTo>
                <a:lnTo>
                  <a:pt x="2484" y="10854"/>
                </a:lnTo>
                <a:lnTo>
                  <a:pt x="2476" y="10848"/>
                </a:lnTo>
                <a:lnTo>
                  <a:pt x="2467" y="10841"/>
                </a:lnTo>
                <a:lnTo>
                  <a:pt x="2459" y="10834"/>
                </a:lnTo>
                <a:lnTo>
                  <a:pt x="2452" y="10827"/>
                </a:lnTo>
                <a:lnTo>
                  <a:pt x="2443" y="10818"/>
                </a:lnTo>
                <a:lnTo>
                  <a:pt x="2436" y="10810"/>
                </a:lnTo>
                <a:lnTo>
                  <a:pt x="2430" y="10802"/>
                </a:lnTo>
                <a:lnTo>
                  <a:pt x="2423" y="10793"/>
                </a:lnTo>
                <a:lnTo>
                  <a:pt x="2418" y="10784"/>
                </a:lnTo>
                <a:lnTo>
                  <a:pt x="2412" y="10775"/>
                </a:lnTo>
                <a:lnTo>
                  <a:pt x="2407" y="10765"/>
                </a:lnTo>
                <a:lnTo>
                  <a:pt x="2403" y="10755"/>
                </a:lnTo>
                <a:lnTo>
                  <a:pt x="2399" y="10744"/>
                </a:lnTo>
                <a:lnTo>
                  <a:pt x="2395" y="10734"/>
                </a:lnTo>
                <a:lnTo>
                  <a:pt x="2392" y="10723"/>
                </a:lnTo>
                <a:lnTo>
                  <a:pt x="2390" y="10713"/>
                </a:lnTo>
                <a:lnTo>
                  <a:pt x="2388" y="10702"/>
                </a:lnTo>
                <a:lnTo>
                  <a:pt x="2386" y="10690"/>
                </a:lnTo>
                <a:lnTo>
                  <a:pt x="2386" y="10679"/>
                </a:lnTo>
                <a:lnTo>
                  <a:pt x="2385" y="10667"/>
                </a:lnTo>
                <a:lnTo>
                  <a:pt x="2386" y="10655"/>
                </a:lnTo>
                <a:lnTo>
                  <a:pt x="2386" y="10644"/>
                </a:lnTo>
                <a:lnTo>
                  <a:pt x="2388" y="10633"/>
                </a:lnTo>
                <a:lnTo>
                  <a:pt x="2390" y="10622"/>
                </a:lnTo>
                <a:lnTo>
                  <a:pt x="2392" y="10611"/>
                </a:lnTo>
                <a:lnTo>
                  <a:pt x="2395" y="10600"/>
                </a:lnTo>
                <a:lnTo>
                  <a:pt x="2399" y="10589"/>
                </a:lnTo>
                <a:lnTo>
                  <a:pt x="2403" y="10579"/>
                </a:lnTo>
                <a:lnTo>
                  <a:pt x="2407" y="10569"/>
                </a:lnTo>
                <a:lnTo>
                  <a:pt x="2412" y="10560"/>
                </a:lnTo>
                <a:lnTo>
                  <a:pt x="2418" y="10550"/>
                </a:lnTo>
                <a:lnTo>
                  <a:pt x="2423" y="10541"/>
                </a:lnTo>
                <a:lnTo>
                  <a:pt x="2430" y="10533"/>
                </a:lnTo>
                <a:lnTo>
                  <a:pt x="2436" y="10523"/>
                </a:lnTo>
                <a:lnTo>
                  <a:pt x="2443" y="10515"/>
                </a:lnTo>
                <a:lnTo>
                  <a:pt x="2452" y="10507"/>
                </a:lnTo>
                <a:lnTo>
                  <a:pt x="2459" y="10500"/>
                </a:lnTo>
                <a:lnTo>
                  <a:pt x="2467" y="10493"/>
                </a:lnTo>
                <a:lnTo>
                  <a:pt x="2476" y="10486"/>
                </a:lnTo>
                <a:lnTo>
                  <a:pt x="2484" y="10480"/>
                </a:lnTo>
                <a:lnTo>
                  <a:pt x="2494" y="10474"/>
                </a:lnTo>
                <a:lnTo>
                  <a:pt x="2503" y="10469"/>
                </a:lnTo>
                <a:lnTo>
                  <a:pt x="2512" y="10464"/>
                </a:lnTo>
                <a:lnTo>
                  <a:pt x="2522" y="10460"/>
                </a:lnTo>
                <a:lnTo>
                  <a:pt x="2533" y="10456"/>
                </a:lnTo>
                <a:lnTo>
                  <a:pt x="2544" y="10451"/>
                </a:lnTo>
                <a:lnTo>
                  <a:pt x="2554" y="10448"/>
                </a:lnTo>
                <a:lnTo>
                  <a:pt x="2565" y="10446"/>
                </a:lnTo>
                <a:lnTo>
                  <a:pt x="2576" y="10444"/>
                </a:lnTo>
                <a:lnTo>
                  <a:pt x="2587" y="10442"/>
                </a:lnTo>
                <a:lnTo>
                  <a:pt x="2598" y="10441"/>
                </a:lnTo>
                <a:lnTo>
                  <a:pt x="2611" y="10441"/>
                </a:lnTo>
                <a:lnTo>
                  <a:pt x="4763" y="10441"/>
                </a:lnTo>
                <a:lnTo>
                  <a:pt x="4776" y="10441"/>
                </a:lnTo>
                <a:lnTo>
                  <a:pt x="4787" y="10442"/>
                </a:lnTo>
                <a:lnTo>
                  <a:pt x="4798" y="10444"/>
                </a:lnTo>
                <a:lnTo>
                  <a:pt x="4809" y="10446"/>
                </a:lnTo>
                <a:lnTo>
                  <a:pt x="4820" y="10448"/>
                </a:lnTo>
                <a:lnTo>
                  <a:pt x="4830" y="10451"/>
                </a:lnTo>
                <a:lnTo>
                  <a:pt x="4841" y="10456"/>
                </a:lnTo>
                <a:lnTo>
                  <a:pt x="4852" y="10460"/>
                </a:lnTo>
                <a:lnTo>
                  <a:pt x="4862" y="10464"/>
                </a:lnTo>
                <a:lnTo>
                  <a:pt x="4871" y="10469"/>
                </a:lnTo>
                <a:lnTo>
                  <a:pt x="4881" y="10474"/>
                </a:lnTo>
                <a:lnTo>
                  <a:pt x="4890" y="10480"/>
                </a:lnTo>
                <a:lnTo>
                  <a:pt x="4898" y="10486"/>
                </a:lnTo>
                <a:lnTo>
                  <a:pt x="4907" y="10493"/>
                </a:lnTo>
                <a:lnTo>
                  <a:pt x="4915" y="10500"/>
                </a:lnTo>
                <a:lnTo>
                  <a:pt x="4923" y="10507"/>
                </a:lnTo>
                <a:lnTo>
                  <a:pt x="4931" y="10515"/>
                </a:lnTo>
                <a:lnTo>
                  <a:pt x="4938" y="10523"/>
                </a:lnTo>
                <a:lnTo>
                  <a:pt x="4944" y="10533"/>
                </a:lnTo>
                <a:lnTo>
                  <a:pt x="4951" y="10541"/>
                </a:lnTo>
                <a:lnTo>
                  <a:pt x="4956" y="10550"/>
                </a:lnTo>
                <a:lnTo>
                  <a:pt x="4962" y="10560"/>
                </a:lnTo>
                <a:lnTo>
                  <a:pt x="4967" y="10569"/>
                </a:lnTo>
                <a:lnTo>
                  <a:pt x="4971" y="10579"/>
                </a:lnTo>
                <a:lnTo>
                  <a:pt x="4975" y="10589"/>
                </a:lnTo>
                <a:lnTo>
                  <a:pt x="4979" y="10600"/>
                </a:lnTo>
                <a:lnTo>
                  <a:pt x="4982" y="10611"/>
                </a:lnTo>
                <a:lnTo>
                  <a:pt x="4984" y="10622"/>
                </a:lnTo>
                <a:lnTo>
                  <a:pt x="4986" y="10633"/>
                </a:lnTo>
                <a:lnTo>
                  <a:pt x="4988" y="10644"/>
                </a:lnTo>
                <a:lnTo>
                  <a:pt x="4988" y="10655"/>
                </a:lnTo>
                <a:lnTo>
                  <a:pt x="4989" y="10667"/>
                </a:lnTo>
                <a:lnTo>
                  <a:pt x="4988" y="10679"/>
                </a:lnTo>
                <a:lnTo>
                  <a:pt x="4988" y="10690"/>
                </a:lnTo>
                <a:lnTo>
                  <a:pt x="4986" y="10702"/>
                </a:lnTo>
                <a:lnTo>
                  <a:pt x="4984" y="10713"/>
                </a:lnTo>
                <a:lnTo>
                  <a:pt x="4982" y="10723"/>
                </a:lnTo>
                <a:lnTo>
                  <a:pt x="4979" y="10734"/>
                </a:lnTo>
                <a:lnTo>
                  <a:pt x="4975" y="10744"/>
                </a:lnTo>
                <a:lnTo>
                  <a:pt x="4971" y="10755"/>
                </a:lnTo>
                <a:lnTo>
                  <a:pt x="4967" y="10765"/>
                </a:lnTo>
                <a:lnTo>
                  <a:pt x="4962" y="10775"/>
                </a:lnTo>
                <a:lnTo>
                  <a:pt x="4956" y="10784"/>
                </a:lnTo>
                <a:lnTo>
                  <a:pt x="4951" y="10793"/>
                </a:lnTo>
                <a:lnTo>
                  <a:pt x="4944" y="10802"/>
                </a:lnTo>
                <a:lnTo>
                  <a:pt x="4938" y="10810"/>
                </a:lnTo>
                <a:lnTo>
                  <a:pt x="4931" y="10818"/>
                </a:lnTo>
                <a:lnTo>
                  <a:pt x="4923" y="10827"/>
                </a:lnTo>
                <a:lnTo>
                  <a:pt x="4915" y="10834"/>
                </a:lnTo>
                <a:lnTo>
                  <a:pt x="4907" y="10841"/>
                </a:lnTo>
                <a:lnTo>
                  <a:pt x="4898" y="10848"/>
                </a:lnTo>
                <a:lnTo>
                  <a:pt x="4890" y="10854"/>
                </a:lnTo>
                <a:lnTo>
                  <a:pt x="4881" y="10860"/>
                </a:lnTo>
                <a:lnTo>
                  <a:pt x="4871" y="10865"/>
                </a:lnTo>
                <a:lnTo>
                  <a:pt x="4862" y="10870"/>
                </a:lnTo>
                <a:lnTo>
                  <a:pt x="4852" y="10875"/>
                </a:lnTo>
                <a:lnTo>
                  <a:pt x="4841" y="10879"/>
                </a:lnTo>
                <a:lnTo>
                  <a:pt x="4830" y="10882"/>
                </a:lnTo>
                <a:lnTo>
                  <a:pt x="4820" y="10885"/>
                </a:lnTo>
                <a:lnTo>
                  <a:pt x="4809" y="10888"/>
                </a:lnTo>
                <a:lnTo>
                  <a:pt x="4798" y="10890"/>
                </a:lnTo>
                <a:lnTo>
                  <a:pt x="4787" y="10891"/>
                </a:lnTo>
                <a:lnTo>
                  <a:pt x="4776" y="10892"/>
                </a:lnTo>
                <a:lnTo>
                  <a:pt x="4763" y="10892"/>
                </a:lnTo>
                <a:lnTo>
                  <a:pt x="2611" y="10892"/>
                </a:lnTo>
                <a:close/>
                <a:moveTo>
                  <a:pt x="2513" y="6118"/>
                </a:moveTo>
                <a:lnTo>
                  <a:pt x="2501" y="6118"/>
                </a:lnTo>
                <a:lnTo>
                  <a:pt x="2490" y="6117"/>
                </a:lnTo>
                <a:lnTo>
                  <a:pt x="2479" y="6115"/>
                </a:lnTo>
                <a:lnTo>
                  <a:pt x="2468" y="6113"/>
                </a:lnTo>
                <a:lnTo>
                  <a:pt x="2457" y="6111"/>
                </a:lnTo>
                <a:lnTo>
                  <a:pt x="2447" y="6108"/>
                </a:lnTo>
                <a:lnTo>
                  <a:pt x="2435" y="6104"/>
                </a:lnTo>
                <a:lnTo>
                  <a:pt x="2425" y="6100"/>
                </a:lnTo>
                <a:lnTo>
                  <a:pt x="2415" y="6096"/>
                </a:lnTo>
                <a:lnTo>
                  <a:pt x="2406" y="6091"/>
                </a:lnTo>
                <a:lnTo>
                  <a:pt x="2397" y="6086"/>
                </a:lnTo>
                <a:lnTo>
                  <a:pt x="2387" y="6080"/>
                </a:lnTo>
                <a:lnTo>
                  <a:pt x="2379" y="6074"/>
                </a:lnTo>
                <a:lnTo>
                  <a:pt x="2370" y="6067"/>
                </a:lnTo>
                <a:lnTo>
                  <a:pt x="2361" y="6059"/>
                </a:lnTo>
                <a:lnTo>
                  <a:pt x="2354" y="6052"/>
                </a:lnTo>
                <a:lnTo>
                  <a:pt x="2346" y="6044"/>
                </a:lnTo>
                <a:lnTo>
                  <a:pt x="2339" y="6036"/>
                </a:lnTo>
                <a:lnTo>
                  <a:pt x="2333" y="6027"/>
                </a:lnTo>
                <a:lnTo>
                  <a:pt x="2326" y="6019"/>
                </a:lnTo>
                <a:lnTo>
                  <a:pt x="2321" y="6010"/>
                </a:lnTo>
                <a:lnTo>
                  <a:pt x="2315" y="6000"/>
                </a:lnTo>
                <a:lnTo>
                  <a:pt x="2310" y="5991"/>
                </a:lnTo>
                <a:lnTo>
                  <a:pt x="2306" y="5980"/>
                </a:lnTo>
                <a:lnTo>
                  <a:pt x="2302" y="5970"/>
                </a:lnTo>
                <a:lnTo>
                  <a:pt x="2298" y="5959"/>
                </a:lnTo>
                <a:lnTo>
                  <a:pt x="2295" y="5949"/>
                </a:lnTo>
                <a:lnTo>
                  <a:pt x="2293" y="5938"/>
                </a:lnTo>
                <a:lnTo>
                  <a:pt x="2291" y="5927"/>
                </a:lnTo>
                <a:lnTo>
                  <a:pt x="2288" y="5916"/>
                </a:lnTo>
                <a:lnTo>
                  <a:pt x="2288" y="5904"/>
                </a:lnTo>
                <a:lnTo>
                  <a:pt x="2287" y="5892"/>
                </a:lnTo>
                <a:lnTo>
                  <a:pt x="2288" y="5881"/>
                </a:lnTo>
                <a:lnTo>
                  <a:pt x="2288" y="5870"/>
                </a:lnTo>
                <a:lnTo>
                  <a:pt x="2291" y="5858"/>
                </a:lnTo>
                <a:lnTo>
                  <a:pt x="2293" y="5847"/>
                </a:lnTo>
                <a:lnTo>
                  <a:pt x="2295" y="5836"/>
                </a:lnTo>
                <a:lnTo>
                  <a:pt x="2298" y="5825"/>
                </a:lnTo>
                <a:lnTo>
                  <a:pt x="2302" y="5815"/>
                </a:lnTo>
                <a:lnTo>
                  <a:pt x="2306" y="5805"/>
                </a:lnTo>
                <a:lnTo>
                  <a:pt x="2310" y="5795"/>
                </a:lnTo>
                <a:lnTo>
                  <a:pt x="2315" y="5785"/>
                </a:lnTo>
                <a:lnTo>
                  <a:pt x="2321" y="5776"/>
                </a:lnTo>
                <a:lnTo>
                  <a:pt x="2326" y="5767"/>
                </a:lnTo>
                <a:lnTo>
                  <a:pt x="2333" y="5757"/>
                </a:lnTo>
                <a:lnTo>
                  <a:pt x="2339" y="5749"/>
                </a:lnTo>
                <a:lnTo>
                  <a:pt x="2346" y="5741"/>
                </a:lnTo>
                <a:lnTo>
                  <a:pt x="2354" y="5733"/>
                </a:lnTo>
                <a:lnTo>
                  <a:pt x="2361" y="5726"/>
                </a:lnTo>
                <a:lnTo>
                  <a:pt x="2370" y="5719"/>
                </a:lnTo>
                <a:lnTo>
                  <a:pt x="2379" y="5712"/>
                </a:lnTo>
                <a:lnTo>
                  <a:pt x="2387" y="5706"/>
                </a:lnTo>
                <a:lnTo>
                  <a:pt x="2397" y="5700"/>
                </a:lnTo>
                <a:lnTo>
                  <a:pt x="2406" y="5695"/>
                </a:lnTo>
                <a:lnTo>
                  <a:pt x="2415" y="5689"/>
                </a:lnTo>
                <a:lnTo>
                  <a:pt x="2425" y="5684"/>
                </a:lnTo>
                <a:lnTo>
                  <a:pt x="2435" y="5680"/>
                </a:lnTo>
                <a:lnTo>
                  <a:pt x="2447" y="5677"/>
                </a:lnTo>
                <a:lnTo>
                  <a:pt x="2457" y="5674"/>
                </a:lnTo>
                <a:lnTo>
                  <a:pt x="2468" y="5671"/>
                </a:lnTo>
                <a:lnTo>
                  <a:pt x="2479" y="5669"/>
                </a:lnTo>
                <a:lnTo>
                  <a:pt x="2490" y="5668"/>
                </a:lnTo>
                <a:lnTo>
                  <a:pt x="2501" y="5667"/>
                </a:lnTo>
                <a:lnTo>
                  <a:pt x="2513" y="5667"/>
                </a:lnTo>
                <a:lnTo>
                  <a:pt x="11748" y="5667"/>
                </a:lnTo>
                <a:lnTo>
                  <a:pt x="11759" y="5667"/>
                </a:lnTo>
                <a:lnTo>
                  <a:pt x="11771" y="5668"/>
                </a:lnTo>
                <a:lnTo>
                  <a:pt x="11782" y="5669"/>
                </a:lnTo>
                <a:lnTo>
                  <a:pt x="11793" y="5671"/>
                </a:lnTo>
                <a:lnTo>
                  <a:pt x="11804" y="5674"/>
                </a:lnTo>
                <a:lnTo>
                  <a:pt x="11815" y="5677"/>
                </a:lnTo>
                <a:lnTo>
                  <a:pt x="11825" y="5680"/>
                </a:lnTo>
                <a:lnTo>
                  <a:pt x="11835" y="5684"/>
                </a:lnTo>
                <a:lnTo>
                  <a:pt x="11846" y="5689"/>
                </a:lnTo>
                <a:lnTo>
                  <a:pt x="11856" y="5695"/>
                </a:lnTo>
                <a:lnTo>
                  <a:pt x="11865" y="5700"/>
                </a:lnTo>
                <a:lnTo>
                  <a:pt x="11874" y="5706"/>
                </a:lnTo>
                <a:lnTo>
                  <a:pt x="11883" y="5712"/>
                </a:lnTo>
                <a:lnTo>
                  <a:pt x="11891" y="5719"/>
                </a:lnTo>
                <a:lnTo>
                  <a:pt x="11899" y="5726"/>
                </a:lnTo>
                <a:lnTo>
                  <a:pt x="11907" y="5733"/>
                </a:lnTo>
                <a:lnTo>
                  <a:pt x="11914" y="5741"/>
                </a:lnTo>
                <a:lnTo>
                  <a:pt x="11922" y="5749"/>
                </a:lnTo>
                <a:lnTo>
                  <a:pt x="11929" y="5757"/>
                </a:lnTo>
                <a:lnTo>
                  <a:pt x="11935" y="5767"/>
                </a:lnTo>
                <a:lnTo>
                  <a:pt x="11941" y="5776"/>
                </a:lnTo>
                <a:lnTo>
                  <a:pt x="11946" y="5785"/>
                </a:lnTo>
                <a:lnTo>
                  <a:pt x="11951" y="5795"/>
                </a:lnTo>
                <a:lnTo>
                  <a:pt x="11956" y="5805"/>
                </a:lnTo>
                <a:lnTo>
                  <a:pt x="11960" y="5815"/>
                </a:lnTo>
                <a:lnTo>
                  <a:pt x="11963" y="5825"/>
                </a:lnTo>
                <a:lnTo>
                  <a:pt x="11966" y="5836"/>
                </a:lnTo>
                <a:lnTo>
                  <a:pt x="11969" y="5847"/>
                </a:lnTo>
                <a:lnTo>
                  <a:pt x="11971" y="5858"/>
                </a:lnTo>
                <a:lnTo>
                  <a:pt x="11972" y="5870"/>
                </a:lnTo>
                <a:lnTo>
                  <a:pt x="11973" y="5881"/>
                </a:lnTo>
                <a:lnTo>
                  <a:pt x="11973" y="5892"/>
                </a:lnTo>
                <a:lnTo>
                  <a:pt x="11973" y="5904"/>
                </a:lnTo>
                <a:lnTo>
                  <a:pt x="11972" y="5916"/>
                </a:lnTo>
                <a:lnTo>
                  <a:pt x="11971" y="5927"/>
                </a:lnTo>
                <a:lnTo>
                  <a:pt x="11969" y="5938"/>
                </a:lnTo>
                <a:lnTo>
                  <a:pt x="11966" y="5949"/>
                </a:lnTo>
                <a:lnTo>
                  <a:pt x="11963" y="5959"/>
                </a:lnTo>
                <a:lnTo>
                  <a:pt x="11960" y="5970"/>
                </a:lnTo>
                <a:lnTo>
                  <a:pt x="11956" y="5980"/>
                </a:lnTo>
                <a:lnTo>
                  <a:pt x="11951" y="5991"/>
                </a:lnTo>
                <a:lnTo>
                  <a:pt x="11946" y="6000"/>
                </a:lnTo>
                <a:lnTo>
                  <a:pt x="11941" y="6010"/>
                </a:lnTo>
                <a:lnTo>
                  <a:pt x="11935" y="6019"/>
                </a:lnTo>
                <a:lnTo>
                  <a:pt x="11929" y="6027"/>
                </a:lnTo>
                <a:lnTo>
                  <a:pt x="11922" y="6036"/>
                </a:lnTo>
                <a:lnTo>
                  <a:pt x="11914" y="6044"/>
                </a:lnTo>
                <a:lnTo>
                  <a:pt x="11907" y="6052"/>
                </a:lnTo>
                <a:lnTo>
                  <a:pt x="11899" y="6059"/>
                </a:lnTo>
                <a:lnTo>
                  <a:pt x="11891" y="6067"/>
                </a:lnTo>
                <a:lnTo>
                  <a:pt x="11883" y="6074"/>
                </a:lnTo>
                <a:lnTo>
                  <a:pt x="11874" y="6080"/>
                </a:lnTo>
                <a:lnTo>
                  <a:pt x="11865" y="6086"/>
                </a:lnTo>
                <a:lnTo>
                  <a:pt x="11856" y="6091"/>
                </a:lnTo>
                <a:lnTo>
                  <a:pt x="11846" y="6096"/>
                </a:lnTo>
                <a:lnTo>
                  <a:pt x="11835" y="6100"/>
                </a:lnTo>
                <a:lnTo>
                  <a:pt x="11825" y="6104"/>
                </a:lnTo>
                <a:lnTo>
                  <a:pt x="11815" y="6108"/>
                </a:lnTo>
                <a:lnTo>
                  <a:pt x="11804" y="6111"/>
                </a:lnTo>
                <a:lnTo>
                  <a:pt x="11793" y="6113"/>
                </a:lnTo>
                <a:lnTo>
                  <a:pt x="11782" y="6115"/>
                </a:lnTo>
                <a:lnTo>
                  <a:pt x="11771" y="6117"/>
                </a:lnTo>
                <a:lnTo>
                  <a:pt x="11759" y="6118"/>
                </a:lnTo>
                <a:lnTo>
                  <a:pt x="11748" y="6118"/>
                </a:lnTo>
                <a:lnTo>
                  <a:pt x="2513" y="6118"/>
                </a:lnTo>
                <a:close/>
                <a:moveTo>
                  <a:pt x="3319" y="4288"/>
                </a:moveTo>
                <a:lnTo>
                  <a:pt x="3629" y="4288"/>
                </a:lnTo>
                <a:lnTo>
                  <a:pt x="3650" y="4288"/>
                </a:lnTo>
                <a:lnTo>
                  <a:pt x="3670" y="4287"/>
                </a:lnTo>
                <a:lnTo>
                  <a:pt x="3690" y="4285"/>
                </a:lnTo>
                <a:lnTo>
                  <a:pt x="3709" y="4283"/>
                </a:lnTo>
                <a:lnTo>
                  <a:pt x="3727" y="4279"/>
                </a:lnTo>
                <a:lnTo>
                  <a:pt x="3744" y="4275"/>
                </a:lnTo>
                <a:lnTo>
                  <a:pt x="3760" y="4270"/>
                </a:lnTo>
                <a:lnTo>
                  <a:pt x="3777" y="4265"/>
                </a:lnTo>
                <a:lnTo>
                  <a:pt x="3791" y="4259"/>
                </a:lnTo>
                <a:lnTo>
                  <a:pt x="3806" y="4252"/>
                </a:lnTo>
                <a:lnTo>
                  <a:pt x="3819" y="4244"/>
                </a:lnTo>
                <a:lnTo>
                  <a:pt x="3832" y="4236"/>
                </a:lnTo>
                <a:lnTo>
                  <a:pt x="3845" y="4227"/>
                </a:lnTo>
                <a:lnTo>
                  <a:pt x="3856" y="4218"/>
                </a:lnTo>
                <a:lnTo>
                  <a:pt x="3866" y="4207"/>
                </a:lnTo>
                <a:lnTo>
                  <a:pt x="3876" y="4195"/>
                </a:lnTo>
                <a:lnTo>
                  <a:pt x="3885" y="4184"/>
                </a:lnTo>
                <a:lnTo>
                  <a:pt x="3894" y="4172"/>
                </a:lnTo>
                <a:lnTo>
                  <a:pt x="3901" y="4159"/>
                </a:lnTo>
                <a:lnTo>
                  <a:pt x="3909" y="4146"/>
                </a:lnTo>
                <a:lnTo>
                  <a:pt x="3915" y="4132"/>
                </a:lnTo>
                <a:lnTo>
                  <a:pt x="3923" y="4117"/>
                </a:lnTo>
                <a:lnTo>
                  <a:pt x="3928" y="4103"/>
                </a:lnTo>
                <a:lnTo>
                  <a:pt x="3933" y="4087"/>
                </a:lnTo>
                <a:lnTo>
                  <a:pt x="3938" y="4072"/>
                </a:lnTo>
                <a:lnTo>
                  <a:pt x="3941" y="4055"/>
                </a:lnTo>
                <a:lnTo>
                  <a:pt x="3945" y="4038"/>
                </a:lnTo>
                <a:lnTo>
                  <a:pt x="3947" y="4021"/>
                </a:lnTo>
                <a:lnTo>
                  <a:pt x="3949" y="4003"/>
                </a:lnTo>
                <a:lnTo>
                  <a:pt x="3951" y="3985"/>
                </a:lnTo>
                <a:lnTo>
                  <a:pt x="3952" y="3965"/>
                </a:lnTo>
                <a:lnTo>
                  <a:pt x="3952" y="3946"/>
                </a:lnTo>
                <a:lnTo>
                  <a:pt x="3952" y="3927"/>
                </a:lnTo>
                <a:lnTo>
                  <a:pt x="3951" y="3909"/>
                </a:lnTo>
                <a:lnTo>
                  <a:pt x="3949" y="3891"/>
                </a:lnTo>
                <a:lnTo>
                  <a:pt x="3947" y="3874"/>
                </a:lnTo>
                <a:lnTo>
                  <a:pt x="3945" y="3857"/>
                </a:lnTo>
                <a:lnTo>
                  <a:pt x="3941" y="3841"/>
                </a:lnTo>
                <a:lnTo>
                  <a:pt x="3938" y="3824"/>
                </a:lnTo>
                <a:lnTo>
                  <a:pt x="3933" y="3809"/>
                </a:lnTo>
                <a:lnTo>
                  <a:pt x="3928" y="3795"/>
                </a:lnTo>
                <a:lnTo>
                  <a:pt x="3923" y="3781"/>
                </a:lnTo>
                <a:lnTo>
                  <a:pt x="3915" y="3767"/>
                </a:lnTo>
                <a:lnTo>
                  <a:pt x="3909" y="3753"/>
                </a:lnTo>
                <a:lnTo>
                  <a:pt x="3901" y="3740"/>
                </a:lnTo>
                <a:lnTo>
                  <a:pt x="3894" y="3728"/>
                </a:lnTo>
                <a:lnTo>
                  <a:pt x="3885" y="3716"/>
                </a:lnTo>
                <a:lnTo>
                  <a:pt x="3876" y="3705"/>
                </a:lnTo>
                <a:lnTo>
                  <a:pt x="3866" y="3695"/>
                </a:lnTo>
                <a:lnTo>
                  <a:pt x="3856" y="3685"/>
                </a:lnTo>
                <a:lnTo>
                  <a:pt x="3844" y="3674"/>
                </a:lnTo>
                <a:lnTo>
                  <a:pt x="3831" y="3666"/>
                </a:lnTo>
                <a:lnTo>
                  <a:pt x="3819" y="3658"/>
                </a:lnTo>
                <a:lnTo>
                  <a:pt x="3805" y="3651"/>
                </a:lnTo>
                <a:lnTo>
                  <a:pt x="3791" y="3644"/>
                </a:lnTo>
                <a:lnTo>
                  <a:pt x="3776" y="3638"/>
                </a:lnTo>
                <a:lnTo>
                  <a:pt x="3759" y="3633"/>
                </a:lnTo>
                <a:lnTo>
                  <a:pt x="3742" y="3629"/>
                </a:lnTo>
                <a:lnTo>
                  <a:pt x="3725" y="3625"/>
                </a:lnTo>
                <a:lnTo>
                  <a:pt x="3707" y="3622"/>
                </a:lnTo>
                <a:lnTo>
                  <a:pt x="3688" y="3620"/>
                </a:lnTo>
                <a:lnTo>
                  <a:pt x="3668" y="3618"/>
                </a:lnTo>
                <a:lnTo>
                  <a:pt x="3647" y="3617"/>
                </a:lnTo>
                <a:lnTo>
                  <a:pt x="3626" y="3617"/>
                </a:lnTo>
                <a:lnTo>
                  <a:pt x="3319" y="3617"/>
                </a:lnTo>
                <a:lnTo>
                  <a:pt x="3319" y="4288"/>
                </a:lnTo>
                <a:close/>
                <a:moveTo>
                  <a:pt x="3319" y="3274"/>
                </a:moveTo>
                <a:lnTo>
                  <a:pt x="3642" y="3274"/>
                </a:lnTo>
                <a:lnTo>
                  <a:pt x="3685" y="3275"/>
                </a:lnTo>
                <a:lnTo>
                  <a:pt x="3728" y="3277"/>
                </a:lnTo>
                <a:lnTo>
                  <a:pt x="3769" y="3281"/>
                </a:lnTo>
                <a:lnTo>
                  <a:pt x="3807" y="3286"/>
                </a:lnTo>
                <a:lnTo>
                  <a:pt x="3845" y="3293"/>
                </a:lnTo>
                <a:lnTo>
                  <a:pt x="3880" y="3302"/>
                </a:lnTo>
                <a:lnTo>
                  <a:pt x="3914" y="3313"/>
                </a:lnTo>
                <a:lnTo>
                  <a:pt x="3947" y="3324"/>
                </a:lnTo>
                <a:lnTo>
                  <a:pt x="3978" y="3337"/>
                </a:lnTo>
                <a:lnTo>
                  <a:pt x="4008" y="3351"/>
                </a:lnTo>
                <a:lnTo>
                  <a:pt x="4036" y="3366"/>
                </a:lnTo>
                <a:lnTo>
                  <a:pt x="4063" y="3383"/>
                </a:lnTo>
                <a:lnTo>
                  <a:pt x="4090" y="3401"/>
                </a:lnTo>
                <a:lnTo>
                  <a:pt x="4114" y="3420"/>
                </a:lnTo>
                <a:lnTo>
                  <a:pt x="4136" y="3440"/>
                </a:lnTo>
                <a:lnTo>
                  <a:pt x="4159" y="3462"/>
                </a:lnTo>
                <a:lnTo>
                  <a:pt x="4179" y="3484"/>
                </a:lnTo>
                <a:lnTo>
                  <a:pt x="4198" y="3507"/>
                </a:lnTo>
                <a:lnTo>
                  <a:pt x="4215" y="3531"/>
                </a:lnTo>
                <a:lnTo>
                  <a:pt x="4232" y="3557"/>
                </a:lnTo>
                <a:lnTo>
                  <a:pt x="4247" y="3583"/>
                </a:lnTo>
                <a:lnTo>
                  <a:pt x="4260" y="3612"/>
                </a:lnTo>
                <a:lnTo>
                  <a:pt x="4272" y="3640"/>
                </a:lnTo>
                <a:lnTo>
                  <a:pt x="4283" y="3669"/>
                </a:lnTo>
                <a:lnTo>
                  <a:pt x="4292" y="3700"/>
                </a:lnTo>
                <a:lnTo>
                  <a:pt x="4300" y="3731"/>
                </a:lnTo>
                <a:lnTo>
                  <a:pt x="4307" y="3764"/>
                </a:lnTo>
                <a:lnTo>
                  <a:pt x="4313" y="3797"/>
                </a:lnTo>
                <a:lnTo>
                  <a:pt x="4318" y="3830"/>
                </a:lnTo>
                <a:lnTo>
                  <a:pt x="4321" y="3865"/>
                </a:lnTo>
                <a:lnTo>
                  <a:pt x="4323" y="3900"/>
                </a:lnTo>
                <a:lnTo>
                  <a:pt x="4323" y="3936"/>
                </a:lnTo>
                <a:lnTo>
                  <a:pt x="4323" y="3978"/>
                </a:lnTo>
                <a:lnTo>
                  <a:pt x="4320" y="4020"/>
                </a:lnTo>
                <a:lnTo>
                  <a:pt x="4317" y="4060"/>
                </a:lnTo>
                <a:lnTo>
                  <a:pt x="4312" y="4098"/>
                </a:lnTo>
                <a:lnTo>
                  <a:pt x="4305" y="4136"/>
                </a:lnTo>
                <a:lnTo>
                  <a:pt x="4297" y="4171"/>
                </a:lnTo>
                <a:lnTo>
                  <a:pt x="4288" y="4206"/>
                </a:lnTo>
                <a:lnTo>
                  <a:pt x="4277" y="4239"/>
                </a:lnTo>
                <a:lnTo>
                  <a:pt x="4265" y="4270"/>
                </a:lnTo>
                <a:lnTo>
                  <a:pt x="4252" y="4301"/>
                </a:lnTo>
                <a:lnTo>
                  <a:pt x="4237" y="4330"/>
                </a:lnTo>
                <a:lnTo>
                  <a:pt x="4220" y="4358"/>
                </a:lnTo>
                <a:lnTo>
                  <a:pt x="4202" y="4385"/>
                </a:lnTo>
                <a:lnTo>
                  <a:pt x="4183" y="4409"/>
                </a:lnTo>
                <a:lnTo>
                  <a:pt x="4163" y="4434"/>
                </a:lnTo>
                <a:lnTo>
                  <a:pt x="4140" y="4456"/>
                </a:lnTo>
                <a:lnTo>
                  <a:pt x="4117" y="4477"/>
                </a:lnTo>
                <a:lnTo>
                  <a:pt x="4093" y="4496"/>
                </a:lnTo>
                <a:lnTo>
                  <a:pt x="4067" y="4515"/>
                </a:lnTo>
                <a:lnTo>
                  <a:pt x="4041" y="4532"/>
                </a:lnTo>
                <a:lnTo>
                  <a:pt x="4014" y="4548"/>
                </a:lnTo>
                <a:lnTo>
                  <a:pt x="3985" y="4562"/>
                </a:lnTo>
                <a:lnTo>
                  <a:pt x="3956" y="4576"/>
                </a:lnTo>
                <a:lnTo>
                  <a:pt x="3926" y="4587"/>
                </a:lnTo>
                <a:lnTo>
                  <a:pt x="3894" y="4597"/>
                </a:lnTo>
                <a:lnTo>
                  <a:pt x="3862" y="4606"/>
                </a:lnTo>
                <a:lnTo>
                  <a:pt x="3828" y="4613"/>
                </a:lnTo>
                <a:lnTo>
                  <a:pt x="3794" y="4619"/>
                </a:lnTo>
                <a:lnTo>
                  <a:pt x="3758" y="4624"/>
                </a:lnTo>
                <a:lnTo>
                  <a:pt x="3721" y="4627"/>
                </a:lnTo>
                <a:lnTo>
                  <a:pt x="3683" y="4629"/>
                </a:lnTo>
                <a:lnTo>
                  <a:pt x="3645" y="4630"/>
                </a:lnTo>
                <a:lnTo>
                  <a:pt x="2948" y="4630"/>
                </a:lnTo>
                <a:lnTo>
                  <a:pt x="2948" y="2382"/>
                </a:lnTo>
                <a:lnTo>
                  <a:pt x="4142" y="2382"/>
                </a:lnTo>
                <a:lnTo>
                  <a:pt x="4142" y="2725"/>
                </a:lnTo>
                <a:lnTo>
                  <a:pt x="3319" y="2725"/>
                </a:lnTo>
                <a:lnTo>
                  <a:pt x="3319" y="3274"/>
                </a:lnTo>
                <a:close/>
                <a:moveTo>
                  <a:pt x="4597" y="4630"/>
                </a:moveTo>
                <a:lnTo>
                  <a:pt x="4597" y="2382"/>
                </a:lnTo>
                <a:lnTo>
                  <a:pt x="4962" y="2382"/>
                </a:lnTo>
                <a:lnTo>
                  <a:pt x="4962" y="3887"/>
                </a:lnTo>
                <a:lnTo>
                  <a:pt x="4965" y="3888"/>
                </a:lnTo>
                <a:lnTo>
                  <a:pt x="4967" y="3889"/>
                </a:lnTo>
                <a:lnTo>
                  <a:pt x="4969" y="3890"/>
                </a:lnTo>
                <a:lnTo>
                  <a:pt x="4972" y="3890"/>
                </a:lnTo>
                <a:lnTo>
                  <a:pt x="4990" y="3856"/>
                </a:lnTo>
                <a:lnTo>
                  <a:pt x="5009" y="3821"/>
                </a:lnTo>
                <a:lnTo>
                  <a:pt x="5027" y="3787"/>
                </a:lnTo>
                <a:lnTo>
                  <a:pt x="5044" y="3751"/>
                </a:lnTo>
                <a:lnTo>
                  <a:pt x="5061" y="3717"/>
                </a:lnTo>
                <a:lnTo>
                  <a:pt x="5078" y="3682"/>
                </a:lnTo>
                <a:lnTo>
                  <a:pt x="5096" y="3648"/>
                </a:lnTo>
                <a:lnTo>
                  <a:pt x="5112" y="3613"/>
                </a:lnTo>
                <a:lnTo>
                  <a:pt x="5129" y="3578"/>
                </a:lnTo>
                <a:lnTo>
                  <a:pt x="5145" y="3544"/>
                </a:lnTo>
                <a:lnTo>
                  <a:pt x="5163" y="3509"/>
                </a:lnTo>
                <a:lnTo>
                  <a:pt x="5179" y="3474"/>
                </a:lnTo>
                <a:lnTo>
                  <a:pt x="5196" y="3439"/>
                </a:lnTo>
                <a:lnTo>
                  <a:pt x="5212" y="3405"/>
                </a:lnTo>
                <a:lnTo>
                  <a:pt x="5229" y="3370"/>
                </a:lnTo>
                <a:lnTo>
                  <a:pt x="5246" y="3335"/>
                </a:lnTo>
                <a:lnTo>
                  <a:pt x="5277" y="3275"/>
                </a:lnTo>
                <a:lnTo>
                  <a:pt x="5307" y="3216"/>
                </a:lnTo>
                <a:lnTo>
                  <a:pt x="5338" y="3156"/>
                </a:lnTo>
                <a:lnTo>
                  <a:pt x="5368" y="3097"/>
                </a:lnTo>
                <a:lnTo>
                  <a:pt x="5399" y="3038"/>
                </a:lnTo>
                <a:lnTo>
                  <a:pt x="5428" y="2979"/>
                </a:lnTo>
                <a:lnTo>
                  <a:pt x="5458" y="2919"/>
                </a:lnTo>
                <a:lnTo>
                  <a:pt x="5489" y="2860"/>
                </a:lnTo>
                <a:lnTo>
                  <a:pt x="5518" y="2802"/>
                </a:lnTo>
                <a:lnTo>
                  <a:pt x="5547" y="2742"/>
                </a:lnTo>
                <a:lnTo>
                  <a:pt x="5578" y="2683"/>
                </a:lnTo>
                <a:lnTo>
                  <a:pt x="5607" y="2623"/>
                </a:lnTo>
                <a:lnTo>
                  <a:pt x="5638" y="2563"/>
                </a:lnTo>
                <a:lnTo>
                  <a:pt x="5667" y="2504"/>
                </a:lnTo>
                <a:lnTo>
                  <a:pt x="5697" y="2443"/>
                </a:lnTo>
                <a:lnTo>
                  <a:pt x="5727" y="2382"/>
                </a:lnTo>
                <a:lnTo>
                  <a:pt x="6069" y="2382"/>
                </a:lnTo>
                <a:lnTo>
                  <a:pt x="6069" y="4630"/>
                </a:lnTo>
                <a:lnTo>
                  <a:pt x="5701" y="4630"/>
                </a:lnTo>
                <a:lnTo>
                  <a:pt x="5701" y="3165"/>
                </a:lnTo>
                <a:lnTo>
                  <a:pt x="5694" y="3165"/>
                </a:lnTo>
                <a:lnTo>
                  <a:pt x="5681" y="3191"/>
                </a:lnTo>
                <a:lnTo>
                  <a:pt x="5667" y="3217"/>
                </a:lnTo>
                <a:lnTo>
                  <a:pt x="5654" y="3245"/>
                </a:lnTo>
                <a:lnTo>
                  <a:pt x="5640" y="3271"/>
                </a:lnTo>
                <a:lnTo>
                  <a:pt x="5626" y="3298"/>
                </a:lnTo>
                <a:lnTo>
                  <a:pt x="5612" y="3326"/>
                </a:lnTo>
                <a:lnTo>
                  <a:pt x="5599" y="3353"/>
                </a:lnTo>
                <a:lnTo>
                  <a:pt x="5585" y="3380"/>
                </a:lnTo>
                <a:lnTo>
                  <a:pt x="5572" y="3408"/>
                </a:lnTo>
                <a:lnTo>
                  <a:pt x="5558" y="3435"/>
                </a:lnTo>
                <a:lnTo>
                  <a:pt x="5544" y="3463"/>
                </a:lnTo>
                <a:lnTo>
                  <a:pt x="5530" y="3490"/>
                </a:lnTo>
                <a:lnTo>
                  <a:pt x="5516" y="3516"/>
                </a:lnTo>
                <a:lnTo>
                  <a:pt x="5503" y="3544"/>
                </a:lnTo>
                <a:lnTo>
                  <a:pt x="5489" y="3570"/>
                </a:lnTo>
                <a:lnTo>
                  <a:pt x="5476" y="3597"/>
                </a:lnTo>
                <a:lnTo>
                  <a:pt x="4946" y="4630"/>
                </a:lnTo>
                <a:lnTo>
                  <a:pt x="4597" y="4630"/>
                </a:lnTo>
                <a:close/>
                <a:moveTo>
                  <a:pt x="7135" y="2719"/>
                </a:moveTo>
                <a:lnTo>
                  <a:pt x="7135" y="4630"/>
                </a:lnTo>
                <a:lnTo>
                  <a:pt x="6766" y="4630"/>
                </a:lnTo>
                <a:lnTo>
                  <a:pt x="6766" y="2719"/>
                </a:lnTo>
                <a:lnTo>
                  <a:pt x="6273" y="2719"/>
                </a:lnTo>
                <a:lnTo>
                  <a:pt x="6273" y="2382"/>
                </a:lnTo>
                <a:lnTo>
                  <a:pt x="7631" y="2382"/>
                </a:lnTo>
                <a:lnTo>
                  <a:pt x="7631" y="2719"/>
                </a:lnTo>
                <a:lnTo>
                  <a:pt x="7135" y="2719"/>
                </a:lnTo>
                <a:close/>
                <a:moveTo>
                  <a:pt x="9165" y="2386"/>
                </a:moveTo>
                <a:lnTo>
                  <a:pt x="9147" y="2442"/>
                </a:lnTo>
                <a:lnTo>
                  <a:pt x="9130" y="2498"/>
                </a:lnTo>
                <a:lnTo>
                  <a:pt x="9111" y="2552"/>
                </a:lnTo>
                <a:lnTo>
                  <a:pt x="9094" y="2608"/>
                </a:lnTo>
                <a:lnTo>
                  <a:pt x="9077" y="2664"/>
                </a:lnTo>
                <a:lnTo>
                  <a:pt x="9059" y="2720"/>
                </a:lnTo>
                <a:lnTo>
                  <a:pt x="9041" y="2774"/>
                </a:lnTo>
                <a:lnTo>
                  <a:pt x="9024" y="2830"/>
                </a:lnTo>
                <a:lnTo>
                  <a:pt x="9007" y="2886"/>
                </a:lnTo>
                <a:lnTo>
                  <a:pt x="8990" y="2941"/>
                </a:lnTo>
                <a:lnTo>
                  <a:pt x="8973" y="2996"/>
                </a:lnTo>
                <a:lnTo>
                  <a:pt x="8955" y="3052"/>
                </a:lnTo>
                <a:lnTo>
                  <a:pt x="8938" y="3107"/>
                </a:lnTo>
                <a:lnTo>
                  <a:pt x="8921" y="3161"/>
                </a:lnTo>
                <a:lnTo>
                  <a:pt x="8904" y="3217"/>
                </a:lnTo>
                <a:lnTo>
                  <a:pt x="8887" y="3272"/>
                </a:lnTo>
                <a:lnTo>
                  <a:pt x="8870" y="3328"/>
                </a:lnTo>
                <a:lnTo>
                  <a:pt x="8853" y="3382"/>
                </a:lnTo>
                <a:lnTo>
                  <a:pt x="8836" y="3438"/>
                </a:lnTo>
                <a:lnTo>
                  <a:pt x="8819" y="3493"/>
                </a:lnTo>
                <a:lnTo>
                  <a:pt x="8801" y="3549"/>
                </a:lnTo>
                <a:lnTo>
                  <a:pt x="8784" y="3603"/>
                </a:lnTo>
                <a:lnTo>
                  <a:pt x="8767" y="3659"/>
                </a:lnTo>
                <a:lnTo>
                  <a:pt x="8750" y="3714"/>
                </a:lnTo>
                <a:lnTo>
                  <a:pt x="8731" y="3770"/>
                </a:lnTo>
                <a:lnTo>
                  <a:pt x="8714" y="3825"/>
                </a:lnTo>
                <a:lnTo>
                  <a:pt x="8696" y="3881"/>
                </a:lnTo>
                <a:lnTo>
                  <a:pt x="8679" y="3936"/>
                </a:lnTo>
                <a:lnTo>
                  <a:pt x="8661" y="3992"/>
                </a:lnTo>
                <a:lnTo>
                  <a:pt x="8642" y="4047"/>
                </a:lnTo>
                <a:lnTo>
                  <a:pt x="8624" y="4103"/>
                </a:lnTo>
                <a:lnTo>
                  <a:pt x="8607" y="4159"/>
                </a:lnTo>
                <a:lnTo>
                  <a:pt x="8594" y="4197"/>
                </a:lnTo>
                <a:lnTo>
                  <a:pt x="8581" y="4234"/>
                </a:lnTo>
                <a:lnTo>
                  <a:pt x="8566" y="4268"/>
                </a:lnTo>
                <a:lnTo>
                  <a:pt x="8553" y="4301"/>
                </a:lnTo>
                <a:lnTo>
                  <a:pt x="8539" y="4332"/>
                </a:lnTo>
                <a:lnTo>
                  <a:pt x="8525" y="4361"/>
                </a:lnTo>
                <a:lnTo>
                  <a:pt x="8511" y="4387"/>
                </a:lnTo>
                <a:lnTo>
                  <a:pt x="8496" y="4412"/>
                </a:lnTo>
                <a:lnTo>
                  <a:pt x="8482" y="4436"/>
                </a:lnTo>
                <a:lnTo>
                  <a:pt x="8467" y="4457"/>
                </a:lnTo>
                <a:lnTo>
                  <a:pt x="8452" y="4477"/>
                </a:lnTo>
                <a:lnTo>
                  <a:pt x="8437" y="4496"/>
                </a:lnTo>
                <a:lnTo>
                  <a:pt x="8421" y="4514"/>
                </a:lnTo>
                <a:lnTo>
                  <a:pt x="8406" y="4530"/>
                </a:lnTo>
                <a:lnTo>
                  <a:pt x="8390" y="4544"/>
                </a:lnTo>
                <a:lnTo>
                  <a:pt x="8374" y="4557"/>
                </a:lnTo>
                <a:lnTo>
                  <a:pt x="8358" y="4569"/>
                </a:lnTo>
                <a:lnTo>
                  <a:pt x="8341" y="4581"/>
                </a:lnTo>
                <a:lnTo>
                  <a:pt x="8324" y="4591"/>
                </a:lnTo>
                <a:lnTo>
                  <a:pt x="8307" y="4599"/>
                </a:lnTo>
                <a:lnTo>
                  <a:pt x="8290" y="4607"/>
                </a:lnTo>
                <a:lnTo>
                  <a:pt x="8272" y="4614"/>
                </a:lnTo>
                <a:lnTo>
                  <a:pt x="8253" y="4619"/>
                </a:lnTo>
                <a:lnTo>
                  <a:pt x="8235" y="4624"/>
                </a:lnTo>
                <a:lnTo>
                  <a:pt x="8217" y="4627"/>
                </a:lnTo>
                <a:lnTo>
                  <a:pt x="8198" y="4631"/>
                </a:lnTo>
                <a:lnTo>
                  <a:pt x="8177" y="4634"/>
                </a:lnTo>
                <a:lnTo>
                  <a:pt x="8158" y="4636"/>
                </a:lnTo>
                <a:lnTo>
                  <a:pt x="8137" y="4639"/>
                </a:lnTo>
                <a:lnTo>
                  <a:pt x="8117" y="4640"/>
                </a:lnTo>
                <a:lnTo>
                  <a:pt x="8095" y="4642"/>
                </a:lnTo>
                <a:lnTo>
                  <a:pt x="8074" y="4643"/>
                </a:lnTo>
                <a:lnTo>
                  <a:pt x="7893" y="4643"/>
                </a:lnTo>
                <a:lnTo>
                  <a:pt x="7893" y="4339"/>
                </a:lnTo>
                <a:lnTo>
                  <a:pt x="8025" y="4339"/>
                </a:lnTo>
                <a:lnTo>
                  <a:pt x="8042" y="4339"/>
                </a:lnTo>
                <a:lnTo>
                  <a:pt x="8058" y="4337"/>
                </a:lnTo>
                <a:lnTo>
                  <a:pt x="8074" y="4334"/>
                </a:lnTo>
                <a:lnTo>
                  <a:pt x="8088" y="4331"/>
                </a:lnTo>
                <a:lnTo>
                  <a:pt x="8103" y="4326"/>
                </a:lnTo>
                <a:lnTo>
                  <a:pt x="8117" y="4320"/>
                </a:lnTo>
                <a:lnTo>
                  <a:pt x="8131" y="4313"/>
                </a:lnTo>
                <a:lnTo>
                  <a:pt x="8143" y="4304"/>
                </a:lnTo>
                <a:lnTo>
                  <a:pt x="8156" y="4294"/>
                </a:lnTo>
                <a:lnTo>
                  <a:pt x="8168" y="4283"/>
                </a:lnTo>
                <a:lnTo>
                  <a:pt x="8180" y="4268"/>
                </a:lnTo>
                <a:lnTo>
                  <a:pt x="8192" y="4251"/>
                </a:lnTo>
                <a:lnTo>
                  <a:pt x="8204" y="4233"/>
                </a:lnTo>
                <a:lnTo>
                  <a:pt x="8216" y="4213"/>
                </a:lnTo>
                <a:lnTo>
                  <a:pt x="8227" y="4190"/>
                </a:lnTo>
                <a:lnTo>
                  <a:pt x="8238" y="4165"/>
                </a:lnTo>
                <a:lnTo>
                  <a:pt x="8242" y="4156"/>
                </a:lnTo>
                <a:lnTo>
                  <a:pt x="8246" y="4146"/>
                </a:lnTo>
                <a:lnTo>
                  <a:pt x="8250" y="4136"/>
                </a:lnTo>
                <a:lnTo>
                  <a:pt x="8254" y="4124"/>
                </a:lnTo>
                <a:lnTo>
                  <a:pt x="8259" y="4114"/>
                </a:lnTo>
                <a:lnTo>
                  <a:pt x="8263" y="4102"/>
                </a:lnTo>
                <a:lnTo>
                  <a:pt x="8268" y="4091"/>
                </a:lnTo>
                <a:lnTo>
                  <a:pt x="8271" y="4078"/>
                </a:lnTo>
                <a:lnTo>
                  <a:pt x="7686" y="2386"/>
                </a:lnTo>
                <a:lnTo>
                  <a:pt x="8067" y="2386"/>
                </a:lnTo>
                <a:lnTo>
                  <a:pt x="8281" y="3080"/>
                </a:lnTo>
                <a:lnTo>
                  <a:pt x="8442" y="3610"/>
                </a:lnTo>
                <a:lnTo>
                  <a:pt x="8458" y="3610"/>
                </a:lnTo>
                <a:lnTo>
                  <a:pt x="8465" y="3586"/>
                </a:lnTo>
                <a:lnTo>
                  <a:pt x="8472" y="3560"/>
                </a:lnTo>
                <a:lnTo>
                  <a:pt x="8480" y="3531"/>
                </a:lnTo>
                <a:lnTo>
                  <a:pt x="8489" y="3501"/>
                </a:lnTo>
                <a:lnTo>
                  <a:pt x="8498" y="3468"/>
                </a:lnTo>
                <a:lnTo>
                  <a:pt x="8509" y="3432"/>
                </a:lnTo>
                <a:lnTo>
                  <a:pt x="8519" y="3395"/>
                </a:lnTo>
                <a:lnTo>
                  <a:pt x="8531" y="3354"/>
                </a:lnTo>
                <a:lnTo>
                  <a:pt x="8542" y="3314"/>
                </a:lnTo>
                <a:lnTo>
                  <a:pt x="8554" y="3271"/>
                </a:lnTo>
                <a:lnTo>
                  <a:pt x="8566" y="3228"/>
                </a:lnTo>
                <a:lnTo>
                  <a:pt x="8579" y="3186"/>
                </a:lnTo>
                <a:lnTo>
                  <a:pt x="8591" y="3142"/>
                </a:lnTo>
                <a:lnTo>
                  <a:pt x="8604" y="3098"/>
                </a:lnTo>
                <a:lnTo>
                  <a:pt x="8616" y="3053"/>
                </a:lnTo>
                <a:lnTo>
                  <a:pt x="8629" y="3007"/>
                </a:lnTo>
                <a:lnTo>
                  <a:pt x="8641" y="2962"/>
                </a:lnTo>
                <a:lnTo>
                  <a:pt x="8654" y="2917"/>
                </a:lnTo>
                <a:lnTo>
                  <a:pt x="8668" y="2873"/>
                </a:lnTo>
                <a:lnTo>
                  <a:pt x="8680" y="2828"/>
                </a:lnTo>
                <a:lnTo>
                  <a:pt x="8692" y="2784"/>
                </a:lnTo>
                <a:lnTo>
                  <a:pt x="8704" y="2741"/>
                </a:lnTo>
                <a:lnTo>
                  <a:pt x="8717" y="2698"/>
                </a:lnTo>
                <a:lnTo>
                  <a:pt x="8729" y="2656"/>
                </a:lnTo>
                <a:lnTo>
                  <a:pt x="8741" y="2614"/>
                </a:lnTo>
                <a:lnTo>
                  <a:pt x="8752" y="2575"/>
                </a:lnTo>
                <a:lnTo>
                  <a:pt x="8762" y="2538"/>
                </a:lnTo>
                <a:lnTo>
                  <a:pt x="8772" y="2504"/>
                </a:lnTo>
                <a:lnTo>
                  <a:pt x="8781" y="2470"/>
                </a:lnTo>
                <a:lnTo>
                  <a:pt x="8789" y="2440"/>
                </a:lnTo>
                <a:lnTo>
                  <a:pt x="8796" y="2411"/>
                </a:lnTo>
                <a:lnTo>
                  <a:pt x="8803" y="2386"/>
                </a:lnTo>
                <a:lnTo>
                  <a:pt x="9165" y="2386"/>
                </a:lnTo>
                <a:close/>
                <a:moveTo>
                  <a:pt x="10811" y="4630"/>
                </a:moveTo>
                <a:lnTo>
                  <a:pt x="10811" y="3316"/>
                </a:lnTo>
                <a:lnTo>
                  <a:pt x="10798" y="3316"/>
                </a:lnTo>
                <a:lnTo>
                  <a:pt x="10633" y="3735"/>
                </a:lnTo>
                <a:lnTo>
                  <a:pt x="10420" y="4227"/>
                </a:lnTo>
                <a:lnTo>
                  <a:pt x="10159" y="4227"/>
                </a:lnTo>
                <a:lnTo>
                  <a:pt x="9939" y="3720"/>
                </a:lnTo>
                <a:lnTo>
                  <a:pt x="9778" y="3313"/>
                </a:lnTo>
                <a:lnTo>
                  <a:pt x="9765" y="3316"/>
                </a:lnTo>
                <a:lnTo>
                  <a:pt x="9765" y="4630"/>
                </a:lnTo>
                <a:lnTo>
                  <a:pt x="9397" y="4630"/>
                </a:lnTo>
                <a:lnTo>
                  <a:pt x="9397" y="2382"/>
                </a:lnTo>
                <a:lnTo>
                  <a:pt x="9749" y="2382"/>
                </a:lnTo>
                <a:lnTo>
                  <a:pt x="10066" y="3119"/>
                </a:lnTo>
                <a:lnTo>
                  <a:pt x="10284" y="3661"/>
                </a:lnTo>
                <a:lnTo>
                  <a:pt x="10298" y="3661"/>
                </a:lnTo>
                <a:lnTo>
                  <a:pt x="10514" y="3116"/>
                </a:lnTo>
                <a:lnTo>
                  <a:pt x="10823" y="2382"/>
                </a:lnTo>
                <a:lnTo>
                  <a:pt x="11179" y="2382"/>
                </a:lnTo>
                <a:lnTo>
                  <a:pt x="11179" y="4630"/>
                </a:lnTo>
                <a:lnTo>
                  <a:pt x="10811" y="4630"/>
                </a:lnTo>
                <a:close/>
                <a:moveTo>
                  <a:pt x="13814" y="1826"/>
                </a:moveTo>
                <a:lnTo>
                  <a:pt x="13796" y="1844"/>
                </a:lnTo>
                <a:lnTo>
                  <a:pt x="13776" y="1861"/>
                </a:lnTo>
                <a:lnTo>
                  <a:pt x="13757" y="1878"/>
                </a:lnTo>
                <a:lnTo>
                  <a:pt x="13738" y="1895"/>
                </a:lnTo>
                <a:lnTo>
                  <a:pt x="13718" y="1912"/>
                </a:lnTo>
                <a:lnTo>
                  <a:pt x="13697" y="1927"/>
                </a:lnTo>
                <a:lnTo>
                  <a:pt x="13676" y="1942"/>
                </a:lnTo>
                <a:lnTo>
                  <a:pt x="13655" y="1957"/>
                </a:lnTo>
                <a:lnTo>
                  <a:pt x="13634" y="1972"/>
                </a:lnTo>
                <a:lnTo>
                  <a:pt x="13611" y="1986"/>
                </a:lnTo>
                <a:lnTo>
                  <a:pt x="13589" y="1999"/>
                </a:lnTo>
                <a:lnTo>
                  <a:pt x="13567" y="2011"/>
                </a:lnTo>
                <a:lnTo>
                  <a:pt x="13543" y="2023"/>
                </a:lnTo>
                <a:lnTo>
                  <a:pt x="13520" y="2035"/>
                </a:lnTo>
                <a:lnTo>
                  <a:pt x="13497" y="2047"/>
                </a:lnTo>
                <a:lnTo>
                  <a:pt x="13474" y="2057"/>
                </a:lnTo>
                <a:lnTo>
                  <a:pt x="13449" y="2067"/>
                </a:lnTo>
                <a:lnTo>
                  <a:pt x="13425" y="2076"/>
                </a:lnTo>
                <a:lnTo>
                  <a:pt x="13400" y="2085"/>
                </a:lnTo>
                <a:lnTo>
                  <a:pt x="13375" y="2093"/>
                </a:lnTo>
                <a:lnTo>
                  <a:pt x="13350" y="2100"/>
                </a:lnTo>
                <a:lnTo>
                  <a:pt x="13325" y="2107"/>
                </a:lnTo>
                <a:lnTo>
                  <a:pt x="13298" y="2113"/>
                </a:lnTo>
                <a:lnTo>
                  <a:pt x="13273" y="2119"/>
                </a:lnTo>
                <a:lnTo>
                  <a:pt x="13247" y="2125"/>
                </a:lnTo>
                <a:lnTo>
                  <a:pt x="13220" y="2129"/>
                </a:lnTo>
                <a:lnTo>
                  <a:pt x="13193" y="2133"/>
                </a:lnTo>
                <a:lnTo>
                  <a:pt x="13167" y="2136"/>
                </a:lnTo>
                <a:lnTo>
                  <a:pt x="13139" y="2138"/>
                </a:lnTo>
                <a:lnTo>
                  <a:pt x="13113" y="2140"/>
                </a:lnTo>
                <a:lnTo>
                  <a:pt x="13086" y="2141"/>
                </a:lnTo>
                <a:lnTo>
                  <a:pt x="13057" y="2142"/>
                </a:lnTo>
                <a:lnTo>
                  <a:pt x="13000" y="2142"/>
                </a:lnTo>
                <a:lnTo>
                  <a:pt x="13000" y="4785"/>
                </a:lnTo>
                <a:lnTo>
                  <a:pt x="13057" y="4785"/>
                </a:lnTo>
                <a:lnTo>
                  <a:pt x="13086" y="4786"/>
                </a:lnTo>
                <a:lnTo>
                  <a:pt x="13113" y="4787"/>
                </a:lnTo>
                <a:lnTo>
                  <a:pt x="13139" y="4788"/>
                </a:lnTo>
                <a:lnTo>
                  <a:pt x="13167" y="4791"/>
                </a:lnTo>
                <a:lnTo>
                  <a:pt x="13193" y="4794"/>
                </a:lnTo>
                <a:lnTo>
                  <a:pt x="13220" y="4799"/>
                </a:lnTo>
                <a:lnTo>
                  <a:pt x="13247" y="4803"/>
                </a:lnTo>
                <a:lnTo>
                  <a:pt x="13273" y="4808"/>
                </a:lnTo>
                <a:lnTo>
                  <a:pt x="13298" y="4814"/>
                </a:lnTo>
                <a:lnTo>
                  <a:pt x="13325" y="4820"/>
                </a:lnTo>
                <a:lnTo>
                  <a:pt x="13350" y="4827"/>
                </a:lnTo>
                <a:lnTo>
                  <a:pt x="13375" y="4834"/>
                </a:lnTo>
                <a:lnTo>
                  <a:pt x="13400" y="4842"/>
                </a:lnTo>
                <a:lnTo>
                  <a:pt x="13425" y="4851"/>
                </a:lnTo>
                <a:lnTo>
                  <a:pt x="13449" y="4860"/>
                </a:lnTo>
                <a:lnTo>
                  <a:pt x="13474" y="4870"/>
                </a:lnTo>
                <a:lnTo>
                  <a:pt x="13497" y="4881"/>
                </a:lnTo>
                <a:lnTo>
                  <a:pt x="13520" y="4892"/>
                </a:lnTo>
                <a:lnTo>
                  <a:pt x="13543" y="4904"/>
                </a:lnTo>
                <a:lnTo>
                  <a:pt x="13567" y="4916"/>
                </a:lnTo>
                <a:lnTo>
                  <a:pt x="13589" y="4928"/>
                </a:lnTo>
                <a:lnTo>
                  <a:pt x="13611" y="4941"/>
                </a:lnTo>
                <a:lnTo>
                  <a:pt x="13634" y="4956"/>
                </a:lnTo>
                <a:lnTo>
                  <a:pt x="13655" y="4970"/>
                </a:lnTo>
                <a:lnTo>
                  <a:pt x="13676" y="4985"/>
                </a:lnTo>
                <a:lnTo>
                  <a:pt x="13697" y="5000"/>
                </a:lnTo>
                <a:lnTo>
                  <a:pt x="13718" y="5015"/>
                </a:lnTo>
                <a:lnTo>
                  <a:pt x="13738" y="5032"/>
                </a:lnTo>
                <a:lnTo>
                  <a:pt x="13757" y="5049"/>
                </a:lnTo>
                <a:lnTo>
                  <a:pt x="13776" y="5066"/>
                </a:lnTo>
                <a:lnTo>
                  <a:pt x="13796" y="5083"/>
                </a:lnTo>
                <a:lnTo>
                  <a:pt x="13814" y="5102"/>
                </a:lnTo>
                <a:lnTo>
                  <a:pt x="13832" y="5120"/>
                </a:lnTo>
                <a:lnTo>
                  <a:pt x="13849" y="5138"/>
                </a:lnTo>
                <a:lnTo>
                  <a:pt x="13867" y="5157"/>
                </a:lnTo>
                <a:lnTo>
                  <a:pt x="13883" y="5178"/>
                </a:lnTo>
                <a:lnTo>
                  <a:pt x="13899" y="5198"/>
                </a:lnTo>
                <a:lnTo>
                  <a:pt x="13914" y="5218"/>
                </a:lnTo>
                <a:lnTo>
                  <a:pt x="13929" y="5238"/>
                </a:lnTo>
                <a:lnTo>
                  <a:pt x="13945" y="5260"/>
                </a:lnTo>
                <a:lnTo>
                  <a:pt x="13959" y="5281"/>
                </a:lnTo>
                <a:lnTo>
                  <a:pt x="13972" y="5303"/>
                </a:lnTo>
                <a:lnTo>
                  <a:pt x="13985" y="5326"/>
                </a:lnTo>
                <a:lnTo>
                  <a:pt x="13997" y="5348"/>
                </a:lnTo>
                <a:lnTo>
                  <a:pt x="14009" y="5371"/>
                </a:lnTo>
                <a:lnTo>
                  <a:pt x="14022" y="5395"/>
                </a:lnTo>
                <a:lnTo>
                  <a:pt x="14033" y="5418"/>
                </a:lnTo>
                <a:lnTo>
                  <a:pt x="14043" y="5441"/>
                </a:lnTo>
                <a:lnTo>
                  <a:pt x="14053" y="5465"/>
                </a:lnTo>
                <a:lnTo>
                  <a:pt x="14062" y="5490"/>
                </a:lnTo>
                <a:lnTo>
                  <a:pt x="14070" y="5515"/>
                </a:lnTo>
                <a:lnTo>
                  <a:pt x="14078" y="5539"/>
                </a:lnTo>
                <a:lnTo>
                  <a:pt x="14086" y="5565"/>
                </a:lnTo>
                <a:lnTo>
                  <a:pt x="14094" y="5590"/>
                </a:lnTo>
                <a:lnTo>
                  <a:pt x="14100" y="5616"/>
                </a:lnTo>
                <a:lnTo>
                  <a:pt x="14106" y="5642"/>
                </a:lnTo>
                <a:lnTo>
                  <a:pt x="14110" y="5668"/>
                </a:lnTo>
                <a:lnTo>
                  <a:pt x="14115" y="5695"/>
                </a:lnTo>
                <a:lnTo>
                  <a:pt x="14118" y="5721"/>
                </a:lnTo>
                <a:lnTo>
                  <a:pt x="14122" y="5748"/>
                </a:lnTo>
                <a:lnTo>
                  <a:pt x="14124" y="5776"/>
                </a:lnTo>
                <a:lnTo>
                  <a:pt x="14126" y="5802"/>
                </a:lnTo>
                <a:lnTo>
                  <a:pt x="14127" y="5829"/>
                </a:lnTo>
                <a:lnTo>
                  <a:pt x="14127" y="5858"/>
                </a:lnTo>
                <a:lnTo>
                  <a:pt x="14127" y="5883"/>
                </a:lnTo>
                <a:lnTo>
                  <a:pt x="14126" y="5908"/>
                </a:lnTo>
                <a:lnTo>
                  <a:pt x="14124" y="5935"/>
                </a:lnTo>
                <a:lnTo>
                  <a:pt x="14122" y="5960"/>
                </a:lnTo>
                <a:lnTo>
                  <a:pt x="14119" y="5985"/>
                </a:lnTo>
                <a:lnTo>
                  <a:pt x="14116" y="6010"/>
                </a:lnTo>
                <a:lnTo>
                  <a:pt x="14112" y="6035"/>
                </a:lnTo>
                <a:lnTo>
                  <a:pt x="14108" y="6059"/>
                </a:lnTo>
                <a:lnTo>
                  <a:pt x="14103" y="6085"/>
                </a:lnTo>
                <a:lnTo>
                  <a:pt x="14097" y="6109"/>
                </a:lnTo>
                <a:lnTo>
                  <a:pt x="14091" y="6132"/>
                </a:lnTo>
                <a:lnTo>
                  <a:pt x="14084" y="6157"/>
                </a:lnTo>
                <a:lnTo>
                  <a:pt x="14076" y="6180"/>
                </a:lnTo>
                <a:lnTo>
                  <a:pt x="14069" y="6203"/>
                </a:lnTo>
                <a:lnTo>
                  <a:pt x="14060" y="6227"/>
                </a:lnTo>
                <a:lnTo>
                  <a:pt x="14052" y="6250"/>
                </a:lnTo>
                <a:lnTo>
                  <a:pt x="14042" y="6272"/>
                </a:lnTo>
                <a:lnTo>
                  <a:pt x="14033" y="6296"/>
                </a:lnTo>
                <a:lnTo>
                  <a:pt x="14022" y="6318"/>
                </a:lnTo>
                <a:lnTo>
                  <a:pt x="14012" y="6339"/>
                </a:lnTo>
                <a:lnTo>
                  <a:pt x="14000" y="6362"/>
                </a:lnTo>
                <a:lnTo>
                  <a:pt x="13988" y="6383"/>
                </a:lnTo>
                <a:lnTo>
                  <a:pt x="13976" y="6403"/>
                </a:lnTo>
                <a:lnTo>
                  <a:pt x="13963" y="6424"/>
                </a:lnTo>
                <a:lnTo>
                  <a:pt x="13950" y="6445"/>
                </a:lnTo>
                <a:lnTo>
                  <a:pt x="13937" y="6465"/>
                </a:lnTo>
                <a:lnTo>
                  <a:pt x="13922" y="6484"/>
                </a:lnTo>
                <a:lnTo>
                  <a:pt x="13907" y="6504"/>
                </a:lnTo>
                <a:lnTo>
                  <a:pt x="13893" y="6524"/>
                </a:lnTo>
                <a:lnTo>
                  <a:pt x="13878" y="6542"/>
                </a:lnTo>
                <a:lnTo>
                  <a:pt x="13862" y="6560"/>
                </a:lnTo>
                <a:lnTo>
                  <a:pt x="13845" y="6578"/>
                </a:lnTo>
                <a:lnTo>
                  <a:pt x="13837" y="6588"/>
                </a:lnTo>
                <a:lnTo>
                  <a:pt x="13830" y="6597"/>
                </a:lnTo>
                <a:lnTo>
                  <a:pt x="13822" y="6605"/>
                </a:lnTo>
                <a:lnTo>
                  <a:pt x="13814" y="6614"/>
                </a:lnTo>
                <a:lnTo>
                  <a:pt x="13796" y="6631"/>
                </a:lnTo>
                <a:lnTo>
                  <a:pt x="13776" y="6649"/>
                </a:lnTo>
                <a:lnTo>
                  <a:pt x="13757" y="6666"/>
                </a:lnTo>
                <a:lnTo>
                  <a:pt x="13738" y="6683"/>
                </a:lnTo>
                <a:lnTo>
                  <a:pt x="13718" y="6699"/>
                </a:lnTo>
                <a:lnTo>
                  <a:pt x="13697" y="6714"/>
                </a:lnTo>
                <a:lnTo>
                  <a:pt x="13676" y="6729"/>
                </a:lnTo>
                <a:lnTo>
                  <a:pt x="13656" y="6745"/>
                </a:lnTo>
                <a:lnTo>
                  <a:pt x="13634" y="6759"/>
                </a:lnTo>
                <a:lnTo>
                  <a:pt x="13612" y="6772"/>
                </a:lnTo>
                <a:lnTo>
                  <a:pt x="13590" y="6785"/>
                </a:lnTo>
                <a:lnTo>
                  <a:pt x="13567" y="6797"/>
                </a:lnTo>
                <a:lnTo>
                  <a:pt x="13544" y="6810"/>
                </a:lnTo>
                <a:lnTo>
                  <a:pt x="13521" y="6822"/>
                </a:lnTo>
                <a:lnTo>
                  <a:pt x="13498" y="6833"/>
                </a:lnTo>
                <a:lnTo>
                  <a:pt x="13474" y="6843"/>
                </a:lnTo>
                <a:lnTo>
                  <a:pt x="13449" y="6853"/>
                </a:lnTo>
                <a:lnTo>
                  <a:pt x="13425" y="6862"/>
                </a:lnTo>
                <a:lnTo>
                  <a:pt x="13401" y="6870"/>
                </a:lnTo>
                <a:lnTo>
                  <a:pt x="13375" y="6878"/>
                </a:lnTo>
                <a:lnTo>
                  <a:pt x="13350" y="6887"/>
                </a:lnTo>
                <a:lnTo>
                  <a:pt x="13325" y="6894"/>
                </a:lnTo>
                <a:lnTo>
                  <a:pt x="13299" y="6900"/>
                </a:lnTo>
                <a:lnTo>
                  <a:pt x="13273" y="6906"/>
                </a:lnTo>
                <a:lnTo>
                  <a:pt x="13247" y="6910"/>
                </a:lnTo>
                <a:lnTo>
                  <a:pt x="13220" y="6915"/>
                </a:lnTo>
                <a:lnTo>
                  <a:pt x="13194" y="6918"/>
                </a:lnTo>
                <a:lnTo>
                  <a:pt x="13167" y="6922"/>
                </a:lnTo>
                <a:lnTo>
                  <a:pt x="13140" y="6924"/>
                </a:lnTo>
                <a:lnTo>
                  <a:pt x="13113" y="6926"/>
                </a:lnTo>
                <a:lnTo>
                  <a:pt x="13086" y="6927"/>
                </a:lnTo>
                <a:lnTo>
                  <a:pt x="13057" y="6927"/>
                </a:lnTo>
                <a:lnTo>
                  <a:pt x="13000" y="6927"/>
                </a:lnTo>
                <a:lnTo>
                  <a:pt x="13000" y="9572"/>
                </a:lnTo>
                <a:lnTo>
                  <a:pt x="13057" y="9572"/>
                </a:lnTo>
                <a:lnTo>
                  <a:pt x="13085" y="9572"/>
                </a:lnTo>
                <a:lnTo>
                  <a:pt x="13112" y="9573"/>
                </a:lnTo>
                <a:lnTo>
                  <a:pt x="13139" y="9575"/>
                </a:lnTo>
                <a:lnTo>
                  <a:pt x="13167" y="9577"/>
                </a:lnTo>
                <a:lnTo>
                  <a:pt x="13193" y="9580"/>
                </a:lnTo>
                <a:lnTo>
                  <a:pt x="13220" y="9584"/>
                </a:lnTo>
                <a:lnTo>
                  <a:pt x="13247" y="9588"/>
                </a:lnTo>
                <a:lnTo>
                  <a:pt x="13272" y="9593"/>
                </a:lnTo>
                <a:lnTo>
                  <a:pt x="13298" y="9599"/>
                </a:lnTo>
                <a:lnTo>
                  <a:pt x="13324" y="9605"/>
                </a:lnTo>
                <a:lnTo>
                  <a:pt x="13350" y="9612"/>
                </a:lnTo>
                <a:lnTo>
                  <a:pt x="13374" y="9620"/>
                </a:lnTo>
                <a:lnTo>
                  <a:pt x="13400" y="9628"/>
                </a:lnTo>
                <a:lnTo>
                  <a:pt x="13425" y="9637"/>
                </a:lnTo>
                <a:lnTo>
                  <a:pt x="13449" y="9647"/>
                </a:lnTo>
                <a:lnTo>
                  <a:pt x="13473" y="9656"/>
                </a:lnTo>
                <a:lnTo>
                  <a:pt x="13497" y="9667"/>
                </a:lnTo>
                <a:lnTo>
                  <a:pt x="13520" y="9678"/>
                </a:lnTo>
                <a:lnTo>
                  <a:pt x="13543" y="9689"/>
                </a:lnTo>
                <a:lnTo>
                  <a:pt x="13567" y="9701"/>
                </a:lnTo>
                <a:lnTo>
                  <a:pt x="13589" y="9715"/>
                </a:lnTo>
                <a:lnTo>
                  <a:pt x="13611" y="9728"/>
                </a:lnTo>
                <a:lnTo>
                  <a:pt x="13634" y="9741"/>
                </a:lnTo>
                <a:lnTo>
                  <a:pt x="13655" y="9756"/>
                </a:lnTo>
                <a:lnTo>
                  <a:pt x="13676" y="9770"/>
                </a:lnTo>
                <a:lnTo>
                  <a:pt x="13697" y="9786"/>
                </a:lnTo>
                <a:lnTo>
                  <a:pt x="13718" y="9802"/>
                </a:lnTo>
                <a:lnTo>
                  <a:pt x="13738" y="9818"/>
                </a:lnTo>
                <a:lnTo>
                  <a:pt x="13757" y="9834"/>
                </a:lnTo>
                <a:lnTo>
                  <a:pt x="13776" y="9851"/>
                </a:lnTo>
                <a:lnTo>
                  <a:pt x="13796" y="9869"/>
                </a:lnTo>
                <a:lnTo>
                  <a:pt x="13814" y="9887"/>
                </a:lnTo>
                <a:lnTo>
                  <a:pt x="13832" y="9905"/>
                </a:lnTo>
                <a:lnTo>
                  <a:pt x="13849" y="9924"/>
                </a:lnTo>
                <a:lnTo>
                  <a:pt x="13867" y="9944"/>
                </a:lnTo>
                <a:lnTo>
                  <a:pt x="13883" y="9963"/>
                </a:lnTo>
                <a:lnTo>
                  <a:pt x="13899" y="9983"/>
                </a:lnTo>
                <a:lnTo>
                  <a:pt x="13914" y="10003"/>
                </a:lnTo>
                <a:lnTo>
                  <a:pt x="13929" y="10025"/>
                </a:lnTo>
                <a:lnTo>
                  <a:pt x="13945" y="10046"/>
                </a:lnTo>
                <a:lnTo>
                  <a:pt x="13959" y="10067"/>
                </a:lnTo>
                <a:lnTo>
                  <a:pt x="13972" y="10089"/>
                </a:lnTo>
                <a:lnTo>
                  <a:pt x="13985" y="10111"/>
                </a:lnTo>
                <a:lnTo>
                  <a:pt x="13997" y="10134"/>
                </a:lnTo>
                <a:lnTo>
                  <a:pt x="14009" y="10157"/>
                </a:lnTo>
                <a:lnTo>
                  <a:pt x="14022" y="10180"/>
                </a:lnTo>
                <a:lnTo>
                  <a:pt x="14033" y="10203"/>
                </a:lnTo>
                <a:lnTo>
                  <a:pt x="14043" y="10227"/>
                </a:lnTo>
                <a:lnTo>
                  <a:pt x="14053" y="10251"/>
                </a:lnTo>
                <a:lnTo>
                  <a:pt x="14062" y="10276"/>
                </a:lnTo>
                <a:lnTo>
                  <a:pt x="14070" y="10300"/>
                </a:lnTo>
                <a:lnTo>
                  <a:pt x="14078" y="10326"/>
                </a:lnTo>
                <a:lnTo>
                  <a:pt x="14086" y="10350"/>
                </a:lnTo>
                <a:lnTo>
                  <a:pt x="14094" y="10376"/>
                </a:lnTo>
                <a:lnTo>
                  <a:pt x="14100" y="10402"/>
                </a:lnTo>
                <a:lnTo>
                  <a:pt x="14106" y="10428"/>
                </a:lnTo>
                <a:lnTo>
                  <a:pt x="14110" y="10454"/>
                </a:lnTo>
                <a:lnTo>
                  <a:pt x="14115" y="10480"/>
                </a:lnTo>
                <a:lnTo>
                  <a:pt x="14118" y="10507"/>
                </a:lnTo>
                <a:lnTo>
                  <a:pt x="14122" y="10534"/>
                </a:lnTo>
                <a:lnTo>
                  <a:pt x="14124" y="10561"/>
                </a:lnTo>
                <a:lnTo>
                  <a:pt x="14126" y="10588"/>
                </a:lnTo>
                <a:lnTo>
                  <a:pt x="14127" y="10616"/>
                </a:lnTo>
                <a:lnTo>
                  <a:pt x="14127" y="10643"/>
                </a:lnTo>
                <a:lnTo>
                  <a:pt x="14127" y="10670"/>
                </a:lnTo>
                <a:lnTo>
                  <a:pt x="14126" y="10698"/>
                </a:lnTo>
                <a:lnTo>
                  <a:pt x="14124" y="10725"/>
                </a:lnTo>
                <a:lnTo>
                  <a:pt x="14122" y="10753"/>
                </a:lnTo>
                <a:lnTo>
                  <a:pt x="14118" y="10779"/>
                </a:lnTo>
                <a:lnTo>
                  <a:pt x="14115" y="10806"/>
                </a:lnTo>
                <a:lnTo>
                  <a:pt x="14110" y="10833"/>
                </a:lnTo>
                <a:lnTo>
                  <a:pt x="14106" y="10859"/>
                </a:lnTo>
                <a:lnTo>
                  <a:pt x="14100" y="10884"/>
                </a:lnTo>
                <a:lnTo>
                  <a:pt x="14094" y="10911"/>
                </a:lnTo>
                <a:lnTo>
                  <a:pt x="14086" y="10936"/>
                </a:lnTo>
                <a:lnTo>
                  <a:pt x="14078" y="10961"/>
                </a:lnTo>
                <a:lnTo>
                  <a:pt x="14070" y="10986"/>
                </a:lnTo>
                <a:lnTo>
                  <a:pt x="14062" y="11011"/>
                </a:lnTo>
                <a:lnTo>
                  <a:pt x="14053" y="11035"/>
                </a:lnTo>
                <a:lnTo>
                  <a:pt x="14043" y="11060"/>
                </a:lnTo>
                <a:lnTo>
                  <a:pt x="14033" y="11083"/>
                </a:lnTo>
                <a:lnTo>
                  <a:pt x="14022" y="11106"/>
                </a:lnTo>
                <a:lnTo>
                  <a:pt x="14009" y="11130"/>
                </a:lnTo>
                <a:lnTo>
                  <a:pt x="13997" y="11153"/>
                </a:lnTo>
                <a:lnTo>
                  <a:pt x="13985" y="11175"/>
                </a:lnTo>
                <a:lnTo>
                  <a:pt x="13972" y="11198"/>
                </a:lnTo>
                <a:lnTo>
                  <a:pt x="13959" y="11220"/>
                </a:lnTo>
                <a:lnTo>
                  <a:pt x="13945" y="11241"/>
                </a:lnTo>
                <a:lnTo>
                  <a:pt x="13929" y="11262"/>
                </a:lnTo>
                <a:lnTo>
                  <a:pt x="13914" y="11283"/>
                </a:lnTo>
                <a:lnTo>
                  <a:pt x="13899" y="11304"/>
                </a:lnTo>
                <a:lnTo>
                  <a:pt x="13883" y="11323"/>
                </a:lnTo>
                <a:lnTo>
                  <a:pt x="13866" y="11343"/>
                </a:lnTo>
                <a:lnTo>
                  <a:pt x="13849" y="11363"/>
                </a:lnTo>
                <a:lnTo>
                  <a:pt x="13831" y="11381"/>
                </a:lnTo>
                <a:lnTo>
                  <a:pt x="13814" y="11399"/>
                </a:lnTo>
                <a:lnTo>
                  <a:pt x="13796" y="11417"/>
                </a:lnTo>
                <a:lnTo>
                  <a:pt x="13776" y="11435"/>
                </a:lnTo>
                <a:lnTo>
                  <a:pt x="13757" y="11452"/>
                </a:lnTo>
                <a:lnTo>
                  <a:pt x="13738" y="11468"/>
                </a:lnTo>
                <a:lnTo>
                  <a:pt x="13718" y="11484"/>
                </a:lnTo>
                <a:lnTo>
                  <a:pt x="13697" y="11501"/>
                </a:lnTo>
                <a:lnTo>
                  <a:pt x="13676" y="11516"/>
                </a:lnTo>
                <a:lnTo>
                  <a:pt x="13656" y="11530"/>
                </a:lnTo>
                <a:lnTo>
                  <a:pt x="13634" y="11544"/>
                </a:lnTo>
                <a:lnTo>
                  <a:pt x="13612" y="11558"/>
                </a:lnTo>
                <a:lnTo>
                  <a:pt x="13590" y="11572"/>
                </a:lnTo>
                <a:lnTo>
                  <a:pt x="13567" y="11584"/>
                </a:lnTo>
                <a:lnTo>
                  <a:pt x="13544" y="11596"/>
                </a:lnTo>
                <a:lnTo>
                  <a:pt x="13521" y="11607"/>
                </a:lnTo>
                <a:lnTo>
                  <a:pt x="13498" y="11618"/>
                </a:lnTo>
                <a:lnTo>
                  <a:pt x="13474" y="11628"/>
                </a:lnTo>
                <a:lnTo>
                  <a:pt x="13449" y="11638"/>
                </a:lnTo>
                <a:lnTo>
                  <a:pt x="13425" y="11648"/>
                </a:lnTo>
                <a:lnTo>
                  <a:pt x="13401" y="11657"/>
                </a:lnTo>
                <a:lnTo>
                  <a:pt x="13375" y="11665"/>
                </a:lnTo>
                <a:lnTo>
                  <a:pt x="13350" y="11672"/>
                </a:lnTo>
                <a:lnTo>
                  <a:pt x="13325" y="11679"/>
                </a:lnTo>
                <a:lnTo>
                  <a:pt x="13299" y="11685"/>
                </a:lnTo>
                <a:lnTo>
                  <a:pt x="13273" y="11691"/>
                </a:lnTo>
                <a:lnTo>
                  <a:pt x="13247" y="11696"/>
                </a:lnTo>
                <a:lnTo>
                  <a:pt x="13220" y="11700"/>
                </a:lnTo>
                <a:lnTo>
                  <a:pt x="13194" y="11704"/>
                </a:lnTo>
                <a:lnTo>
                  <a:pt x="13167" y="11707"/>
                </a:lnTo>
                <a:lnTo>
                  <a:pt x="13140" y="11709"/>
                </a:lnTo>
                <a:lnTo>
                  <a:pt x="13113" y="11711"/>
                </a:lnTo>
                <a:lnTo>
                  <a:pt x="13086" y="11712"/>
                </a:lnTo>
                <a:lnTo>
                  <a:pt x="13057" y="11712"/>
                </a:lnTo>
                <a:lnTo>
                  <a:pt x="13000" y="11712"/>
                </a:lnTo>
                <a:lnTo>
                  <a:pt x="13000" y="14077"/>
                </a:lnTo>
                <a:lnTo>
                  <a:pt x="13057" y="14077"/>
                </a:lnTo>
                <a:lnTo>
                  <a:pt x="13086" y="14077"/>
                </a:lnTo>
                <a:lnTo>
                  <a:pt x="13113" y="14078"/>
                </a:lnTo>
                <a:lnTo>
                  <a:pt x="13139" y="14080"/>
                </a:lnTo>
                <a:lnTo>
                  <a:pt x="13167" y="14082"/>
                </a:lnTo>
                <a:lnTo>
                  <a:pt x="13193" y="14085"/>
                </a:lnTo>
                <a:lnTo>
                  <a:pt x="13220" y="14089"/>
                </a:lnTo>
                <a:lnTo>
                  <a:pt x="13247" y="14093"/>
                </a:lnTo>
                <a:lnTo>
                  <a:pt x="13273" y="14099"/>
                </a:lnTo>
                <a:lnTo>
                  <a:pt x="13298" y="14105"/>
                </a:lnTo>
                <a:lnTo>
                  <a:pt x="13325" y="14111"/>
                </a:lnTo>
                <a:lnTo>
                  <a:pt x="13350" y="14118"/>
                </a:lnTo>
                <a:lnTo>
                  <a:pt x="13375" y="14125"/>
                </a:lnTo>
                <a:lnTo>
                  <a:pt x="13400" y="14134"/>
                </a:lnTo>
                <a:lnTo>
                  <a:pt x="13425" y="14142"/>
                </a:lnTo>
                <a:lnTo>
                  <a:pt x="13449" y="14151"/>
                </a:lnTo>
                <a:lnTo>
                  <a:pt x="13474" y="14161"/>
                </a:lnTo>
                <a:lnTo>
                  <a:pt x="13497" y="14173"/>
                </a:lnTo>
                <a:lnTo>
                  <a:pt x="13520" y="14183"/>
                </a:lnTo>
                <a:lnTo>
                  <a:pt x="13543" y="14195"/>
                </a:lnTo>
                <a:lnTo>
                  <a:pt x="13567" y="14207"/>
                </a:lnTo>
                <a:lnTo>
                  <a:pt x="13589" y="14219"/>
                </a:lnTo>
                <a:lnTo>
                  <a:pt x="13611" y="14233"/>
                </a:lnTo>
                <a:lnTo>
                  <a:pt x="13634" y="14246"/>
                </a:lnTo>
                <a:lnTo>
                  <a:pt x="13655" y="14261"/>
                </a:lnTo>
                <a:lnTo>
                  <a:pt x="13676" y="14276"/>
                </a:lnTo>
                <a:lnTo>
                  <a:pt x="13697" y="14291"/>
                </a:lnTo>
                <a:lnTo>
                  <a:pt x="13718" y="14306"/>
                </a:lnTo>
                <a:lnTo>
                  <a:pt x="13738" y="14323"/>
                </a:lnTo>
                <a:lnTo>
                  <a:pt x="13757" y="14340"/>
                </a:lnTo>
                <a:lnTo>
                  <a:pt x="13776" y="14357"/>
                </a:lnTo>
                <a:lnTo>
                  <a:pt x="13796" y="14374"/>
                </a:lnTo>
                <a:lnTo>
                  <a:pt x="13814" y="14392"/>
                </a:lnTo>
                <a:lnTo>
                  <a:pt x="13832" y="14411"/>
                </a:lnTo>
                <a:lnTo>
                  <a:pt x="13849" y="14430"/>
                </a:lnTo>
                <a:lnTo>
                  <a:pt x="13867" y="14449"/>
                </a:lnTo>
                <a:lnTo>
                  <a:pt x="13883" y="14468"/>
                </a:lnTo>
                <a:lnTo>
                  <a:pt x="13899" y="14489"/>
                </a:lnTo>
                <a:lnTo>
                  <a:pt x="13914" y="14509"/>
                </a:lnTo>
                <a:lnTo>
                  <a:pt x="13929" y="14529"/>
                </a:lnTo>
                <a:lnTo>
                  <a:pt x="13945" y="14551"/>
                </a:lnTo>
                <a:lnTo>
                  <a:pt x="13959" y="14572"/>
                </a:lnTo>
                <a:lnTo>
                  <a:pt x="13972" y="14594"/>
                </a:lnTo>
                <a:lnTo>
                  <a:pt x="13985" y="14616"/>
                </a:lnTo>
                <a:lnTo>
                  <a:pt x="13997" y="14639"/>
                </a:lnTo>
                <a:lnTo>
                  <a:pt x="14009" y="14662"/>
                </a:lnTo>
                <a:lnTo>
                  <a:pt x="14022" y="14685"/>
                </a:lnTo>
                <a:lnTo>
                  <a:pt x="14033" y="14709"/>
                </a:lnTo>
                <a:lnTo>
                  <a:pt x="14043" y="14732"/>
                </a:lnTo>
                <a:lnTo>
                  <a:pt x="14053" y="14756"/>
                </a:lnTo>
                <a:lnTo>
                  <a:pt x="14062" y="14781"/>
                </a:lnTo>
                <a:lnTo>
                  <a:pt x="14070" y="14806"/>
                </a:lnTo>
                <a:lnTo>
                  <a:pt x="14078" y="14830"/>
                </a:lnTo>
                <a:lnTo>
                  <a:pt x="14086" y="14856"/>
                </a:lnTo>
                <a:lnTo>
                  <a:pt x="14094" y="14881"/>
                </a:lnTo>
                <a:lnTo>
                  <a:pt x="14100" y="14907"/>
                </a:lnTo>
                <a:lnTo>
                  <a:pt x="14106" y="14933"/>
                </a:lnTo>
                <a:lnTo>
                  <a:pt x="14110" y="14959"/>
                </a:lnTo>
                <a:lnTo>
                  <a:pt x="14115" y="14985"/>
                </a:lnTo>
                <a:lnTo>
                  <a:pt x="14118" y="15012"/>
                </a:lnTo>
                <a:lnTo>
                  <a:pt x="14122" y="15039"/>
                </a:lnTo>
                <a:lnTo>
                  <a:pt x="14124" y="15066"/>
                </a:lnTo>
                <a:lnTo>
                  <a:pt x="14126" y="15093"/>
                </a:lnTo>
                <a:lnTo>
                  <a:pt x="14127" y="15120"/>
                </a:lnTo>
                <a:lnTo>
                  <a:pt x="14127" y="15148"/>
                </a:lnTo>
                <a:lnTo>
                  <a:pt x="14127" y="15176"/>
                </a:lnTo>
                <a:lnTo>
                  <a:pt x="14126" y="15203"/>
                </a:lnTo>
                <a:lnTo>
                  <a:pt x="14124" y="15231"/>
                </a:lnTo>
                <a:lnTo>
                  <a:pt x="14122" y="15257"/>
                </a:lnTo>
                <a:lnTo>
                  <a:pt x="14118" y="15284"/>
                </a:lnTo>
                <a:lnTo>
                  <a:pt x="14115" y="15311"/>
                </a:lnTo>
                <a:lnTo>
                  <a:pt x="14110" y="15337"/>
                </a:lnTo>
                <a:lnTo>
                  <a:pt x="14106" y="15364"/>
                </a:lnTo>
                <a:lnTo>
                  <a:pt x="14100" y="15390"/>
                </a:lnTo>
                <a:lnTo>
                  <a:pt x="14094" y="15415"/>
                </a:lnTo>
                <a:lnTo>
                  <a:pt x="14086" y="15441"/>
                </a:lnTo>
                <a:lnTo>
                  <a:pt x="14078" y="15466"/>
                </a:lnTo>
                <a:lnTo>
                  <a:pt x="14070" y="15491"/>
                </a:lnTo>
                <a:lnTo>
                  <a:pt x="14062" y="15516"/>
                </a:lnTo>
                <a:lnTo>
                  <a:pt x="14053" y="15540"/>
                </a:lnTo>
                <a:lnTo>
                  <a:pt x="14043" y="15564"/>
                </a:lnTo>
                <a:lnTo>
                  <a:pt x="14033" y="15589"/>
                </a:lnTo>
                <a:lnTo>
                  <a:pt x="14022" y="15612"/>
                </a:lnTo>
                <a:lnTo>
                  <a:pt x="14009" y="15635"/>
                </a:lnTo>
                <a:lnTo>
                  <a:pt x="13997" y="15658"/>
                </a:lnTo>
                <a:lnTo>
                  <a:pt x="13985" y="15681"/>
                </a:lnTo>
                <a:lnTo>
                  <a:pt x="13972" y="15703"/>
                </a:lnTo>
                <a:lnTo>
                  <a:pt x="13959" y="15724"/>
                </a:lnTo>
                <a:lnTo>
                  <a:pt x="13945" y="15747"/>
                </a:lnTo>
                <a:lnTo>
                  <a:pt x="13929" y="15767"/>
                </a:lnTo>
                <a:lnTo>
                  <a:pt x="13914" y="15788"/>
                </a:lnTo>
                <a:lnTo>
                  <a:pt x="13899" y="15808"/>
                </a:lnTo>
                <a:lnTo>
                  <a:pt x="13883" y="15829"/>
                </a:lnTo>
                <a:lnTo>
                  <a:pt x="13866" y="15848"/>
                </a:lnTo>
                <a:lnTo>
                  <a:pt x="13849" y="15867"/>
                </a:lnTo>
                <a:lnTo>
                  <a:pt x="13831" y="15887"/>
                </a:lnTo>
                <a:lnTo>
                  <a:pt x="13814" y="15905"/>
                </a:lnTo>
                <a:lnTo>
                  <a:pt x="13796" y="15922"/>
                </a:lnTo>
                <a:lnTo>
                  <a:pt x="13776" y="15940"/>
                </a:lnTo>
                <a:lnTo>
                  <a:pt x="13757" y="15956"/>
                </a:lnTo>
                <a:lnTo>
                  <a:pt x="13738" y="15974"/>
                </a:lnTo>
                <a:lnTo>
                  <a:pt x="13718" y="15990"/>
                </a:lnTo>
                <a:lnTo>
                  <a:pt x="13697" y="16005"/>
                </a:lnTo>
                <a:lnTo>
                  <a:pt x="13676" y="16020"/>
                </a:lnTo>
                <a:lnTo>
                  <a:pt x="13656" y="16036"/>
                </a:lnTo>
                <a:lnTo>
                  <a:pt x="13634" y="16050"/>
                </a:lnTo>
                <a:lnTo>
                  <a:pt x="13612" y="16063"/>
                </a:lnTo>
                <a:lnTo>
                  <a:pt x="13590" y="16076"/>
                </a:lnTo>
                <a:lnTo>
                  <a:pt x="13567" y="16088"/>
                </a:lnTo>
                <a:lnTo>
                  <a:pt x="13544" y="16100"/>
                </a:lnTo>
                <a:lnTo>
                  <a:pt x="13521" y="16113"/>
                </a:lnTo>
                <a:lnTo>
                  <a:pt x="13498" y="16124"/>
                </a:lnTo>
                <a:lnTo>
                  <a:pt x="13474" y="16134"/>
                </a:lnTo>
                <a:lnTo>
                  <a:pt x="13449" y="16144"/>
                </a:lnTo>
                <a:lnTo>
                  <a:pt x="13425" y="16153"/>
                </a:lnTo>
                <a:lnTo>
                  <a:pt x="13401" y="16161"/>
                </a:lnTo>
                <a:lnTo>
                  <a:pt x="13375" y="16169"/>
                </a:lnTo>
                <a:lnTo>
                  <a:pt x="13350" y="16177"/>
                </a:lnTo>
                <a:lnTo>
                  <a:pt x="13325" y="16185"/>
                </a:lnTo>
                <a:lnTo>
                  <a:pt x="13299" y="16191"/>
                </a:lnTo>
                <a:lnTo>
                  <a:pt x="13273" y="16197"/>
                </a:lnTo>
                <a:lnTo>
                  <a:pt x="13247" y="16201"/>
                </a:lnTo>
                <a:lnTo>
                  <a:pt x="13220" y="16206"/>
                </a:lnTo>
                <a:lnTo>
                  <a:pt x="13194" y="16209"/>
                </a:lnTo>
                <a:lnTo>
                  <a:pt x="13167" y="16213"/>
                </a:lnTo>
                <a:lnTo>
                  <a:pt x="13140" y="16215"/>
                </a:lnTo>
                <a:lnTo>
                  <a:pt x="13113" y="16217"/>
                </a:lnTo>
                <a:lnTo>
                  <a:pt x="13086" y="16218"/>
                </a:lnTo>
                <a:lnTo>
                  <a:pt x="13057" y="16218"/>
                </a:lnTo>
                <a:lnTo>
                  <a:pt x="1070" y="16218"/>
                </a:lnTo>
                <a:lnTo>
                  <a:pt x="1041" y="16218"/>
                </a:lnTo>
                <a:lnTo>
                  <a:pt x="1014" y="16217"/>
                </a:lnTo>
                <a:lnTo>
                  <a:pt x="987" y="16215"/>
                </a:lnTo>
                <a:lnTo>
                  <a:pt x="960" y="16213"/>
                </a:lnTo>
                <a:lnTo>
                  <a:pt x="933" y="16209"/>
                </a:lnTo>
                <a:lnTo>
                  <a:pt x="907" y="16206"/>
                </a:lnTo>
                <a:lnTo>
                  <a:pt x="880" y="16201"/>
                </a:lnTo>
                <a:lnTo>
                  <a:pt x="854" y="16197"/>
                </a:lnTo>
                <a:lnTo>
                  <a:pt x="828" y="16191"/>
                </a:lnTo>
                <a:lnTo>
                  <a:pt x="802" y="16185"/>
                </a:lnTo>
                <a:lnTo>
                  <a:pt x="777" y="16177"/>
                </a:lnTo>
                <a:lnTo>
                  <a:pt x="752" y="16169"/>
                </a:lnTo>
                <a:lnTo>
                  <a:pt x="726" y="16161"/>
                </a:lnTo>
                <a:lnTo>
                  <a:pt x="702" y="16153"/>
                </a:lnTo>
                <a:lnTo>
                  <a:pt x="678" y="16144"/>
                </a:lnTo>
                <a:lnTo>
                  <a:pt x="653" y="16134"/>
                </a:lnTo>
                <a:lnTo>
                  <a:pt x="629" y="16124"/>
                </a:lnTo>
                <a:lnTo>
                  <a:pt x="606" y="16113"/>
                </a:lnTo>
                <a:lnTo>
                  <a:pt x="583" y="16100"/>
                </a:lnTo>
                <a:lnTo>
                  <a:pt x="560" y="16088"/>
                </a:lnTo>
                <a:lnTo>
                  <a:pt x="537" y="16076"/>
                </a:lnTo>
                <a:lnTo>
                  <a:pt x="515" y="16063"/>
                </a:lnTo>
                <a:lnTo>
                  <a:pt x="493" y="16050"/>
                </a:lnTo>
                <a:lnTo>
                  <a:pt x="471" y="16036"/>
                </a:lnTo>
                <a:lnTo>
                  <a:pt x="451" y="16020"/>
                </a:lnTo>
                <a:lnTo>
                  <a:pt x="430" y="16005"/>
                </a:lnTo>
                <a:lnTo>
                  <a:pt x="409" y="15990"/>
                </a:lnTo>
                <a:lnTo>
                  <a:pt x="389" y="15974"/>
                </a:lnTo>
                <a:lnTo>
                  <a:pt x="370" y="15956"/>
                </a:lnTo>
                <a:lnTo>
                  <a:pt x="351" y="15940"/>
                </a:lnTo>
                <a:lnTo>
                  <a:pt x="331" y="15922"/>
                </a:lnTo>
                <a:lnTo>
                  <a:pt x="313" y="15905"/>
                </a:lnTo>
                <a:lnTo>
                  <a:pt x="296" y="15887"/>
                </a:lnTo>
                <a:lnTo>
                  <a:pt x="278" y="15867"/>
                </a:lnTo>
                <a:lnTo>
                  <a:pt x="261" y="15848"/>
                </a:lnTo>
                <a:lnTo>
                  <a:pt x="244" y="15829"/>
                </a:lnTo>
                <a:lnTo>
                  <a:pt x="228" y="15808"/>
                </a:lnTo>
                <a:lnTo>
                  <a:pt x="213" y="15788"/>
                </a:lnTo>
                <a:lnTo>
                  <a:pt x="198" y="15767"/>
                </a:lnTo>
                <a:lnTo>
                  <a:pt x="182" y="15747"/>
                </a:lnTo>
                <a:lnTo>
                  <a:pt x="168" y="15724"/>
                </a:lnTo>
                <a:lnTo>
                  <a:pt x="155" y="15703"/>
                </a:lnTo>
                <a:lnTo>
                  <a:pt x="142" y="15681"/>
                </a:lnTo>
                <a:lnTo>
                  <a:pt x="130" y="15658"/>
                </a:lnTo>
                <a:lnTo>
                  <a:pt x="118" y="15635"/>
                </a:lnTo>
                <a:lnTo>
                  <a:pt x="105" y="15612"/>
                </a:lnTo>
                <a:lnTo>
                  <a:pt x="94" y="15589"/>
                </a:lnTo>
                <a:lnTo>
                  <a:pt x="84" y="15564"/>
                </a:lnTo>
                <a:lnTo>
                  <a:pt x="74" y="15540"/>
                </a:lnTo>
                <a:lnTo>
                  <a:pt x="65" y="15516"/>
                </a:lnTo>
                <a:lnTo>
                  <a:pt x="57" y="15491"/>
                </a:lnTo>
                <a:lnTo>
                  <a:pt x="49" y="15466"/>
                </a:lnTo>
                <a:lnTo>
                  <a:pt x="41" y="15441"/>
                </a:lnTo>
                <a:lnTo>
                  <a:pt x="33" y="15415"/>
                </a:lnTo>
                <a:lnTo>
                  <a:pt x="27" y="15390"/>
                </a:lnTo>
                <a:lnTo>
                  <a:pt x="21" y="15364"/>
                </a:lnTo>
                <a:lnTo>
                  <a:pt x="17" y="15337"/>
                </a:lnTo>
                <a:lnTo>
                  <a:pt x="12" y="15311"/>
                </a:lnTo>
                <a:lnTo>
                  <a:pt x="9" y="15284"/>
                </a:lnTo>
                <a:lnTo>
                  <a:pt x="5" y="15257"/>
                </a:lnTo>
                <a:lnTo>
                  <a:pt x="3" y="15231"/>
                </a:lnTo>
                <a:lnTo>
                  <a:pt x="1" y="15203"/>
                </a:lnTo>
                <a:lnTo>
                  <a:pt x="0" y="15176"/>
                </a:lnTo>
                <a:lnTo>
                  <a:pt x="0" y="15148"/>
                </a:lnTo>
                <a:lnTo>
                  <a:pt x="0" y="15120"/>
                </a:lnTo>
                <a:lnTo>
                  <a:pt x="1" y="15093"/>
                </a:lnTo>
                <a:lnTo>
                  <a:pt x="3" y="15066"/>
                </a:lnTo>
                <a:lnTo>
                  <a:pt x="5" y="15039"/>
                </a:lnTo>
                <a:lnTo>
                  <a:pt x="9" y="15012"/>
                </a:lnTo>
                <a:lnTo>
                  <a:pt x="12" y="14985"/>
                </a:lnTo>
                <a:lnTo>
                  <a:pt x="17" y="14959"/>
                </a:lnTo>
                <a:lnTo>
                  <a:pt x="21" y="14933"/>
                </a:lnTo>
                <a:lnTo>
                  <a:pt x="27" y="14907"/>
                </a:lnTo>
                <a:lnTo>
                  <a:pt x="33" y="14881"/>
                </a:lnTo>
                <a:lnTo>
                  <a:pt x="41" y="14856"/>
                </a:lnTo>
                <a:lnTo>
                  <a:pt x="49" y="14830"/>
                </a:lnTo>
                <a:lnTo>
                  <a:pt x="57" y="14806"/>
                </a:lnTo>
                <a:lnTo>
                  <a:pt x="65" y="14781"/>
                </a:lnTo>
                <a:lnTo>
                  <a:pt x="74" y="14756"/>
                </a:lnTo>
                <a:lnTo>
                  <a:pt x="84" y="14732"/>
                </a:lnTo>
                <a:lnTo>
                  <a:pt x="94" y="14709"/>
                </a:lnTo>
                <a:lnTo>
                  <a:pt x="105" y="14685"/>
                </a:lnTo>
                <a:lnTo>
                  <a:pt x="118" y="14662"/>
                </a:lnTo>
                <a:lnTo>
                  <a:pt x="130" y="14639"/>
                </a:lnTo>
                <a:lnTo>
                  <a:pt x="142" y="14616"/>
                </a:lnTo>
                <a:lnTo>
                  <a:pt x="155" y="14594"/>
                </a:lnTo>
                <a:lnTo>
                  <a:pt x="168" y="14572"/>
                </a:lnTo>
                <a:lnTo>
                  <a:pt x="182" y="14551"/>
                </a:lnTo>
                <a:lnTo>
                  <a:pt x="198" y="14529"/>
                </a:lnTo>
                <a:lnTo>
                  <a:pt x="213" y="14509"/>
                </a:lnTo>
                <a:lnTo>
                  <a:pt x="228" y="14489"/>
                </a:lnTo>
                <a:lnTo>
                  <a:pt x="244" y="14468"/>
                </a:lnTo>
                <a:lnTo>
                  <a:pt x="260" y="14449"/>
                </a:lnTo>
                <a:lnTo>
                  <a:pt x="278" y="14430"/>
                </a:lnTo>
                <a:lnTo>
                  <a:pt x="295" y="14411"/>
                </a:lnTo>
                <a:lnTo>
                  <a:pt x="313" y="14392"/>
                </a:lnTo>
                <a:lnTo>
                  <a:pt x="331" y="14374"/>
                </a:lnTo>
                <a:lnTo>
                  <a:pt x="351" y="14357"/>
                </a:lnTo>
                <a:lnTo>
                  <a:pt x="370" y="14340"/>
                </a:lnTo>
                <a:lnTo>
                  <a:pt x="389" y="14323"/>
                </a:lnTo>
                <a:lnTo>
                  <a:pt x="409" y="14306"/>
                </a:lnTo>
                <a:lnTo>
                  <a:pt x="430" y="14291"/>
                </a:lnTo>
                <a:lnTo>
                  <a:pt x="451" y="14276"/>
                </a:lnTo>
                <a:lnTo>
                  <a:pt x="472" y="14261"/>
                </a:lnTo>
                <a:lnTo>
                  <a:pt x="493" y="14246"/>
                </a:lnTo>
                <a:lnTo>
                  <a:pt x="516" y="14233"/>
                </a:lnTo>
                <a:lnTo>
                  <a:pt x="538" y="14219"/>
                </a:lnTo>
                <a:lnTo>
                  <a:pt x="560" y="14207"/>
                </a:lnTo>
                <a:lnTo>
                  <a:pt x="584" y="14195"/>
                </a:lnTo>
                <a:lnTo>
                  <a:pt x="607" y="14183"/>
                </a:lnTo>
                <a:lnTo>
                  <a:pt x="630" y="14173"/>
                </a:lnTo>
                <a:lnTo>
                  <a:pt x="653" y="14161"/>
                </a:lnTo>
                <a:lnTo>
                  <a:pt x="678" y="14151"/>
                </a:lnTo>
                <a:lnTo>
                  <a:pt x="702" y="14142"/>
                </a:lnTo>
                <a:lnTo>
                  <a:pt x="727" y="14134"/>
                </a:lnTo>
                <a:lnTo>
                  <a:pt x="752" y="14125"/>
                </a:lnTo>
                <a:lnTo>
                  <a:pt x="777" y="14118"/>
                </a:lnTo>
                <a:lnTo>
                  <a:pt x="802" y="14111"/>
                </a:lnTo>
                <a:lnTo>
                  <a:pt x="829" y="14105"/>
                </a:lnTo>
                <a:lnTo>
                  <a:pt x="854" y="14099"/>
                </a:lnTo>
                <a:lnTo>
                  <a:pt x="880" y="14093"/>
                </a:lnTo>
                <a:lnTo>
                  <a:pt x="907" y="14089"/>
                </a:lnTo>
                <a:lnTo>
                  <a:pt x="934" y="14085"/>
                </a:lnTo>
                <a:lnTo>
                  <a:pt x="960" y="14082"/>
                </a:lnTo>
                <a:lnTo>
                  <a:pt x="988" y="14080"/>
                </a:lnTo>
                <a:lnTo>
                  <a:pt x="1014" y="14078"/>
                </a:lnTo>
                <a:lnTo>
                  <a:pt x="1041" y="14077"/>
                </a:lnTo>
                <a:lnTo>
                  <a:pt x="1070" y="14077"/>
                </a:lnTo>
                <a:lnTo>
                  <a:pt x="1127" y="14077"/>
                </a:lnTo>
                <a:lnTo>
                  <a:pt x="1127" y="11712"/>
                </a:lnTo>
                <a:lnTo>
                  <a:pt x="1070" y="11712"/>
                </a:lnTo>
                <a:lnTo>
                  <a:pt x="1041" y="11712"/>
                </a:lnTo>
                <a:lnTo>
                  <a:pt x="1014" y="11711"/>
                </a:lnTo>
                <a:lnTo>
                  <a:pt x="987" y="11709"/>
                </a:lnTo>
                <a:lnTo>
                  <a:pt x="960" y="11707"/>
                </a:lnTo>
                <a:lnTo>
                  <a:pt x="933" y="11704"/>
                </a:lnTo>
                <a:lnTo>
                  <a:pt x="907" y="11700"/>
                </a:lnTo>
                <a:lnTo>
                  <a:pt x="880" y="11696"/>
                </a:lnTo>
                <a:lnTo>
                  <a:pt x="854" y="11691"/>
                </a:lnTo>
                <a:lnTo>
                  <a:pt x="828" y="11685"/>
                </a:lnTo>
                <a:lnTo>
                  <a:pt x="802" y="11679"/>
                </a:lnTo>
                <a:lnTo>
                  <a:pt x="777" y="11672"/>
                </a:lnTo>
                <a:lnTo>
                  <a:pt x="752" y="11665"/>
                </a:lnTo>
                <a:lnTo>
                  <a:pt x="726" y="11657"/>
                </a:lnTo>
                <a:lnTo>
                  <a:pt x="702" y="11648"/>
                </a:lnTo>
                <a:lnTo>
                  <a:pt x="678" y="11638"/>
                </a:lnTo>
                <a:lnTo>
                  <a:pt x="653" y="11628"/>
                </a:lnTo>
                <a:lnTo>
                  <a:pt x="629" y="11618"/>
                </a:lnTo>
                <a:lnTo>
                  <a:pt x="606" y="11607"/>
                </a:lnTo>
                <a:lnTo>
                  <a:pt x="583" y="11596"/>
                </a:lnTo>
                <a:lnTo>
                  <a:pt x="560" y="11584"/>
                </a:lnTo>
                <a:lnTo>
                  <a:pt x="537" y="11572"/>
                </a:lnTo>
                <a:lnTo>
                  <a:pt x="515" y="11558"/>
                </a:lnTo>
                <a:lnTo>
                  <a:pt x="493" y="11544"/>
                </a:lnTo>
                <a:lnTo>
                  <a:pt x="471" y="11530"/>
                </a:lnTo>
                <a:lnTo>
                  <a:pt x="451" y="11516"/>
                </a:lnTo>
                <a:lnTo>
                  <a:pt x="430" y="11501"/>
                </a:lnTo>
                <a:lnTo>
                  <a:pt x="409" y="11484"/>
                </a:lnTo>
                <a:lnTo>
                  <a:pt x="389" y="11468"/>
                </a:lnTo>
                <a:lnTo>
                  <a:pt x="370" y="11452"/>
                </a:lnTo>
                <a:lnTo>
                  <a:pt x="351" y="11435"/>
                </a:lnTo>
                <a:lnTo>
                  <a:pt x="331" y="11417"/>
                </a:lnTo>
                <a:lnTo>
                  <a:pt x="313" y="11399"/>
                </a:lnTo>
                <a:lnTo>
                  <a:pt x="296" y="11381"/>
                </a:lnTo>
                <a:lnTo>
                  <a:pt x="278" y="11363"/>
                </a:lnTo>
                <a:lnTo>
                  <a:pt x="261" y="11343"/>
                </a:lnTo>
                <a:lnTo>
                  <a:pt x="244" y="11323"/>
                </a:lnTo>
                <a:lnTo>
                  <a:pt x="228" y="11304"/>
                </a:lnTo>
                <a:lnTo>
                  <a:pt x="213" y="11283"/>
                </a:lnTo>
                <a:lnTo>
                  <a:pt x="198" y="11262"/>
                </a:lnTo>
                <a:lnTo>
                  <a:pt x="182" y="11241"/>
                </a:lnTo>
                <a:lnTo>
                  <a:pt x="168" y="11220"/>
                </a:lnTo>
                <a:lnTo>
                  <a:pt x="155" y="11198"/>
                </a:lnTo>
                <a:lnTo>
                  <a:pt x="142" y="11175"/>
                </a:lnTo>
                <a:lnTo>
                  <a:pt x="130" y="11153"/>
                </a:lnTo>
                <a:lnTo>
                  <a:pt x="118" y="11130"/>
                </a:lnTo>
                <a:lnTo>
                  <a:pt x="105" y="11106"/>
                </a:lnTo>
                <a:lnTo>
                  <a:pt x="94" y="11083"/>
                </a:lnTo>
                <a:lnTo>
                  <a:pt x="84" y="11060"/>
                </a:lnTo>
                <a:lnTo>
                  <a:pt x="74" y="11035"/>
                </a:lnTo>
                <a:lnTo>
                  <a:pt x="65" y="11011"/>
                </a:lnTo>
                <a:lnTo>
                  <a:pt x="57" y="10986"/>
                </a:lnTo>
                <a:lnTo>
                  <a:pt x="49" y="10961"/>
                </a:lnTo>
                <a:lnTo>
                  <a:pt x="41" y="10936"/>
                </a:lnTo>
                <a:lnTo>
                  <a:pt x="33" y="10911"/>
                </a:lnTo>
                <a:lnTo>
                  <a:pt x="27" y="10884"/>
                </a:lnTo>
                <a:lnTo>
                  <a:pt x="21" y="10859"/>
                </a:lnTo>
                <a:lnTo>
                  <a:pt x="17" y="10833"/>
                </a:lnTo>
                <a:lnTo>
                  <a:pt x="12" y="10806"/>
                </a:lnTo>
                <a:lnTo>
                  <a:pt x="9" y="10779"/>
                </a:lnTo>
                <a:lnTo>
                  <a:pt x="5" y="10753"/>
                </a:lnTo>
                <a:lnTo>
                  <a:pt x="3" y="10725"/>
                </a:lnTo>
                <a:lnTo>
                  <a:pt x="1" y="10698"/>
                </a:lnTo>
                <a:lnTo>
                  <a:pt x="0" y="10670"/>
                </a:lnTo>
                <a:lnTo>
                  <a:pt x="0" y="10643"/>
                </a:lnTo>
                <a:lnTo>
                  <a:pt x="0" y="10616"/>
                </a:lnTo>
                <a:lnTo>
                  <a:pt x="1" y="10588"/>
                </a:lnTo>
                <a:lnTo>
                  <a:pt x="3" y="10561"/>
                </a:lnTo>
                <a:lnTo>
                  <a:pt x="5" y="10534"/>
                </a:lnTo>
                <a:lnTo>
                  <a:pt x="9" y="10507"/>
                </a:lnTo>
                <a:lnTo>
                  <a:pt x="12" y="10480"/>
                </a:lnTo>
                <a:lnTo>
                  <a:pt x="17" y="10454"/>
                </a:lnTo>
                <a:lnTo>
                  <a:pt x="21" y="10428"/>
                </a:lnTo>
                <a:lnTo>
                  <a:pt x="27" y="10402"/>
                </a:lnTo>
                <a:lnTo>
                  <a:pt x="33" y="10376"/>
                </a:lnTo>
                <a:lnTo>
                  <a:pt x="41" y="10350"/>
                </a:lnTo>
                <a:lnTo>
                  <a:pt x="49" y="10326"/>
                </a:lnTo>
                <a:lnTo>
                  <a:pt x="57" y="10300"/>
                </a:lnTo>
                <a:lnTo>
                  <a:pt x="65" y="10276"/>
                </a:lnTo>
                <a:lnTo>
                  <a:pt x="74" y="10251"/>
                </a:lnTo>
                <a:lnTo>
                  <a:pt x="84" y="10227"/>
                </a:lnTo>
                <a:lnTo>
                  <a:pt x="94" y="10203"/>
                </a:lnTo>
                <a:lnTo>
                  <a:pt x="105" y="10180"/>
                </a:lnTo>
                <a:lnTo>
                  <a:pt x="118" y="10157"/>
                </a:lnTo>
                <a:lnTo>
                  <a:pt x="130" y="10134"/>
                </a:lnTo>
                <a:lnTo>
                  <a:pt x="142" y="10111"/>
                </a:lnTo>
                <a:lnTo>
                  <a:pt x="155" y="10089"/>
                </a:lnTo>
                <a:lnTo>
                  <a:pt x="168" y="10067"/>
                </a:lnTo>
                <a:lnTo>
                  <a:pt x="182" y="10046"/>
                </a:lnTo>
                <a:lnTo>
                  <a:pt x="198" y="10025"/>
                </a:lnTo>
                <a:lnTo>
                  <a:pt x="213" y="10003"/>
                </a:lnTo>
                <a:lnTo>
                  <a:pt x="228" y="9983"/>
                </a:lnTo>
                <a:lnTo>
                  <a:pt x="244" y="9963"/>
                </a:lnTo>
                <a:lnTo>
                  <a:pt x="260" y="9944"/>
                </a:lnTo>
                <a:lnTo>
                  <a:pt x="278" y="9924"/>
                </a:lnTo>
                <a:lnTo>
                  <a:pt x="295" y="9905"/>
                </a:lnTo>
                <a:lnTo>
                  <a:pt x="313" y="9887"/>
                </a:lnTo>
                <a:lnTo>
                  <a:pt x="331" y="9869"/>
                </a:lnTo>
                <a:lnTo>
                  <a:pt x="351" y="9851"/>
                </a:lnTo>
                <a:lnTo>
                  <a:pt x="370" y="9834"/>
                </a:lnTo>
                <a:lnTo>
                  <a:pt x="389" y="9818"/>
                </a:lnTo>
                <a:lnTo>
                  <a:pt x="409" y="9802"/>
                </a:lnTo>
                <a:lnTo>
                  <a:pt x="430" y="9786"/>
                </a:lnTo>
                <a:lnTo>
                  <a:pt x="451" y="9770"/>
                </a:lnTo>
                <a:lnTo>
                  <a:pt x="472" y="9756"/>
                </a:lnTo>
                <a:lnTo>
                  <a:pt x="493" y="9741"/>
                </a:lnTo>
                <a:lnTo>
                  <a:pt x="516" y="9728"/>
                </a:lnTo>
                <a:lnTo>
                  <a:pt x="538" y="9715"/>
                </a:lnTo>
                <a:lnTo>
                  <a:pt x="560" y="9701"/>
                </a:lnTo>
                <a:lnTo>
                  <a:pt x="584" y="9689"/>
                </a:lnTo>
                <a:lnTo>
                  <a:pt x="607" y="9678"/>
                </a:lnTo>
                <a:lnTo>
                  <a:pt x="630" y="9667"/>
                </a:lnTo>
                <a:lnTo>
                  <a:pt x="653" y="9656"/>
                </a:lnTo>
                <a:lnTo>
                  <a:pt x="678" y="9647"/>
                </a:lnTo>
                <a:lnTo>
                  <a:pt x="702" y="9637"/>
                </a:lnTo>
                <a:lnTo>
                  <a:pt x="727" y="9628"/>
                </a:lnTo>
                <a:lnTo>
                  <a:pt x="752" y="9620"/>
                </a:lnTo>
                <a:lnTo>
                  <a:pt x="777" y="9612"/>
                </a:lnTo>
                <a:lnTo>
                  <a:pt x="803" y="9605"/>
                </a:lnTo>
                <a:lnTo>
                  <a:pt x="829" y="9599"/>
                </a:lnTo>
                <a:lnTo>
                  <a:pt x="855" y="9593"/>
                </a:lnTo>
                <a:lnTo>
                  <a:pt x="880" y="9588"/>
                </a:lnTo>
                <a:lnTo>
                  <a:pt x="907" y="9584"/>
                </a:lnTo>
                <a:lnTo>
                  <a:pt x="934" y="9580"/>
                </a:lnTo>
                <a:lnTo>
                  <a:pt x="960" y="9577"/>
                </a:lnTo>
                <a:lnTo>
                  <a:pt x="988" y="9575"/>
                </a:lnTo>
                <a:lnTo>
                  <a:pt x="1014" y="9573"/>
                </a:lnTo>
                <a:lnTo>
                  <a:pt x="1042" y="9572"/>
                </a:lnTo>
                <a:lnTo>
                  <a:pt x="1070" y="9572"/>
                </a:lnTo>
                <a:lnTo>
                  <a:pt x="1127" y="9572"/>
                </a:lnTo>
                <a:lnTo>
                  <a:pt x="1127" y="6927"/>
                </a:lnTo>
                <a:lnTo>
                  <a:pt x="1070" y="6927"/>
                </a:lnTo>
                <a:lnTo>
                  <a:pt x="1041" y="6927"/>
                </a:lnTo>
                <a:lnTo>
                  <a:pt x="1014" y="6926"/>
                </a:lnTo>
                <a:lnTo>
                  <a:pt x="987" y="6924"/>
                </a:lnTo>
                <a:lnTo>
                  <a:pt x="960" y="6922"/>
                </a:lnTo>
                <a:lnTo>
                  <a:pt x="933" y="6918"/>
                </a:lnTo>
                <a:lnTo>
                  <a:pt x="907" y="6915"/>
                </a:lnTo>
                <a:lnTo>
                  <a:pt x="880" y="6910"/>
                </a:lnTo>
                <a:lnTo>
                  <a:pt x="854" y="6906"/>
                </a:lnTo>
                <a:lnTo>
                  <a:pt x="828" y="6900"/>
                </a:lnTo>
                <a:lnTo>
                  <a:pt x="802" y="6894"/>
                </a:lnTo>
                <a:lnTo>
                  <a:pt x="777" y="6887"/>
                </a:lnTo>
                <a:lnTo>
                  <a:pt x="752" y="6878"/>
                </a:lnTo>
                <a:lnTo>
                  <a:pt x="726" y="6870"/>
                </a:lnTo>
                <a:lnTo>
                  <a:pt x="702" y="6862"/>
                </a:lnTo>
                <a:lnTo>
                  <a:pt x="678" y="6853"/>
                </a:lnTo>
                <a:lnTo>
                  <a:pt x="653" y="6843"/>
                </a:lnTo>
                <a:lnTo>
                  <a:pt x="629" y="6833"/>
                </a:lnTo>
                <a:lnTo>
                  <a:pt x="606" y="6822"/>
                </a:lnTo>
                <a:lnTo>
                  <a:pt x="583" y="6810"/>
                </a:lnTo>
                <a:lnTo>
                  <a:pt x="560" y="6797"/>
                </a:lnTo>
                <a:lnTo>
                  <a:pt x="537" y="6785"/>
                </a:lnTo>
                <a:lnTo>
                  <a:pt x="515" y="6772"/>
                </a:lnTo>
                <a:lnTo>
                  <a:pt x="493" y="6759"/>
                </a:lnTo>
                <a:lnTo>
                  <a:pt x="471" y="6745"/>
                </a:lnTo>
                <a:lnTo>
                  <a:pt x="451" y="6729"/>
                </a:lnTo>
                <a:lnTo>
                  <a:pt x="430" y="6714"/>
                </a:lnTo>
                <a:lnTo>
                  <a:pt x="409" y="6699"/>
                </a:lnTo>
                <a:lnTo>
                  <a:pt x="389" y="6683"/>
                </a:lnTo>
                <a:lnTo>
                  <a:pt x="370" y="6666"/>
                </a:lnTo>
                <a:lnTo>
                  <a:pt x="351" y="6649"/>
                </a:lnTo>
                <a:lnTo>
                  <a:pt x="331" y="6631"/>
                </a:lnTo>
                <a:lnTo>
                  <a:pt x="313" y="6614"/>
                </a:lnTo>
                <a:lnTo>
                  <a:pt x="314" y="6613"/>
                </a:lnTo>
                <a:lnTo>
                  <a:pt x="296" y="6595"/>
                </a:lnTo>
                <a:lnTo>
                  <a:pt x="279" y="6575"/>
                </a:lnTo>
                <a:lnTo>
                  <a:pt x="261" y="6556"/>
                </a:lnTo>
                <a:lnTo>
                  <a:pt x="245" y="6537"/>
                </a:lnTo>
                <a:lnTo>
                  <a:pt x="229" y="6517"/>
                </a:lnTo>
                <a:lnTo>
                  <a:pt x="213" y="6496"/>
                </a:lnTo>
                <a:lnTo>
                  <a:pt x="198" y="6475"/>
                </a:lnTo>
                <a:lnTo>
                  <a:pt x="183" y="6454"/>
                </a:lnTo>
                <a:lnTo>
                  <a:pt x="169" y="6432"/>
                </a:lnTo>
                <a:lnTo>
                  <a:pt x="155" y="6410"/>
                </a:lnTo>
                <a:lnTo>
                  <a:pt x="142" y="6388"/>
                </a:lnTo>
                <a:lnTo>
                  <a:pt x="130" y="6366"/>
                </a:lnTo>
                <a:lnTo>
                  <a:pt x="118" y="6343"/>
                </a:lnTo>
                <a:lnTo>
                  <a:pt x="105" y="6320"/>
                </a:lnTo>
                <a:lnTo>
                  <a:pt x="95" y="6296"/>
                </a:lnTo>
                <a:lnTo>
                  <a:pt x="84" y="6272"/>
                </a:lnTo>
                <a:lnTo>
                  <a:pt x="74" y="6248"/>
                </a:lnTo>
                <a:lnTo>
                  <a:pt x="65" y="6224"/>
                </a:lnTo>
                <a:lnTo>
                  <a:pt x="57" y="6199"/>
                </a:lnTo>
                <a:lnTo>
                  <a:pt x="49" y="6174"/>
                </a:lnTo>
                <a:lnTo>
                  <a:pt x="41" y="6149"/>
                </a:lnTo>
                <a:lnTo>
                  <a:pt x="33" y="6123"/>
                </a:lnTo>
                <a:lnTo>
                  <a:pt x="27" y="6098"/>
                </a:lnTo>
                <a:lnTo>
                  <a:pt x="22" y="6072"/>
                </a:lnTo>
                <a:lnTo>
                  <a:pt x="17" y="6045"/>
                </a:lnTo>
                <a:lnTo>
                  <a:pt x="12" y="6019"/>
                </a:lnTo>
                <a:lnTo>
                  <a:pt x="9" y="5993"/>
                </a:lnTo>
                <a:lnTo>
                  <a:pt x="5" y="5966"/>
                </a:lnTo>
                <a:lnTo>
                  <a:pt x="3" y="5939"/>
                </a:lnTo>
                <a:lnTo>
                  <a:pt x="1" y="5912"/>
                </a:lnTo>
                <a:lnTo>
                  <a:pt x="0" y="5885"/>
                </a:lnTo>
                <a:lnTo>
                  <a:pt x="0" y="5858"/>
                </a:lnTo>
                <a:lnTo>
                  <a:pt x="0" y="5829"/>
                </a:lnTo>
                <a:lnTo>
                  <a:pt x="1" y="5802"/>
                </a:lnTo>
                <a:lnTo>
                  <a:pt x="3" y="5776"/>
                </a:lnTo>
                <a:lnTo>
                  <a:pt x="5" y="5748"/>
                </a:lnTo>
                <a:lnTo>
                  <a:pt x="9" y="5721"/>
                </a:lnTo>
                <a:lnTo>
                  <a:pt x="12" y="5695"/>
                </a:lnTo>
                <a:lnTo>
                  <a:pt x="17" y="5668"/>
                </a:lnTo>
                <a:lnTo>
                  <a:pt x="21" y="5642"/>
                </a:lnTo>
                <a:lnTo>
                  <a:pt x="27" y="5616"/>
                </a:lnTo>
                <a:lnTo>
                  <a:pt x="33" y="5590"/>
                </a:lnTo>
                <a:lnTo>
                  <a:pt x="41" y="5565"/>
                </a:lnTo>
                <a:lnTo>
                  <a:pt x="49" y="5539"/>
                </a:lnTo>
                <a:lnTo>
                  <a:pt x="57" y="5515"/>
                </a:lnTo>
                <a:lnTo>
                  <a:pt x="65" y="5490"/>
                </a:lnTo>
                <a:lnTo>
                  <a:pt x="74" y="5465"/>
                </a:lnTo>
                <a:lnTo>
                  <a:pt x="84" y="5441"/>
                </a:lnTo>
                <a:lnTo>
                  <a:pt x="94" y="5418"/>
                </a:lnTo>
                <a:lnTo>
                  <a:pt x="105" y="5395"/>
                </a:lnTo>
                <a:lnTo>
                  <a:pt x="118" y="5371"/>
                </a:lnTo>
                <a:lnTo>
                  <a:pt x="130" y="5348"/>
                </a:lnTo>
                <a:lnTo>
                  <a:pt x="142" y="5326"/>
                </a:lnTo>
                <a:lnTo>
                  <a:pt x="155" y="5303"/>
                </a:lnTo>
                <a:lnTo>
                  <a:pt x="168" y="5281"/>
                </a:lnTo>
                <a:lnTo>
                  <a:pt x="182" y="5260"/>
                </a:lnTo>
                <a:lnTo>
                  <a:pt x="198" y="5238"/>
                </a:lnTo>
                <a:lnTo>
                  <a:pt x="213" y="5218"/>
                </a:lnTo>
                <a:lnTo>
                  <a:pt x="228" y="5198"/>
                </a:lnTo>
                <a:lnTo>
                  <a:pt x="244" y="5178"/>
                </a:lnTo>
                <a:lnTo>
                  <a:pt x="260" y="5157"/>
                </a:lnTo>
                <a:lnTo>
                  <a:pt x="278" y="5138"/>
                </a:lnTo>
                <a:lnTo>
                  <a:pt x="295" y="5120"/>
                </a:lnTo>
                <a:lnTo>
                  <a:pt x="313" y="5102"/>
                </a:lnTo>
                <a:lnTo>
                  <a:pt x="331" y="5083"/>
                </a:lnTo>
                <a:lnTo>
                  <a:pt x="351" y="5066"/>
                </a:lnTo>
                <a:lnTo>
                  <a:pt x="370" y="5049"/>
                </a:lnTo>
                <a:lnTo>
                  <a:pt x="389" y="5032"/>
                </a:lnTo>
                <a:lnTo>
                  <a:pt x="409" y="5015"/>
                </a:lnTo>
                <a:lnTo>
                  <a:pt x="430" y="5000"/>
                </a:lnTo>
                <a:lnTo>
                  <a:pt x="451" y="4985"/>
                </a:lnTo>
                <a:lnTo>
                  <a:pt x="472" y="4970"/>
                </a:lnTo>
                <a:lnTo>
                  <a:pt x="493" y="4956"/>
                </a:lnTo>
                <a:lnTo>
                  <a:pt x="516" y="4941"/>
                </a:lnTo>
                <a:lnTo>
                  <a:pt x="538" y="4928"/>
                </a:lnTo>
                <a:lnTo>
                  <a:pt x="560" y="4916"/>
                </a:lnTo>
                <a:lnTo>
                  <a:pt x="584" y="4904"/>
                </a:lnTo>
                <a:lnTo>
                  <a:pt x="607" y="4892"/>
                </a:lnTo>
                <a:lnTo>
                  <a:pt x="630" y="4881"/>
                </a:lnTo>
                <a:lnTo>
                  <a:pt x="653" y="4870"/>
                </a:lnTo>
                <a:lnTo>
                  <a:pt x="678" y="4860"/>
                </a:lnTo>
                <a:lnTo>
                  <a:pt x="702" y="4851"/>
                </a:lnTo>
                <a:lnTo>
                  <a:pt x="727" y="4842"/>
                </a:lnTo>
                <a:lnTo>
                  <a:pt x="752" y="4834"/>
                </a:lnTo>
                <a:lnTo>
                  <a:pt x="777" y="4827"/>
                </a:lnTo>
                <a:lnTo>
                  <a:pt x="802" y="4820"/>
                </a:lnTo>
                <a:lnTo>
                  <a:pt x="829" y="4814"/>
                </a:lnTo>
                <a:lnTo>
                  <a:pt x="854" y="4808"/>
                </a:lnTo>
                <a:lnTo>
                  <a:pt x="880" y="4803"/>
                </a:lnTo>
                <a:lnTo>
                  <a:pt x="907" y="4799"/>
                </a:lnTo>
                <a:lnTo>
                  <a:pt x="934" y="4794"/>
                </a:lnTo>
                <a:lnTo>
                  <a:pt x="960" y="4791"/>
                </a:lnTo>
                <a:lnTo>
                  <a:pt x="988" y="4788"/>
                </a:lnTo>
                <a:lnTo>
                  <a:pt x="1014" y="4787"/>
                </a:lnTo>
                <a:lnTo>
                  <a:pt x="1041" y="4786"/>
                </a:lnTo>
                <a:lnTo>
                  <a:pt x="1070" y="4785"/>
                </a:lnTo>
                <a:lnTo>
                  <a:pt x="1127" y="4785"/>
                </a:lnTo>
                <a:lnTo>
                  <a:pt x="1127" y="2142"/>
                </a:lnTo>
                <a:lnTo>
                  <a:pt x="1070" y="2142"/>
                </a:lnTo>
                <a:lnTo>
                  <a:pt x="1041" y="2141"/>
                </a:lnTo>
                <a:lnTo>
                  <a:pt x="1014" y="2140"/>
                </a:lnTo>
                <a:lnTo>
                  <a:pt x="988" y="2138"/>
                </a:lnTo>
                <a:lnTo>
                  <a:pt x="960" y="2136"/>
                </a:lnTo>
                <a:lnTo>
                  <a:pt x="934" y="2133"/>
                </a:lnTo>
                <a:lnTo>
                  <a:pt x="907" y="2129"/>
                </a:lnTo>
                <a:lnTo>
                  <a:pt x="880" y="2125"/>
                </a:lnTo>
                <a:lnTo>
                  <a:pt x="854" y="2119"/>
                </a:lnTo>
                <a:lnTo>
                  <a:pt x="829" y="2113"/>
                </a:lnTo>
                <a:lnTo>
                  <a:pt x="802" y="2107"/>
                </a:lnTo>
                <a:lnTo>
                  <a:pt x="777" y="2100"/>
                </a:lnTo>
                <a:lnTo>
                  <a:pt x="752" y="2093"/>
                </a:lnTo>
                <a:lnTo>
                  <a:pt x="727" y="2085"/>
                </a:lnTo>
                <a:lnTo>
                  <a:pt x="702" y="2076"/>
                </a:lnTo>
                <a:lnTo>
                  <a:pt x="678" y="2067"/>
                </a:lnTo>
                <a:lnTo>
                  <a:pt x="653" y="2057"/>
                </a:lnTo>
                <a:lnTo>
                  <a:pt x="630" y="2047"/>
                </a:lnTo>
                <a:lnTo>
                  <a:pt x="607" y="2035"/>
                </a:lnTo>
                <a:lnTo>
                  <a:pt x="584" y="2023"/>
                </a:lnTo>
                <a:lnTo>
                  <a:pt x="560" y="2011"/>
                </a:lnTo>
                <a:lnTo>
                  <a:pt x="538" y="1999"/>
                </a:lnTo>
                <a:lnTo>
                  <a:pt x="516" y="1986"/>
                </a:lnTo>
                <a:lnTo>
                  <a:pt x="493" y="1972"/>
                </a:lnTo>
                <a:lnTo>
                  <a:pt x="472" y="1957"/>
                </a:lnTo>
                <a:lnTo>
                  <a:pt x="451" y="1942"/>
                </a:lnTo>
                <a:lnTo>
                  <a:pt x="430" y="1927"/>
                </a:lnTo>
                <a:lnTo>
                  <a:pt x="409" y="1912"/>
                </a:lnTo>
                <a:lnTo>
                  <a:pt x="389" y="1895"/>
                </a:lnTo>
                <a:lnTo>
                  <a:pt x="370" y="1878"/>
                </a:lnTo>
                <a:lnTo>
                  <a:pt x="351" y="1861"/>
                </a:lnTo>
                <a:lnTo>
                  <a:pt x="331" y="1844"/>
                </a:lnTo>
                <a:lnTo>
                  <a:pt x="313" y="1826"/>
                </a:lnTo>
                <a:lnTo>
                  <a:pt x="295" y="1807"/>
                </a:lnTo>
                <a:lnTo>
                  <a:pt x="278" y="1788"/>
                </a:lnTo>
                <a:lnTo>
                  <a:pt x="260" y="1770"/>
                </a:lnTo>
                <a:lnTo>
                  <a:pt x="244" y="1750"/>
                </a:lnTo>
                <a:lnTo>
                  <a:pt x="228" y="1729"/>
                </a:lnTo>
                <a:lnTo>
                  <a:pt x="213" y="1709"/>
                </a:lnTo>
                <a:lnTo>
                  <a:pt x="198" y="1689"/>
                </a:lnTo>
                <a:lnTo>
                  <a:pt x="182" y="1667"/>
                </a:lnTo>
                <a:lnTo>
                  <a:pt x="168" y="1646"/>
                </a:lnTo>
                <a:lnTo>
                  <a:pt x="155" y="1624"/>
                </a:lnTo>
                <a:lnTo>
                  <a:pt x="142" y="1602"/>
                </a:lnTo>
                <a:lnTo>
                  <a:pt x="130" y="1579"/>
                </a:lnTo>
                <a:lnTo>
                  <a:pt x="118" y="1556"/>
                </a:lnTo>
                <a:lnTo>
                  <a:pt x="105" y="1533"/>
                </a:lnTo>
                <a:lnTo>
                  <a:pt x="94" y="1509"/>
                </a:lnTo>
                <a:lnTo>
                  <a:pt x="84" y="1486"/>
                </a:lnTo>
                <a:lnTo>
                  <a:pt x="74" y="1462"/>
                </a:lnTo>
                <a:lnTo>
                  <a:pt x="65" y="1437"/>
                </a:lnTo>
                <a:lnTo>
                  <a:pt x="57" y="1412"/>
                </a:lnTo>
                <a:lnTo>
                  <a:pt x="49" y="1388"/>
                </a:lnTo>
                <a:lnTo>
                  <a:pt x="41" y="1362"/>
                </a:lnTo>
                <a:lnTo>
                  <a:pt x="33" y="1337"/>
                </a:lnTo>
                <a:lnTo>
                  <a:pt x="27" y="1311"/>
                </a:lnTo>
                <a:lnTo>
                  <a:pt x="21" y="1285"/>
                </a:lnTo>
                <a:lnTo>
                  <a:pt x="17" y="1259"/>
                </a:lnTo>
                <a:lnTo>
                  <a:pt x="12" y="1233"/>
                </a:lnTo>
                <a:lnTo>
                  <a:pt x="9" y="1206"/>
                </a:lnTo>
                <a:lnTo>
                  <a:pt x="5" y="1179"/>
                </a:lnTo>
                <a:lnTo>
                  <a:pt x="3" y="1151"/>
                </a:lnTo>
                <a:lnTo>
                  <a:pt x="1" y="1125"/>
                </a:lnTo>
                <a:lnTo>
                  <a:pt x="0" y="1098"/>
                </a:lnTo>
                <a:lnTo>
                  <a:pt x="0" y="1069"/>
                </a:lnTo>
                <a:lnTo>
                  <a:pt x="0" y="1044"/>
                </a:lnTo>
                <a:lnTo>
                  <a:pt x="1" y="1019"/>
                </a:lnTo>
                <a:lnTo>
                  <a:pt x="3" y="992"/>
                </a:lnTo>
                <a:lnTo>
                  <a:pt x="5" y="967"/>
                </a:lnTo>
                <a:lnTo>
                  <a:pt x="8" y="942"/>
                </a:lnTo>
                <a:lnTo>
                  <a:pt x="11" y="916"/>
                </a:lnTo>
                <a:lnTo>
                  <a:pt x="15" y="892"/>
                </a:lnTo>
                <a:lnTo>
                  <a:pt x="19" y="868"/>
                </a:lnTo>
                <a:lnTo>
                  <a:pt x="24" y="842"/>
                </a:lnTo>
                <a:lnTo>
                  <a:pt x="30" y="818"/>
                </a:lnTo>
                <a:lnTo>
                  <a:pt x="36" y="795"/>
                </a:lnTo>
                <a:lnTo>
                  <a:pt x="43" y="770"/>
                </a:lnTo>
                <a:lnTo>
                  <a:pt x="51" y="747"/>
                </a:lnTo>
                <a:lnTo>
                  <a:pt x="58" y="723"/>
                </a:lnTo>
                <a:lnTo>
                  <a:pt x="67" y="700"/>
                </a:lnTo>
                <a:lnTo>
                  <a:pt x="75" y="677"/>
                </a:lnTo>
                <a:lnTo>
                  <a:pt x="85" y="654"/>
                </a:lnTo>
                <a:lnTo>
                  <a:pt x="94" y="631"/>
                </a:lnTo>
                <a:lnTo>
                  <a:pt x="104" y="609"/>
                </a:lnTo>
                <a:lnTo>
                  <a:pt x="115" y="588"/>
                </a:lnTo>
                <a:lnTo>
                  <a:pt x="127" y="566"/>
                </a:lnTo>
                <a:lnTo>
                  <a:pt x="139" y="544"/>
                </a:lnTo>
                <a:lnTo>
                  <a:pt x="151" y="524"/>
                </a:lnTo>
                <a:lnTo>
                  <a:pt x="164" y="503"/>
                </a:lnTo>
                <a:lnTo>
                  <a:pt x="177" y="482"/>
                </a:lnTo>
                <a:lnTo>
                  <a:pt x="190" y="462"/>
                </a:lnTo>
                <a:lnTo>
                  <a:pt x="205" y="442"/>
                </a:lnTo>
                <a:lnTo>
                  <a:pt x="220" y="423"/>
                </a:lnTo>
                <a:lnTo>
                  <a:pt x="234" y="403"/>
                </a:lnTo>
                <a:lnTo>
                  <a:pt x="249" y="385"/>
                </a:lnTo>
                <a:lnTo>
                  <a:pt x="265" y="367"/>
                </a:lnTo>
                <a:lnTo>
                  <a:pt x="282" y="349"/>
                </a:lnTo>
                <a:lnTo>
                  <a:pt x="290" y="340"/>
                </a:lnTo>
                <a:lnTo>
                  <a:pt x="297" y="330"/>
                </a:lnTo>
                <a:lnTo>
                  <a:pt x="305" y="322"/>
                </a:lnTo>
                <a:lnTo>
                  <a:pt x="313" y="313"/>
                </a:lnTo>
                <a:lnTo>
                  <a:pt x="331" y="296"/>
                </a:lnTo>
                <a:lnTo>
                  <a:pt x="351" y="278"/>
                </a:lnTo>
                <a:lnTo>
                  <a:pt x="370" y="262"/>
                </a:lnTo>
                <a:lnTo>
                  <a:pt x="389" y="244"/>
                </a:lnTo>
                <a:lnTo>
                  <a:pt x="409" y="228"/>
                </a:lnTo>
                <a:lnTo>
                  <a:pt x="430" y="213"/>
                </a:lnTo>
                <a:lnTo>
                  <a:pt x="451" y="198"/>
                </a:lnTo>
                <a:lnTo>
                  <a:pt x="471" y="182"/>
                </a:lnTo>
                <a:lnTo>
                  <a:pt x="493" y="168"/>
                </a:lnTo>
                <a:lnTo>
                  <a:pt x="515" y="155"/>
                </a:lnTo>
                <a:lnTo>
                  <a:pt x="537" y="142"/>
                </a:lnTo>
                <a:lnTo>
                  <a:pt x="560" y="130"/>
                </a:lnTo>
                <a:lnTo>
                  <a:pt x="583" y="118"/>
                </a:lnTo>
                <a:lnTo>
                  <a:pt x="606" y="105"/>
                </a:lnTo>
                <a:lnTo>
                  <a:pt x="629" y="94"/>
                </a:lnTo>
                <a:lnTo>
                  <a:pt x="653" y="84"/>
                </a:lnTo>
                <a:lnTo>
                  <a:pt x="678" y="74"/>
                </a:lnTo>
                <a:lnTo>
                  <a:pt x="702" y="65"/>
                </a:lnTo>
                <a:lnTo>
                  <a:pt x="726" y="57"/>
                </a:lnTo>
                <a:lnTo>
                  <a:pt x="752" y="49"/>
                </a:lnTo>
                <a:lnTo>
                  <a:pt x="777" y="41"/>
                </a:lnTo>
                <a:lnTo>
                  <a:pt x="802" y="33"/>
                </a:lnTo>
                <a:lnTo>
                  <a:pt x="828" y="27"/>
                </a:lnTo>
                <a:lnTo>
                  <a:pt x="854" y="21"/>
                </a:lnTo>
                <a:lnTo>
                  <a:pt x="880" y="17"/>
                </a:lnTo>
                <a:lnTo>
                  <a:pt x="907" y="12"/>
                </a:lnTo>
                <a:lnTo>
                  <a:pt x="933" y="9"/>
                </a:lnTo>
                <a:lnTo>
                  <a:pt x="960" y="5"/>
                </a:lnTo>
                <a:lnTo>
                  <a:pt x="987" y="3"/>
                </a:lnTo>
                <a:lnTo>
                  <a:pt x="1014" y="1"/>
                </a:lnTo>
                <a:lnTo>
                  <a:pt x="1041" y="0"/>
                </a:lnTo>
                <a:lnTo>
                  <a:pt x="1070" y="0"/>
                </a:lnTo>
                <a:lnTo>
                  <a:pt x="13057" y="0"/>
                </a:lnTo>
                <a:lnTo>
                  <a:pt x="13086" y="0"/>
                </a:lnTo>
                <a:lnTo>
                  <a:pt x="13113" y="1"/>
                </a:lnTo>
                <a:lnTo>
                  <a:pt x="13140" y="3"/>
                </a:lnTo>
                <a:lnTo>
                  <a:pt x="13167" y="5"/>
                </a:lnTo>
                <a:lnTo>
                  <a:pt x="13194" y="9"/>
                </a:lnTo>
                <a:lnTo>
                  <a:pt x="13220" y="12"/>
                </a:lnTo>
                <a:lnTo>
                  <a:pt x="13247" y="17"/>
                </a:lnTo>
                <a:lnTo>
                  <a:pt x="13273" y="21"/>
                </a:lnTo>
                <a:lnTo>
                  <a:pt x="13299" y="27"/>
                </a:lnTo>
                <a:lnTo>
                  <a:pt x="13325" y="33"/>
                </a:lnTo>
                <a:lnTo>
                  <a:pt x="13350" y="41"/>
                </a:lnTo>
                <a:lnTo>
                  <a:pt x="13375" y="49"/>
                </a:lnTo>
                <a:lnTo>
                  <a:pt x="13401" y="57"/>
                </a:lnTo>
                <a:lnTo>
                  <a:pt x="13425" y="65"/>
                </a:lnTo>
                <a:lnTo>
                  <a:pt x="13449" y="74"/>
                </a:lnTo>
                <a:lnTo>
                  <a:pt x="13474" y="84"/>
                </a:lnTo>
                <a:lnTo>
                  <a:pt x="13498" y="94"/>
                </a:lnTo>
                <a:lnTo>
                  <a:pt x="13521" y="105"/>
                </a:lnTo>
                <a:lnTo>
                  <a:pt x="13544" y="118"/>
                </a:lnTo>
                <a:lnTo>
                  <a:pt x="13567" y="130"/>
                </a:lnTo>
                <a:lnTo>
                  <a:pt x="13590" y="142"/>
                </a:lnTo>
                <a:lnTo>
                  <a:pt x="13612" y="155"/>
                </a:lnTo>
                <a:lnTo>
                  <a:pt x="13634" y="168"/>
                </a:lnTo>
                <a:lnTo>
                  <a:pt x="13656" y="182"/>
                </a:lnTo>
                <a:lnTo>
                  <a:pt x="13676" y="198"/>
                </a:lnTo>
                <a:lnTo>
                  <a:pt x="13697" y="213"/>
                </a:lnTo>
                <a:lnTo>
                  <a:pt x="13718" y="228"/>
                </a:lnTo>
                <a:lnTo>
                  <a:pt x="13738" y="244"/>
                </a:lnTo>
                <a:lnTo>
                  <a:pt x="13757" y="262"/>
                </a:lnTo>
                <a:lnTo>
                  <a:pt x="13776" y="278"/>
                </a:lnTo>
                <a:lnTo>
                  <a:pt x="13796" y="296"/>
                </a:lnTo>
                <a:lnTo>
                  <a:pt x="13814" y="313"/>
                </a:lnTo>
                <a:lnTo>
                  <a:pt x="13813" y="314"/>
                </a:lnTo>
                <a:lnTo>
                  <a:pt x="13831" y="332"/>
                </a:lnTo>
                <a:lnTo>
                  <a:pt x="13848" y="352"/>
                </a:lnTo>
                <a:lnTo>
                  <a:pt x="13866" y="371"/>
                </a:lnTo>
                <a:lnTo>
                  <a:pt x="13882" y="390"/>
                </a:lnTo>
                <a:lnTo>
                  <a:pt x="13898" y="411"/>
                </a:lnTo>
                <a:lnTo>
                  <a:pt x="13914" y="431"/>
                </a:lnTo>
                <a:lnTo>
                  <a:pt x="13929" y="452"/>
                </a:lnTo>
                <a:lnTo>
                  <a:pt x="13944" y="473"/>
                </a:lnTo>
                <a:lnTo>
                  <a:pt x="13958" y="495"/>
                </a:lnTo>
                <a:lnTo>
                  <a:pt x="13972" y="517"/>
                </a:lnTo>
                <a:lnTo>
                  <a:pt x="13985" y="539"/>
                </a:lnTo>
                <a:lnTo>
                  <a:pt x="13997" y="562"/>
                </a:lnTo>
                <a:lnTo>
                  <a:pt x="14009" y="584"/>
                </a:lnTo>
                <a:lnTo>
                  <a:pt x="14022" y="607"/>
                </a:lnTo>
                <a:lnTo>
                  <a:pt x="14032" y="631"/>
                </a:lnTo>
                <a:lnTo>
                  <a:pt x="14043" y="655"/>
                </a:lnTo>
                <a:lnTo>
                  <a:pt x="14053" y="679"/>
                </a:lnTo>
                <a:lnTo>
                  <a:pt x="14062" y="703"/>
                </a:lnTo>
                <a:lnTo>
                  <a:pt x="14070" y="728"/>
                </a:lnTo>
                <a:lnTo>
                  <a:pt x="14078" y="753"/>
                </a:lnTo>
                <a:lnTo>
                  <a:pt x="14086" y="778"/>
                </a:lnTo>
                <a:lnTo>
                  <a:pt x="14094" y="804"/>
                </a:lnTo>
                <a:lnTo>
                  <a:pt x="14100" y="829"/>
                </a:lnTo>
                <a:lnTo>
                  <a:pt x="14105" y="855"/>
                </a:lnTo>
                <a:lnTo>
                  <a:pt x="14110" y="881"/>
                </a:lnTo>
                <a:lnTo>
                  <a:pt x="14115" y="907"/>
                </a:lnTo>
                <a:lnTo>
                  <a:pt x="14118" y="935"/>
                </a:lnTo>
                <a:lnTo>
                  <a:pt x="14122" y="961"/>
                </a:lnTo>
                <a:lnTo>
                  <a:pt x="14124" y="988"/>
                </a:lnTo>
                <a:lnTo>
                  <a:pt x="14126" y="1015"/>
                </a:lnTo>
                <a:lnTo>
                  <a:pt x="14127" y="1042"/>
                </a:lnTo>
                <a:lnTo>
                  <a:pt x="14127" y="1069"/>
                </a:lnTo>
                <a:lnTo>
                  <a:pt x="14127" y="1098"/>
                </a:lnTo>
                <a:lnTo>
                  <a:pt x="14126" y="1125"/>
                </a:lnTo>
                <a:lnTo>
                  <a:pt x="14124" y="1151"/>
                </a:lnTo>
                <a:lnTo>
                  <a:pt x="14122" y="1179"/>
                </a:lnTo>
                <a:lnTo>
                  <a:pt x="14118" y="1206"/>
                </a:lnTo>
                <a:lnTo>
                  <a:pt x="14115" y="1233"/>
                </a:lnTo>
                <a:lnTo>
                  <a:pt x="14110" y="1259"/>
                </a:lnTo>
                <a:lnTo>
                  <a:pt x="14106" y="1285"/>
                </a:lnTo>
                <a:lnTo>
                  <a:pt x="14100" y="1311"/>
                </a:lnTo>
                <a:lnTo>
                  <a:pt x="14094" y="1337"/>
                </a:lnTo>
                <a:lnTo>
                  <a:pt x="14086" y="1362"/>
                </a:lnTo>
                <a:lnTo>
                  <a:pt x="14078" y="1388"/>
                </a:lnTo>
                <a:lnTo>
                  <a:pt x="14070" y="1412"/>
                </a:lnTo>
                <a:lnTo>
                  <a:pt x="14062" y="1437"/>
                </a:lnTo>
                <a:lnTo>
                  <a:pt x="14053" y="1462"/>
                </a:lnTo>
                <a:lnTo>
                  <a:pt x="14043" y="1486"/>
                </a:lnTo>
                <a:lnTo>
                  <a:pt x="14033" y="1509"/>
                </a:lnTo>
                <a:lnTo>
                  <a:pt x="14022" y="1533"/>
                </a:lnTo>
                <a:lnTo>
                  <a:pt x="14009" y="1556"/>
                </a:lnTo>
                <a:lnTo>
                  <a:pt x="13997" y="1579"/>
                </a:lnTo>
                <a:lnTo>
                  <a:pt x="13985" y="1602"/>
                </a:lnTo>
                <a:lnTo>
                  <a:pt x="13972" y="1624"/>
                </a:lnTo>
                <a:lnTo>
                  <a:pt x="13959" y="1646"/>
                </a:lnTo>
                <a:lnTo>
                  <a:pt x="13945" y="1667"/>
                </a:lnTo>
                <a:lnTo>
                  <a:pt x="13929" y="1689"/>
                </a:lnTo>
                <a:lnTo>
                  <a:pt x="13914" y="1709"/>
                </a:lnTo>
                <a:lnTo>
                  <a:pt x="13899" y="1729"/>
                </a:lnTo>
                <a:lnTo>
                  <a:pt x="13883" y="1750"/>
                </a:lnTo>
                <a:lnTo>
                  <a:pt x="13867" y="1770"/>
                </a:lnTo>
                <a:lnTo>
                  <a:pt x="13849" y="1788"/>
                </a:lnTo>
                <a:lnTo>
                  <a:pt x="13832" y="1807"/>
                </a:lnTo>
                <a:lnTo>
                  <a:pt x="13814" y="182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0" name="dor_pirog"/>
          <p:cNvSpPr>
            <a:spLocks noEditPoints="1"/>
          </p:cNvSpPr>
          <p:nvPr>
            <p:custDataLst>
              <p:tags r:id="rId35"/>
            </p:custDataLst>
          </p:nvPr>
        </p:nvSpPr>
        <p:spPr bwMode="auto">
          <a:xfrm>
            <a:off x="6460739" y="2157451"/>
            <a:ext cx="509587" cy="450850"/>
          </a:xfrm>
          <a:custGeom>
            <a:avLst/>
            <a:gdLst>
              <a:gd name="T0" fmla="*/ 11847 w 16050"/>
              <a:gd name="T1" fmla="*/ 7473 h 14200"/>
              <a:gd name="T2" fmla="*/ 15985 w 16050"/>
              <a:gd name="T3" fmla="*/ 7418 h 14200"/>
              <a:gd name="T4" fmla="*/ 15985 w 16050"/>
              <a:gd name="T5" fmla="*/ 8849 h 14200"/>
              <a:gd name="T6" fmla="*/ 13846 w 16050"/>
              <a:gd name="T7" fmla="*/ 7418 h 14200"/>
              <a:gd name="T8" fmla="*/ 13422 w 16050"/>
              <a:gd name="T9" fmla="*/ 7473 h 14200"/>
              <a:gd name="T10" fmla="*/ 10445 w 16050"/>
              <a:gd name="T11" fmla="*/ 8849 h 14200"/>
              <a:gd name="T12" fmla="*/ 7550 w 16050"/>
              <a:gd name="T13" fmla="*/ 7418 h 14200"/>
              <a:gd name="T14" fmla="*/ 8754 w 16050"/>
              <a:gd name="T15" fmla="*/ 7418 h 14200"/>
              <a:gd name="T16" fmla="*/ 8500 w 16050"/>
              <a:gd name="T17" fmla="*/ 8849 h 14200"/>
              <a:gd name="T18" fmla="*/ 5777 w 16050"/>
              <a:gd name="T19" fmla="*/ 8793 h 14200"/>
              <a:gd name="T20" fmla="*/ 4401 w 16050"/>
              <a:gd name="T21" fmla="*/ 7418 h 14200"/>
              <a:gd name="T22" fmla="*/ 3975 w 16050"/>
              <a:gd name="T23" fmla="*/ 7473 h 14200"/>
              <a:gd name="T24" fmla="*/ 65 w 16050"/>
              <a:gd name="T25" fmla="*/ 8849 h 14200"/>
              <a:gd name="T26" fmla="*/ 65 w 16050"/>
              <a:gd name="T27" fmla="*/ 7418 h 14200"/>
              <a:gd name="T28" fmla="*/ 2203 w 16050"/>
              <a:gd name="T29" fmla="*/ 8849 h 14200"/>
              <a:gd name="T30" fmla="*/ 1252 w 16050"/>
              <a:gd name="T31" fmla="*/ 7418 h 14200"/>
              <a:gd name="T32" fmla="*/ 15985 w 16050"/>
              <a:gd name="T33" fmla="*/ 9202 h 14200"/>
              <a:gd name="T34" fmla="*/ 2962 w 16050"/>
              <a:gd name="T35" fmla="*/ 10985 h 14200"/>
              <a:gd name="T36" fmla="*/ 3913 w 16050"/>
              <a:gd name="T37" fmla="*/ 12416 h 14200"/>
              <a:gd name="T38" fmla="*/ 4202 w 16050"/>
              <a:gd name="T39" fmla="*/ 12225 h 14200"/>
              <a:gd name="T40" fmla="*/ 4966 w 16050"/>
              <a:gd name="T41" fmla="*/ 11461 h 14200"/>
              <a:gd name="T42" fmla="*/ 5731 w 16050"/>
              <a:gd name="T43" fmla="*/ 11177 h 14200"/>
              <a:gd name="T44" fmla="*/ 6971 w 16050"/>
              <a:gd name="T45" fmla="*/ 10985 h 14200"/>
              <a:gd name="T46" fmla="*/ 6021 w 16050"/>
              <a:gd name="T47" fmla="*/ 12416 h 14200"/>
              <a:gd name="T48" fmla="*/ 6736 w 16050"/>
              <a:gd name="T49" fmla="*/ 11700 h 14200"/>
              <a:gd name="T50" fmla="*/ 8500 w 16050"/>
              <a:gd name="T51" fmla="*/ 12416 h 14200"/>
              <a:gd name="T52" fmla="*/ 8789 w 16050"/>
              <a:gd name="T53" fmla="*/ 11177 h 14200"/>
              <a:gd name="T54" fmla="*/ 9554 w 16050"/>
              <a:gd name="T55" fmla="*/ 11461 h 14200"/>
              <a:gd name="T56" fmla="*/ 9554 w 16050"/>
              <a:gd name="T57" fmla="*/ 11941 h 14200"/>
              <a:gd name="T58" fmla="*/ 10319 w 16050"/>
              <a:gd name="T59" fmla="*/ 11177 h 14200"/>
              <a:gd name="T60" fmla="*/ 10608 w 16050"/>
              <a:gd name="T61" fmla="*/ 12416 h 14200"/>
              <a:gd name="T62" fmla="*/ 11084 w 16050"/>
              <a:gd name="T63" fmla="*/ 11461 h 14200"/>
              <a:gd name="T64" fmla="*/ 12373 w 16050"/>
              <a:gd name="T65" fmla="*/ 11700 h 14200"/>
              <a:gd name="T66" fmla="*/ 13088 w 16050"/>
              <a:gd name="T67" fmla="*/ 12416 h 14200"/>
              <a:gd name="T68" fmla="*/ 13901 w 16050"/>
              <a:gd name="T69" fmla="*/ 11700 h 14200"/>
              <a:gd name="T70" fmla="*/ 13667 w 16050"/>
              <a:gd name="T71" fmla="*/ 12416 h 14200"/>
              <a:gd name="T72" fmla="*/ 13667 w 16050"/>
              <a:gd name="T73" fmla="*/ 10985 h 14200"/>
              <a:gd name="T74" fmla="*/ 14906 w 16050"/>
              <a:gd name="T75" fmla="*/ 12225 h 14200"/>
              <a:gd name="T76" fmla="*/ 15985 w 16050"/>
              <a:gd name="T77" fmla="*/ 11257 h 14200"/>
              <a:gd name="T78" fmla="*/ 15985 w 16050"/>
              <a:gd name="T79" fmla="*/ 12416 h 14200"/>
              <a:gd name="T80" fmla="*/ 65 w 16050"/>
              <a:gd name="T81" fmla="*/ 12769 h 14200"/>
              <a:gd name="T82" fmla="*/ 1432 w 16050"/>
              <a:gd name="T83" fmla="*/ 12416 h 14200"/>
              <a:gd name="T84" fmla="*/ 120 w 16050"/>
              <a:gd name="T85" fmla="*/ 12200 h 14200"/>
              <a:gd name="T86" fmla="*/ 619 w 16050"/>
              <a:gd name="T87" fmla="*/ 11700 h 14200"/>
              <a:gd name="T88" fmla="*/ 855 w 16050"/>
              <a:gd name="T89" fmla="*/ 10985 h 14200"/>
              <a:gd name="T90" fmla="*/ 1908 w 16050"/>
              <a:gd name="T91" fmla="*/ 11461 h 14200"/>
              <a:gd name="T92" fmla="*/ 2149 w 16050"/>
              <a:gd name="T93" fmla="*/ 11700 h 14200"/>
              <a:gd name="T94" fmla="*/ 16050 w 16050"/>
              <a:gd name="T95" fmla="*/ 6813 h 14200"/>
              <a:gd name="T96" fmla="*/ 7347 w 16050"/>
              <a:gd name="T97" fmla="*/ 1982 h 14200"/>
              <a:gd name="T98" fmla="*/ 6087 w 16050"/>
              <a:gd name="T99" fmla="*/ 6813 h 14200"/>
              <a:gd name="T100" fmla="*/ 9963 w 16050"/>
              <a:gd name="T101" fmla="*/ 6813 h 14200"/>
              <a:gd name="T102" fmla="*/ 8947 w 16050"/>
              <a:gd name="T103" fmla="*/ 5033 h 14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050" h="14200">
                <a:moveTo>
                  <a:pt x="10698" y="7418"/>
                </a:moveTo>
                <a:lnTo>
                  <a:pt x="12075" y="8793"/>
                </a:lnTo>
                <a:lnTo>
                  <a:pt x="12018" y="8849"/>
                </a:lnTo>
                <a:lnTo>
                  <a:pt x="13223" y="8849"/>
                </a:lnTo>
                <a:lnTo>
                  <a:pt x="11847" y="7473"/>
                </a:lnTo>
                <a:lnTo>
                  <a:pt x="11903" y="7418"/>
                </a:lnTo>
                <a:lnTo>
                  <a:pt x="10698" y="7418"/>
                </a:lnTo>
                <a:close/>
                <a:moveTo>
                  <a:pt x="15421" y="7418"/>
                </a:moveTo>
                <a:lnTo>
                  <a:pt x="15985" y="7981"/>
                </a:lnTo>
                <a:lnTo>
                  <a:pt x="15985" y="7418"/>
                </a:lnTo>
                <a:lnTo>
                  <a:pt x="15421" y="7418"/>
                </a:lnTo>
                <a:close/>
                <a:moveTo>
                  <a:pt x="13846" y="7418"/>
                </a:moveTo>
                <a:lnTo>
                  <a:pt x="15222" y="8793"/>
                </a:lnTo>
                <a:lnTo>
                  <a:pt x="15167" y="8849"/>
                </a:lnTo>
                <a:lnTo>
                  <a:pt x="15985" y="8849"/>
                </a:lnTo>
                <a:lnTo>
                  <a:pt x="15985" y="8351"/>
                </a:lnTo>
                <a:lnTo>
                  <a:pt x="15930" y="8406"/>
                </a:lnTo>
                <a:lnTo>
                  <a:pt x="14996" y="7473"/>
                </a:lnTo>
                <a:lnTo>
                  <a:pt x="15051" y="7418"/>
                </a:lnTo>
                <a:lnTo>
                  <a:pt x="13846" y="7418"/>
                </a:lnTo>
                <a:close/>
                <a:moveTo>
                  <a:pt x="12272" y="7418"/>
                </a:moveTo>
                <a:lnTo>
                  <a:pt x="13649" y="8793"/>
                </a:lnTo>
                <a:lnTo>
                  <a:pt x="13593" y="8849"/>
                </a:lnTo>
                <a:lnTo>
                  <a:pt x="14798" y="8849"/>
                </a:lnTo>
                <a:lnTo>
                  <a:pt x="13422" y="7473"/>
                </a:lnTo>
                <a:lnTo>
                  <a:pt x="13477" y="7418"/>
                </a:lnTo>
                <a:lnTo>
                  <a:pt x="12272" y="7418"/>
                </a:lnTo>
                <a:close/>
                <a:moveTo>
                  <a:pt x="9123" y="7418"/>
                </a:moveTo>
                <a:lnTo>
                  <a:pt x="10500" y="8793"/>
                </a:lnTo>
                <a:lnTo>
                  <a:pt x="10445" y="8849"/>
                </a:lnTo>
                <a:lnTo>
                  <a:pt x="11649" y="8849"/>
                </a:lnTo>
                <a:lnTo>
                  <a:pt x="10273" y="7473"/>
                </a:lnTo>
                <a:lnTo>
                  <a:pt x="10328" y="7418"/>
                </a:lnTo>
                <a:lnTo>
                  <a:pt x="9123" y="7418"/>
                </a:lnTo>
                <a:close/>
                <a:moveTo>
                  <a:pt x="7550" y="7418"/>
                </a:moveTo>
                <a:lnTo>
                  <a:pt x="8926" y="8793"/>
                </a:lnTo>
                <a:lnTo>
                  <a:pt x="8871" y="8849"/>
                </a:lnTo>
                <a:lnTo>
                  <a:pt x="10074" y="8849"/>
                </a:lnTo>
                <a:lnTo>
                  <a:pt x="8698" y="7473"/>
                </a:lnTo>
                <a:lnTo>
                  <a:pt x="8754" y="7418"/>
                </a:lnTo>
                <a:lnTo>
                  <a:pt x="7550" y="7418"/>
                </a:lnTo>
                <a:close/>
                <a:moveTo>
                  <a:pt x="5975" y="7418"/>
                </a:moveTo>
                <a:lnTo>
                  <a:pt x="7351" y="8793"/>
                </a:lnTo>
                <a:lnTo>
                  <a:pt x="7296" y="8849"/>
                </a:lnTo>
                <a:lnTo>
                  <a:pt x="8500" y="8849"/>
                </a:lnTo>
                <a:lnTo>
                  <a:pt x="7124" y="7473"/>
                </a:lnTo>
                <a:lnTo>
                  <a:pt x="7179" y="7418"/>
                </a:lnTo>
                <a:lnTo>
                  <a:pt x="5975" y="7418"/>
                </a:lnTo>
                <a:close/>
                <a:moveTo>
                  <a:pt x="4401" y="7418"/>
                </a:moveTo>
                <a:lnTo>
                  <a:pt x="5777" y="8793"/>
                </a:lnTo>
                <a:lnTo>
                  <a:pt x="5722" y="8849"/>
                </a:lnTo>
                <a:lnTo>
                  <a:pt x="6927" y="8849"/>
                </a:lnTo>
                <a:lnTo>
                  <a:pt x="5550" y="7473"/>
                </a:lnTo>
                <a:lnTo>
                  <a:pt x="5605" y="7418"/>
                </a:lnTo>
                <a:lnTo>
                  <a:pt x="4401" y="7418"/>
                </a:lnTo>
                <a:close/>
                <a:moveTo>
                  <a:pt x="2827" y="7418"/>
                </a:moveTo>
                <a:lnTo>
                  <a:pt x="4203" y="8793"/>
                </a:lnTo>
                <a:lnTo>
                  <a:pt x="4147" y="8849"/>
                </a:lnTo>
                <a:lnTo>
                  <a:pt x="5352" y="8849"/>
                </a:lnTo>
                <a:lnTo>
                  <a:pt x="3975" y="7473"/>
                </a:lnTo>
                <a:lnTo>
                  <a:pt x="4031" y="7418"/>
                </a:lnTo>
                <a:lnTo>
                  <a:pt x="2827" y="7418"/>
                </a:lnTo>
                <a:close/>
                <a:moveTo>
                  <a:pt x="629" y="8849"/>
                </a:moveTo>
                <a:lnTo>
                  <a:pt x="65" y="8284"/>
                </a:lnTo>
                <a:lnTo>
                  <a:pt x="65" y="8849"/>
                </a:lnTo>
                <a:lnTo>
                  <a:pt x="629" y="8849"/>
                </a:lnTo>
                <a:close/>
                <a:moveTo>
                  <a:pt x="2203" y="8849"/>
                </a:moveTo>
                <a:lnTo>
                  <a:pt x="827" y="7473"/>
                </a:lnTo>
                <a:lnTo>
                  <a:pt x="883" y="7418"/>
                </a:lnTo>
                <a:lnTo>
                  <a:pt x="65" y="7418"/>
                </a:lnTo>
                <a:lnTo>
                  <a:pt x="65" y="7915"/>
                </a:lnTo>
                <a:lnTo>
                  <a:pt x="120" y="7860"/>
                </a:lnTo>
                <a:lnTo>
                  <a:pt x="1054" y="8793"/>
                </a:lnTo>
                <a:lnTo>
                  <a:pt x="999" y="8849"/>
                </a:lnTo>
                <a:lnTo>
                  <a:pt x="2203" y="8849"/>
                </a:lnTo>
                <a:close/>
                <a:moveTo>
                  <a:pt x="2573" y="8849"/>
                </a:moveTo>
                <a:lnTo>
                  <a:pt x="3778" y="8849"/>
                </a:lnTo>
                <a:lnTo>
                  <a:pt x="2401" y="7473"/>
                </a:lnTo>
                <a:lnTo>
                  <a:pt x="2457" y="7418"/>
                </a:lnTo>
                <a:lnTo>
                  <a:pt x="1252" y="7418"/>
                </a:lnTo>
                <a:lnTo>
                  <a:pt x="2628" y="8793"/>
                </a:lnTo>
                <a:lnTo>
                  <a:pt x="2573" y="8849"/>
                </a:lnTo>
                <a:close/>
                <a:moveTo>
                  <a:pt x="65" y="10632"/>
                </a:moveTo>
                <a:lnTo>
                  <a:pt x="15985" y="10632"/>
                </a:lnTo>
                <a:lnTo>
                  <a:pt x="15985" y="9202"/>
                </a:lnTo>
                <a:lnTo>
                  <a:pt x="65" y="9202"/>
                </a:lnTo>
                <a:lnTo>
                  <a:pt x="65" y="10632"/>
                </a:lnTo>
                <a:close/>
                <a:moveTo>
                  <a:pt x="3438" y="11461"/>
                </a:moveTo>
                <a:lnTo>
                  <a:pt x="3912" y="10985"/>
                </a:lnTo>
                <a:lnTo>
                  <a:pt x="2962" y="10985"/>
                </a:lnTo>
                <a:lnTo>
                  <a:pt x="3438" y="11461"/>
                </a:lnTo>
                <a:close/>
                <a:moveTo>
                  <a:pt x="3913" y="12416"/>
                </a:moveTo>
                <a:lnTo>
                  <a:pt x="3438" y="11941"/>
                </a:lnTo>
                <a:lnTo>
                  <a:pt x="2962" y="12416"/>
                </a:lnTo>
                <a:lnTo>
                  <a:pt x="3913" y="12416"/>
                </a:lnTo>
                <a:close/>
                <a:moveTo>
                  <a:pt x="4202" y="12225"/>
                </a:moveTo>
                <a:lnTo>
                  <a:pt x="4727" y="11700"/>
                </a:lnTo>
                <a:lnTo>
                  <a:pt x="4202" y="11177"/>
                </a:lnTo>
                <a:lnTo>
                  <a:pt x="3677" y="11700"/>
                </a:lnTo>
                <a:lnTo>
                  <a:pt x="4202" y="12225"/>
                </a:lnTo>
                <a:close/>
                <a:moveTo>
                  <a:pt x="5442" y="12416"/>
                </a:moveTo>
                <a:lnTo>
                  <a:pt x="4966" y="11941"/>
                </a:lnTo>
                <a:lnTo>
                  <a:pt x="4491" y="12416"/>
                </a:lnTo>
                <a:lnTo>
                  <a:pt x="5442" y="12416"/>
                </a:lnTo>
                <a:close/>
                <a:moveTo>
                  <a:pt x="4966" y="11461"/>
                </a:moveTo>
                <a:lnTo>
                  <a:pt x="5442" y="10985"/>
                </a:lnTo>
                <a:lnTo>
                  <a:pt x="4491" y="10985"/>
                </a:lnTo>
                <a:lnTo>
                  <a:pt x="4966" y="11461"/>
                </a:lnTo>
                <a:close/>
                <a:moveTo>
                  <a:pt x="6255" y="11700"/>
                </a:moveTo>
                <a:lnTo>
                  <a:pt x="5731" y="11177"/>
                </a:lnTo>
                <a:lnTo>
                  <a:pt x="5207" y="11700"/>
                </a:lnTo>
                <a:lnTo>
                  <a:pt x="5731" y="12225"/>
                </a:lnTo>
                <a:lnTo>
                  <a:pt x="6255" y="11700"/>
                </a:lnTo>
                <a:close/>
                <a:moveTo>
                  <a:pt x="6496" y="11461"/>
                </a:moveTo>
                <a:lnTo>
                  <a:pt x="6971" y="10985"/>
                </a:lnTo>
                <a:lnTo>
                  <a:pt x="6021" y="10985"/>
                </a:lnTo>
                <a:lnTo>
                  <a:pt x="6496" y="11461"/>
                </a:lnTo>
                <a:close/>
                <a:moveTo>
                  <a:pt x="6972" y="12416"/>
                </a:moveTo>
                <a:lnTo>
                  <a:pt x="6496" y="11941"/>
                </a:lnTo>
                <a:lnTo>
                  <a:pt x="6021" y="12416"/>
                </a:lnTo>
                <a:lnTo>
                  <a:pt x="6972" y="12416"/>
                </a:lnTo>
                <a:close/>
                <a:moveTo>
                  <a:pt x="7261" y="12225"/>
                </a:moveTo>
                <a:lnTo>
                  <a:pt x="7784" y="11700"/>
                </a:lnTo>
                <a:lnTo>
                  <a:pt x="7261" y="11177"/>
                </a:lnTo>
                <a:lnTo>
                  <a:pt x="6736" y="11700"/>
                </a:lnTo>
                <a:lnTo>
                  <a:pt x="7261" y="12225"/>
                </a:lnTo>
                <a:close/>
                <a:moveTo>
                  <a:pt x="8500" y="12416"/>
                </a:moveTo>
                <a:lnTo>
                  <a:pt x="8025" y="11941"/>
                </a:lnTo>
                <a:lnTo>
                  <a:pt x="7550" y="12416"/>
                </a:lnTo>
                <a:lnTo>
                  <a:pt x="8500" y="12416"/>
                </a:lnTo>
                <a:close/>
                <a:moveTo>
                  <a:pt x="8789" y="11177"/>
                </a:moveTo>
                <a:lnTo>
                  <a:pt x="8266" y="11700"/>
                </a:lnTo>
                <a:lnTo>
                  <a:pt x="8789" y="12225"/>
                </a:lnTo>
                <a:lnTo>
                  <a:pt x="9314" y="11700"/>
                </a:lnTo>
                <a:lnTo>
                  <a:pt x="8789" y="11177"/>
                </a:lnTo>
                <a:close/>
                <a:moveTo>
                  <a:pt x="8025" y="11461"/>
                </a:moveTo>
                <a:lnTo>
                  <a:pt x="8500" y="10985"/>
                </a:lnTo>
                <a:lnTo>
                  <a:pt x="7550" y="10985"/>
                </a:lnTo>
                <a:lnTo>
                  <a:pt x="8025" y="11461"/>
                </a:lnTo>
                <a:close/>
                <a:moveTo>
                  <a:pt x="9554" y="11461"/>
                </a:moveTo>
                <a:lnTo>
                  <a:pt x="10029" y="10985"/>
                </a:lnTo>
                <a:lnTo>
                  <a:pt x="9079" y="10985"/>
                </a:lnTo>
                <a:lnTo>
                  <a:pt x="9554" y="11461"/>
                </a:lnTo>
                <a:close/>
                <a:moveTo>
                  <a:pt x="10029" y="12416"/>
                </a:moveTo>
                <a:lnTo>
                  <a:pt x="9554" y="11941"/>
                </a:lnTo>
                <a:lnTo>
                  <a:pt x="9078" y="12416"/>
                </a:lnTo>
                <a:lnTo>
                  <a:pt x="10029" y="12416"/>
                </a:lnTo>
                <a:close/>
                <a:moveTo>
                  <a:pt x="10319" y="12225"/>
                </a:moveTo>
                <a:lnTo>
                  <a:pt x="10843" y="11700"/>
                </a:lnTo>
                <a:lnTo>
                  <a:pt x="10319" y="11177"/>
                </a:lnTo>
                <a:lnTo>
                  <a:pt x="9795" y="11700"/>
                </a:lnTo>
                <a:lnTo>
                  <a:pt x="10319" y="12225"/>
                </a:lnTo>
                <a:close/>
                <a:moveTo>
                  <a:pt x="11559" y="12416"/>
                </a:moveTo>
                <a:lnTo>
                  <a:pt x="11084" y="11941"/>
                </a:lnTo>
                <a:lnTo>
                  <a:pt x="10608" y="12416"/>
                </a:lnTo>
                <a:lnTo>
                  <a:pt x="11559" y="12416"/>
                </a:lnTo>
                <a:close/>
                <a:moveTo>
                  <a:pt x="11084" y="11461"/>
                </a:moveTo>
                <a:lnTo>
                  <a:pt x="11559" y="10985"/>
                </a:lnTo>
                <a:lnTo>
                  <a:pt x="10608" y="10985"/>
                </a:lnTo>
                <a:lnTo>
                  <a:pt x="11084" y="11461"/>
                </a:lnTo>
                <a:close/>
                <a:moveTo>
                  <a:pt x="12373" y="11700"/>
                </a:moveTo>
                <a:lnTo>
                  <a:pt x="11848" y="11177"/>
                </a:lnTo>
                <a:lnTo>
                  <a:pt x="11323" y="11700"/>
                </a:lnTo>
                <a:lnTo>
                  <a:pt x="11848" y="12225"/>
                </a:lnTo>
                <a:lnTo>
                  <a:pt x="12373" y="11700"/>
                </a:lnTo>
                <a:close/>
                <a:moveTo>
                  <a:pt x="12612" y="11461"/>
                </a:moveTo>
                <a:lnTo>
                  <a:pt x="13088" y="10985"/>
                </a:lnTo>
                <a:lnTo>
                  <a:pt x="12138" y="10985"/>
                </a:lnTo>
                <a:lnTo>
                  <a:pt x="12612" y="11461"/>
                </a:lnTo>
                <a:close/>
                <a:moveTo>
                  <a:pt x="13088" y="12416"/>
                </a:moveTo>
                <a:lnTo>
                  <a:pt x="12612" y="11941"/>
                </a:lnTo>
                <a:lnTo>
                  <a:pt x="12137" y="12416"/>
                </a:lnTo>
                <a:lnTo>
                  <a:pt x="13088" y="12416"/>
                </a:lnTo>
                <a:close/>
                <a:moveTo>
                  <a:pt x="13377" y="12225"/>
                </a:moveTo>
                <a:lnTo>
                  <a:pt x="13901" y="11700"/>
                </a:lnTo>
                <a:lnTo>
                  <a:pt x="13377" y="11177"/>
                </a:lnTo>
                <a:lnTo>
                  <a:pt x="12853" y="11700"/>
                </a:lnTo>
                <a:lnTo>
                  <a:pt x="13377" y="12225"/>
                </a:lnTo>
                <a:close/>
                <a:moveTo>
                  <a:pt x="14142" y="11941"/>
                </a:moveTo>
                <a:lnTo>
                  <a:pt x="13667" y="12416"/>
                </a:lnTo>
                <a:lnTo>
                  <a:pt x="14618" y="12416"/>
                </a:lnTo>
                <a:lnTo>
                  <a:pt x="14142" y="11941"/>
                </a:lnTo>
                <a:close/>
                <a:moveTo>
                  <a:pt x="14142" y="11461"/>
                </a:moveTo>
                <a:lnTo>
                  <a:pt x="14618" y="10985"/>
                </a:lnTo>
                <a:lnTo>
                  <a:pt x="13667" y="10985"/>
                </a:lnTo>
                <a:lnTo>
                  <a:pt x="14142" y="11461"/>
                </a:lnTo>
                <a:close/>
                <a:moveTo>
                  <a:pt x="15431" y="11700"/>
                </a:moveTo>
                <a:lnTo>
                  <a:pt x="14906" y="11177"/>
                </a:lnTo>
                <a:lnTo>
                  <a:pt x="14382" y="11700"/>
                </a:lnTo>
                <a:lnTo>
                  <a:pt x="14906" y="12225"/>
                </a:lnTo>
                <a:lnTo>
                  <a:pt x="15431" y="11700"/>
                </a:lnTo>
                <a:close/>
                <a:moveTo>
                  <a:pt x="15195" y="10985"/>
                </a:moveTo>
                <a:lnTo>
                  <a:pt x="15671" y="11461"/>
                </a:lnTo>
                <a:lnTo>
                  <a:pt x="15930" y="11202"/>
                </a:lnTo>
                <a:lnTo>
                  <a:pt x="15985" y="11257"/>
                </a:lnTo>
                <a:lnTo>
                  <a:pt x="15985" y="10985"/>
                </a:lnTo>
                <a:lnTo>
                  <a:pt x="15195" y="10985"/>
                </a:lnTo>
                <a:close/>
                <a:moveTo>
                  <a:pt x="15671" y="11941"/>
                </a:moveTo>
                <a:lnTo>
                  <a:pt x="15195" y="12416"/>
                </a:lnTo>
                <a:lnTo>
                  <a:pt x="15985" y="12416"/>
                </a:lnTo>
                <a:lnTo>
                  <a:pt x="15985" y="12144"/>
                </a:lnTo>
                <a:lnTo>
                  <a:pt x="15930" y="12200"/>
                </a:lnTo>
                <a:lnTo>
                  <a:pt x="15671" y="11941"/>
                </a:lnTo>
                <a:close/>
                <a:moveTo>
                  <a:pt x="15985" y="12769"/>
                </a:moveTo>
                <a:lnTo>
                  <a:pt x="65" y="12769"/>
                </a:lnTo>
                <a:lnTo>
                  <a:pt x="65" y="14200"/>
                </a:lnTo>
                <a:lnTo>
                  <a:pt x="15985" y="14200"/>
                </a:lnTo>
                <a:lnTo>
                  <a:pt x="15985" y="12769"/>
                </a:lnTo>
                <a:close/>
                <a:moveTo>
                  <a:pt x="1908" y="11941"/>
                </a:moveTo>
                <a:lnTo>
                  <a:pt x="1432" y="12416"/>
                </a:lnTo>
                <a:lnTo>
                  <a:pt x="2383" y="12416"/>
                </a:lnTo>
                <a:lnTo>
                  <a:pt x="1908" y="11941"/>
                </a:lnTo>
                <a:close/>
                <a:moveTo>
                  <a:pt x="855" y="12416"/>
                </a:moveTo>
                <a:lnTo>
                  <a:pt x="379" y="11941"/>
                </a:lnTo>
                <a:lnTo>
                  <a:pt x="120" y="12200"/>
                </a:lnTo>
                <a:lnTo>
                  <a:pt x="65" y="12144"/>
                </a:lnTo>
                <a:lnTo>
                  <a:pt x="65" y="12416"/>
                </a:lnTo>
                <a:lnTo>
                  <a:pt x="855" y="12416"/>
                </a:lnTo>
                <a:close/>
                <a:moveTo>
                  <a:pt x="1144" y="11177"/>
                </a:moveTo>
                <a:lnTo>
                  <a:pt x="619" y="11700"/>
                </a:lnTo>
                <a:lnTo>
                  <a:pt x="1144" y="12225"/>
                </a:lnTo>
                <a:lnTo>
                  <a:pt x="1668" y="11700"/>
                </a:lnTo>
                <a:lnTo>
                  <a:pt x="1144" y="11177"/>
                </a:lnTo>
                <a:close/>
                <a:moveTo>
                  <a:pt x="379" y="11461"/>
                </a:moveTo>
                <a:lnTo>
                  <a:pt x="855" y="10985"/>
                </a:lnTo>
                <a:lnTo>
                  <a:pt x="65" y="10985"/>
                </a:lnTo>
                <a:lnTo>
                  <a:pt x="65" y="11257"/>
                </a:lnTo>
                <a:lnTo>
                  <a:pt x="120" y="11202"/>
                </a:lnTo>
                <a:lnTo>
                  <a:pt x="379" y="11461"/>
                </a:lnTo>
                <a:close/>
                <a:moveTo>
                  <a:pt x="1908" y="11461"/>
                </a:moveTo>
                <a:lnTo>
                  <a:pt x="2383" y="10985"/>
                </a:lnTo>
                <a:lnTo>
                  <a:pt x="1432" y="10985"/>
                </a:lnTo>
                <a:lnTo>
                  <a:pt x="1908" y="11461"/>
                </a:lnTo>
                <a:close/>
                <a:moveTo>
                  <a:pt x="2672" y="11177"/>
                </a:moveTo>
                <a:lnTo>
                  <a:pt x="2149" y="11700"/>
                </a:lnTo>
                <a:lnTo>
                  <a:pt x="2672" y="12225"/>
                </a:lnTo>
                <a:lnTo>
                  <a:pt x="3197" y="11700"/>
                </a:lnTo>
                <a:lnTo>
                  <a:pt x="2672" y="11177"/>
                </a:lnTo>
                <a:close/>
                <a:moveTo>
                  <a:pt x="9963" y="6813"/>
                </a:moveTo>
                <a:lnTo>
                  <a:pt x="16050" y="6813"/>
                </a:lnTo>
                <a:lnTo>
                  <a:pt x="11546" y="0"/>
                </a:lnTo>
                <a:lnTo>
                  <a:pt x="8875" y="0"/>
                </a:lnTo>
                <a:lnTo>
                  <a:pt x="8558" y="0"/>
                </a:lnTo>
                <a:lnTo>
                  <a:pt x="8711" y="1982"/>
                </a:lnTo>
                <a:lnTo>
                  <a:pt x="7347" y="1982"/>
                </a:lnTo>
                <a:lnTo>
                  <a:pt x="7500" y="0"/>
                </a:lnTo>
                <a:lnTo>
                  <a:pt x="7174" y="0"/>
                </a:lnTo>
                <a:lnTo>
                  <a:pt x="4503" y="0"/>
                </a:lnTo>
                <a:lnTo>
                  <a:pt x="0" y="6813"/>
                </a:lnTo>
                <a:lnTo>
                  <a:pt x="6087" y="6813"/>
                </a:lnTo>
                <a:lnTo>
                  <a:pt x="6973" y="6813"/>
                </a:lnTo>
                <a:lnTo>
                  <a:pt x="7028" y="6100"/>
                </a:lnTo>
                <a:lnTo>
                  <a:pt x="9030" y="6100"/>
                </a:lnTo>
                <a:lnTo>
                  <a:pt x="9085" y="6813"/>
                </a:lnTo>
                <a:lnTo>
                  <a:pt x="9963" y="6813"/>
                </a:lnTo>
                <a:close/>
                <a:moveTo>
                  <a:pt x="8947" y="5033"/>
                </a:moveTo>
                <a:lnTo>
                  <a:pt x="7110" y="5033"/>
                </a:lnTo>
                <a:lnTo>
                  <a:pt x="7264" y="3050"/>
                </a:lnTo>
                <a:lnTo>
                  <a:pt x="8793" y="3050"/>
                </a:lnTo>
                <a:lnTo>
                  <a:pt x="8947" y="503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51" name="Прямая со стрелкой 50"/>
          <p:cNvCxnSpPr/>
          <p:nvPr>
            <p:custDataLst>
              <p:tags r:id="rId36"/>
            </p:custDataLst>
          </p:nvPr>
        </p:nvCxnSpPr>
        <p:spPr>
          <a:xfrm flipV="1">
            <a:off x="683568" y="2382876"/>
            <a:ext cx="325671" cy="0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>
            <p:custDataLst>
              <p:tags r:id="rId37"/>
            </p:custDataLst>
          </p:nvPr>
        </p:nvCxnSpPr>
        <p:spPr>
          <a:xfrm>
            <a:off x="1570051" y="2382876"/>
            <a:ext cx="2677913" cy="0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 стрелкой 54"/>
          <p:cNvCxnSpPr/>
          <p:nvPr>
            <p:custDataLst>
              <p:tags r:id="rId38"/>
            </p:custDataLst>
          </p:nvPr>
        </p:nvCxnSpPr>
        <p:spPr>
          <a:xfrm flipV="1">
            <a:off x="4934954" y="2382876"/>
            <a:ext cx="1473250" cy="0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azlom"/>
          <p:cNvSpPr>
            <a:spLocks noEditPoints="1"/>
          </p:cNvSpPr>
          <p:nvPr>
            <p:custDataLst>
              <p:tags r:id="rId39"/>
            </p:custDataLst>
          </p:nvPr>
        </p:nvSpPr>
        <p:spPr bwMode="auto">
          <a:xfrm>
            <a:off x="8316726" y="2176253"/>
            <a:ext cx="539750" cy="414338"/>
          </a:xfrm>
          <a:custGeom>
            <a:avLst/>
            <a:gdLst>
              <a:gd name="T0" fmla="*/ 3765 w 16320"/>
              <a:gd name="T1" fmla="*/ 5793 h 12528"/>
              <a:gd name="T2" fmla="*/ 5199 w 16320"/>
              <a:gd name="T3" fmla="*/ 1505 h 12528"/>
              <a:gd name="T4" fmla="*/ 5702 w 16320"/>
              <a:gd name="T5" fmla="*/ 0 h 12528"/>
              <a:gd name="T6" fmla="*/ 4753 w 16320"/>
              <a:gd name="T7" fmla="*/ 948 h 12528"/>
              <a:gd name="T8" fmla="*/ 3114 w 16320"/>
              <a:gd name="T9" fmla="*/ 4941 h 12528"/>
              <a:gd name="T10" fmla="*/ 0 w 16320"/>
              <a:gd name="T11" fmla="*/ 12528 h 12528"/>
              <a:gd name="T12" fmla="*/ 13406 w 16320"/>
              <a:gd name="T13" fmla="*/ 12528 h 12528"/>
              <a:gd name="T14" fmla="*/ 10497 w 16320"/>
              <a:gd name="T15" fmla="*/ 6752 h 12528"/>
              <a:gd name="T16" fmla="*/ 10653 w 16320"/>
              <a:gd name="T17" fmla="*/ 10210 h 12528"/>
              <a:gd name="T18" fmla="*/ 9420 w 16320"/>
              <a:gd name="T19" fmla="*/ 12528 h 12528"/>
              <a:gd name="T20" fmla="*/ 12719 w 16320"/>
              <a:gd name="T21" fmla="*/ 6284 h 12528"/>
              <a:gd name="T22" fmla="*/ 16320 w 16320"/>
              <a:gd name="T23" fmla="*/ 12528 h 12528"/>
              <a:gd name="T24" fmla="*/ 12719 w 16320"/>
              <a:gd name="T25" fmla="*/ 6284 h 12528"/>
              <a:gd name="T26" fmla="*/ 10757 w 16320"/>
              <a:gd name="T27" fmla="*/ 2491 h 12528"/>
              <a:gd name="T28" fmla="*/ 10826 w 16320"/>
              <a:gd name="T29" fmla="*/ 4548 h 12528"/>
              <a:gd name="T30" fmla="*/ 8704 w 16320"/>
              <a:gd name="T31" fmla="*/ 5688 h 12528"/>
              <a:gd name="T32" fmla="*/ 9967 w 16320"/>
              <a:gd name="T33" fmla="*/ 6254 h 12528"/>
              <a:gd name="T34" fmla="*/ 10618 w 16320"/>
              <a:gd name="T35" fmla="*/ 0 h 12528"/>
              <a:gd name="T36" fmla="*/ 12973 w 16320"/>
              <a:gd name="T37" fmla="*/ 4374 h 12528"/>
              <a:gd name="T38" fmla="*/ 10618 w 16320"/>
              <a:gd name="T39" fmla="*/ 0 h 12528"/>
              <a:gd name="T40" fmla="*/ 8345 w 16320"/>
              <a:gd name="T41" fmla="*/ 3180 h 12528"/>
              <a:gd name="T42" fmla="*/ 8533 w 16320"/>
              <a:gd name="T43" fmla="*/ 4890 h 12528"/>
              <a:gd name="T44" fmla="*/ 10364 w 16320"/>
              <a:gd name="T45" fmla="*/ 4294 h 12528"/>
              <a:gd name="T46" fmla="*/ 10638 w 16320"/>
              <a:gd name="T47" fmla="*/ 2389 h 12528"/>
              <a:gd name="T48" fmla="*/ 10100 w 16320"/>
              <a:gd name="T49" fmla="*/ 0 h 12528"/>
              <a:gd name="T50" fmla="*/ 6764 w 16320"/>
              <a:gd name="T51" fmla="*/ 2035 h 12528"/>
              <a:gd name="T52" fmla="*/ 7763 w 16320"/>
              <a:gd name="T53" fmla="*/ 3314 h 12528"/>
              <a:gd name="T54" fmla="*/ 8114 w 16320"/>
              <a:gd name="T55" fmla="*/ 3147 h 12528"/>
              <a:gd name="T56" fmla="*/ 6220 w 16320"/>
              <a:gd name="T57" fmla="*/ 0 h 12528"/>
              <a:gd name="T58" fmla="*/ 6764 w 16320"/>
              <a:gd name="T59" fmla="*/ 2035 h 12528"/>
              <a:gd name="T60" fmla="*/ 6712 w 16320"/>
              <a:gd name="T61" fmla="*/ 7241 h 12528"/>
              <a:gd name="T62" fmla="*/ 8239 w 16320"/>
              <a:gd name="T63" fmla="*/ 8971 h 12528"/>
              <a:gd name="T64" fmla="*/ 8192 w 16320"/>
              <a:gd name="T65" fmla="*/ 5806 h 12528"/>
              <a:gd name="T66" fmla="*/ 7994 w 16320"/>
              <a:gd name="T67" fmla="*/ 3830 h 12528"/>
              <a:gd name="T68" fmla="*/ 6600 w 16320"/>
              <a:gd name="T69" fmla="*/ 2271 h 12528"/>
              <a:gd name="T70" fmla="*/ 4480 w 16320"/>
              <a:gd name="T71" fmla="*/ 6595 h 12528"/>
              <a:gd name="T72" fmla="*/ 4305 w 16320"/>
              <a:gd name="T73" fmla="*/ 7253 h 12528"/>
              <a:gd name="T74" fmla="*/ 7897 w 16320"/>
              <a:gd name="T75" fmla="*/ 12528 h 12528"/>
              <a:gd name="T76" fmla="*/ 9351 w 16320"/>
              <a:gd name="T77" fmla="*/ 10306 h 12528"/>
              <a:gd name="T78" fmla="*/ 6418 w 16320"/>
              <a:gd name="T79" fmla="*/ 7668 h 12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320" h="12528">
                <a:moveTo>
                  <a:pt x="1514" y="12528"/>
                </a:moveTo>
                <a:lnTo>
                  <a:pt x="3765" y="5793"/>
                </a:lnTo>
                <a:lnTo>
                  <a:pt x="3841" y="5566"/>
                </a:lnTo>
                <a:lnTo>
                  <a:pt x="5199" y="1505"/>
                </a:lnTo>
                <a:lnTo>
                  <a:pt x="5244" y="1370"/>
                </a:lnTo>
                <a:lnTo>
                  <a:pt x="5702" y="0"/>
                </a:lnTo>
                <a:lnTo>
                  <a:pt x="5142" y="0"/>
                </a:lnTo>
                <a:lnTo>
                  <a:pt x="4753" y="948"/>
                </a:lnTo>
                <a:lnTo>
                  <a:pt x="4746" y="965"/>
                </a:lnTo>
                <a:lnTo>
                  <a:pt x="3114" y="4941"/>
                </a:lnTo>
                <a:lnTo>
                  <a:pt x="3094" y="4991"/>
                </a:lnTo>
                <a:lnTo>
                  <a:pt x="0" y="12528"/>
                </a:lnTo>
                <a:lnTo>
                  <a:pt x="1514" y="12528"/>
                </a:lnTo>
                <a:close/>
                <a:moveTo>
                  <a:pt x="13406" y="12528"/>
                </a:moveTo>
                <a:lnTo>
                  <a:pt x="11969" y="7079"/>
                </a:lnTo>
                <a:lnTo>
                  <a:pt x="10497" y="6752"/>
                </a:lnTo>
                <a:lnTo>
                  <a:pt x="9414" y="9004"/>
                </a:lnTo>
                <a:lnTo>
                  <a:pt x="10653" y="10210"/>
                </a:lnTo>
                <a:lnTo>
                  <a:pt x="9359" y="12252"/>
                </a:lnTo>
                <a:lnTo>
                  <a:pt x="9420" y="12528"/>
                </a:lnTo>
                <a:lnTo>
                  <a:pt x="13406" y="12528"/>
                </a:lnTo>
                <a:close/>
                <a:moveTo>
                  <a:pt x="12719" y="6284"/>
                </a:moveTo>
                <a:lnTo>
                  <a:pt x="14806" y="12528"/>
                </a:lnTo>
                <a:lnTo>
                  <a:pt x="16320" y="12528"/>
                </a:lnTo>
                <a:lnTo>
                  <a:pt x="13271" y="5101"/>
                </a:lnTo>
                <a:lnTo>
                  <a:pt x="12719" y="6284"/>
                </a:lnTo>
                <a:close/>
                <a:moveTo>
                  <a:pt x="11859" y="6663"/>
                </a:moveTo>
                <a:lnTo>
                  <a:pt x="10757" y="2491"/>
                </a:lnTo>
                <a:lnTo>
                  <a:pt x="10254" y="2761"/>
                </a:lnTo>
                <a:lnTo>
                  <a:pt x="10826" y="4548"/>
                </a:lnTo>
                <a:lnTo>
                  <a:pt x="9151" y="4689"/>
                </a:lnTo>
                <a:lnTo>
                  <a:pt x="8704" y="5688"/>
                </a:lnTo>
                <a:lnTo>
                  <a:pt x="9137" y="7715"/>
                </a:lnTo>
                <a:lnTo>
                  <a:pt x="9967" y="6254"/>
                </a:lnTo>
                <a:lnTo>
                  <a:pt x="11859" y="6663"/>
                </a:lnTo>
                <a:close/>
                <a:moveTo>
                  <a:pt x="10618" y="0"/>
                </a:moveTo>
                <a:lnTo>
                  <a:pt x="12459" y="5506"/>
                </a:lnTo>
                <a:lnTo>
                  <a:pt x="12973" y="4374"/>
                </a:lnTo>
                <a:lnTo>
                  <a:pt x="11178" y="0"/>
                </a:lnTo>
                <a:lnTo>
                  <a:pt x="10618" y="0"/>
                </a:lnTo>
                <a:close/>
                <a:moveTo>
                  <a:pt x="7520" y="0"/>
                </a:moveTo>
                <a:lnTo>
                  <a:pt x="8345" y="3180"/>
                </a:lnTo>
                <a:lnTo>
                  <a:pt x="8285" y="4885"/>
                </a:lnTo>
                <a:lnTo>
                  <a:pt x="8533" y="4890"/>
                </a:lnTo>
                <a:lnTo>
                  <a:pt x="8820" y="4493"/>
                </a:lnTo>
                <a:lnTo>
                  <a:pt x="10364" y="4294"/>
                </a:lnTo>
                <a:lnTo>
                  <a:pt x="10082" y="2696"/>
                </a:lnTo>
                <a:lnTo>
                  <a:pt x="10638" y="2389"/>
                </a:lnTo>
                <a:lnTo>
                  <a:pt x="10682" y="2206"/>
                </a:lnTo>
                <a:lnTo>
                  <a:pt x="10100" y="0"/>
                </a:lnTo>
                <a:lnTo>
                  <a:pt x="7520" y="0"/>
                </a:lnTo>
                <a:close/>
                <a:moveTo>
                  <a:pt x="6764" y="2035"/>
                </a:moveTo>
                <a:lnTo>
                  <a:pt x="6965" y="3448"/>
                </a:lnTo>
                <a:lnTo>
                  <a:pt x="7763" y="3314"/>
                </a:lnTo>
                <a:lnTo>
                  <a:pt x="8095" y="3543"/>
                </a:lnTo>
                <a:lnTo>
                  <a:pt x="8114" y="3147"/>
                </a:lnTo>
                <a:lnTo>
                  <a:pt x="7518" y="0"/>
                </a:lnTo>
                <a:lnTo>
                  <a:pt x="6220" y="0"/>
                </a:lnTo>
                <a:lnTo>
                  <a:pt x="5646" y="2177"/>
                </a:lnTo>
                <a:lnTo>
                  <a:pt x="6764" y="2035"/>
                </a:lnTo>
                <a:close/>
                <a:moveTo>
                  <a:pt x="4652" y="7100"/>
                </a:moveTo>
                <a:lnTo>
                  <a:pt x="6712" y="7241"/>
                </a:lnTo>
                <a:lnTo>
                  <a:pt x="7411" y="8949"/>
                </a:lnTo>
                <a:lnTo>
                  <a:pt x="8239" y="8971"/>
                </a:lnTo>
                <a:lnTo>
                  <a:pt x="8276" y="7484"/>
                </a:lnTo>
                <a:lnTo>
                  <a:pt x="8192" y="5806"/>
                </a:lnTo>
                <a:lnTo>
                  <a:pt x="7580" y="5386"/>
                </a:lnTo>
                <a:lnTo>
                  <a:pt x="7994" y="3830"/>
                </a:lnTo>
                <a:lnTo>
                  <a:pt x="6737" y="3701"/>
                </a:lnTo>
                <a:lnTo>
                  <a:pt x="6600" y="2271"/>
                </a:lnTo>
                <a:lnTo>
                  <a:pt x="5624" y="2256"/>
                </a:lnTo>
                <a:lnTo>
                  <a:pt x="4480" y="6595"/>
                </a:lnTo>
                <a:lnTo>
                  <a:pt x="4652" y="7100"/>
                </a:lnTo>
                <a:close/>
                <a:moveTo>
                  <a:pt x="4305" y="7253"/>
                </a:moveTo>
                <a:lnTo>
                  <a:pt x="2914" y="12528"/>
                </a:lnTo>
                <a:lnTo>
                  <a:pt x="7897" y="12528"/>
                </a:lnTo>
                <a:lnTo>
                  <a:pt x="7899" y="12201"/>
                </a:lnTo>
                <a:lnTo>
                  <a:pt x="9351" y="10306"/>
                </a:lnTo>
                <a:lnTo>
                  <a:pt x="7000" y="9405"/>
                </a:lnTo>
                <a:lnTo>
                  <a:pt x="6418" y="7668"/>
                </a:lnTo>
                <a:lnTo>
                  <a:pt x="4305" y="7253"/>
                </a:lnTo>
                <a:close/>
              </a:path>
            </a:pathLst>
          </a:custGeom>
          <a:solidFill>
            <a:schemeClr val="accent4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58" name="Прямая со стрелкой 57"/>
          <p:cNvCxnSpPr/>
          <p:nvPr>
            <p:custDataLst>
              <p:tags r:id="rId40"/>
            </p:custDataLst>
          </p:nvPr>
        </p:nvCxnSpPr>
        <p:spPr>
          <a:xfrm>
            <a:off x="7061227" y="2391657"/>
            <a:ext cx="1255499" cy="0"/>
          </a:xfrm>
          <a:prstGeom prst="straightConnector1">
            <a:avLst/>
          </a:prstGeom>
          <a:ln>
            <a:solidFill>
              <a:srgbClr val="C00000"/>
            </a:solidFill>
            <a:prstDash val="dash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arrow10_2_solid"/>
          <p:cNvSpPr/>
          <p:nvPr>
            <p:custDataLst>
              <p:tags r:id="rId41"/>
            </p:custDataLst>
          </p:nvPr>
        </p:nvSpPr>
        <p:spPr bwMode="auto">
          <a:xfrm>
            <a:off x="276268" y="1268760"/>
            <a:ext cx="4054776" cy="707886"/>
          </a:xfrm>
          <a:prstGeom prst="rightArrow">
            <a:avLst>
              <a:gd name="adj1" fmla="val 100000"/>
              <a:gd name="adj2" fmla="val 46602"/>
            </a:avLst>
          </a:prstGeom>
          <a:solidFill>
            <a:schemeClr val="accent3"/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14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62" name="TextBox 61"/>
          <p:cNvSpPr txBox="1"/>
          <p:nvPr>
            <p:custDataLst>
              <p:tags r:id="rId42"/>
            </p:custDataLst>
          </p:nvPr>
        </p:nvSpPr>
        <p:spPr>
          <a:xfrm>
            <a:off x="276267" y="1378126"/>
            <a:ext cx="4011356" cy="50270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ctr">
              <a:lnSpc>
                <a:spcPts val="1600"/>
              </a:lnSpc>
              <a:defRPr sz="1600" b="1"/>
            </a:lvl1pPr>
          </a:lstStyle>
          <a:p>
            <a:r>
              <a:rPr lang="ru-RU" sz="1400" dirty="0">
                <a:solidFill>
                  <a:schemeClr val="bg1"/>
                </a:solidFill>
              </a:rPr>
              <a:t>Научно-исследовательская </a:t>
            </a:r>
            <a:r>
              <a:rPr lang="ru-RU" sz="1400" dirty="0">
                <a:solidFill>
                  <a:schemeClr val="accent6"/>
                </a:solidFill>
              </a:rPr>
              <a:t>поддержка производства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ru-RU" sz="1400" dirty="0" smtClean="0">
                <a:solidFill>
                  <a:schemeClr val="bg1"/>
                </a:solidFill>
              </a:rPr>
              <a:t>битумных материалов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64" name="TextBox 63"/>
          <p:cNvSpPr txBox="1"/>
          <p:nvPr>
            <p:custDataLst>
              <p:tags r:id="rId43"/>
            </p:custDataLst>
          </p:nvPr>
        </p:nvSpPr>
        <p:spPr>
          <a:xfrm>
            <a:off x="4348184" y="1268760"/>
            <a:ext cx="4508480" cy="707886"/>
          </a:xfrm>
          <a:prstGeom prst="rect">
            <a:avLst/>
          </a:prstGeom>
          <a:solidFill>
            <a:schemeClr val="accent1"/>
          </a:solidFill>
        </p:spPr>
        <p:txBody>
          <a:bodyPr wrap="square" lIns="0" r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400" b="1" dirty="0" smtClean="0">
                <a:solidFill>
                  <a:schemeClr val="bg1"/>
                </a:solidFill>
              </a:rPr>
              <a:t>Научно-техническое </a:t>
            </a:r>
            <a:r>
              <a:rPr lang="ru-RU" sz="1400" b="1" dirty="0" smtClean="0">
                <a:solidFill>
                  <a:schemeClr val="accent6"/>
                </a:solidFill>
              </a:rPr>
              <a:t>сопровождение    применения и эксплуатации </a:t>
            </a:r>
            <a:r>
              <a:rPr lang="ru-RU" sz="1400" b="1" dirty="0" smtClean="0">
                <a:solidFill>
                  <a:schemeClr val="bg1"/>
                </a:solidFill>
              </a:rPr>
              <a:t>битумных материалов в составе асфальтобетона</a:t>
            </a:r>
          </a:p>
        </p:txBody>
      </p:sp>
      <p:pic>
        <p:nvPicPr>
          <p:cNvPr id="13316" name="Picture 4" descr="\\gazprom-neft.local\dfs\Газпром нефть\Папки пользователей\Личные папки\Biryulin.DL\My Documents\My Pictures\Клиентский день_2016_РЗБМ\2016-03-24 ╨У╨░╨╖╨┐╤А╨╛╨╝_╨Э╨╡╤Д╤В╨╡╨┐╤А╨╛╨┤╤Г╨║╤В_╨С╨╕╤В╤Г╨╝╨╜╤Л╨╕╠Ж╨Ч╨░╨▓╨╛╨┤-251.jpg"/>
          <p:cNvPicPr>
            <a:picLocks noChangeAspect="1" noChangeArrowheads="1"/>
          </p:cNvPicPr>
          <p:nvPr/>
        </p:nvPicPr>
        <p:blipFill rotWithShape="1"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350"/>
          <a:stretch/>
        </p:blipFill>
        <p:spPr bwMode="auto">
          <a:xfrm>
            <a:off x="275685" y="4014243"/>
            <a:ext cx="3960812" cy="2330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Прямоугольник 67"/>
          <p:cNvSpPr/>
          <p:nvPr/>
        </p:nvSpPr>
        <p:spPr>
          <a:xfrm>
            <a:off x="4284476" y="3946803"/>
            <a:ext cx="4572000" cy="2400657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ts val="1800"/>
              </a:lnSpc>
            </a:pPr>
            <a:r>
              <a:rPr lang="ru-RU" sz="1600" b="1" dirty="0"/>
              <a:t>В </a:t>
            </a:r>
            <a:r>
              <a:rPr lang="ru-RU" sz="1600" b="1" dirty="0" smtClean="0"/>
              <a:t>сентябре 2016 </a:t>
            </a:r>
            <a:r>
              <a:rPr lang="ru-RU" sz="1600" b="1" dirty="0"/>
              <a:t>г. </a:t>
            </a:r>
            <a:r>
              <a:rPr lang="ru-RU" sz="1600" b="1" dirty="0" smtClean="0"/>
              <a:t>Компания запускает                       Научно-Исследовательский </a:t>
            </a:r>
            <a:r>
              <a:rPr lang="ru-RU" sz="1600" b="1" dirty="0"/>
              <a:t>Центр </a:t>
            </a:r>
            <a:r>
              <a:rPr lang="ru-RU" sz="1600" b="1" dirty="0" smtClean="0"/>
              <a:t>                  по </a:t>
            </a:r>
            <a:r>
              <a:rPr lang="ru-RU" sz="1600" b="1" dirty="0"/>
              <a:t>битумным материалам</a:t>
            </a:r>
            <a:endParaRPr lang="ru-RU" sz="1600" dirty="0" smtClean="0"/>
          </a:p>
          <a:p>
            <a:pPr>
              <a:lnSpc>
                <a:spcPts val="1800"/>
              </a:lnSpc>
            </a:pPr>
            <a:r>
              <a:rPr lang="ru-RU" sz="1600" dirty="0" smtClean="0"/>
              <a:t>для комплексного научно-технического сопровождения на </a:t>
            </a:r>
            <a:r>
              <a:rPr lang="ru-RU" sz="1600" dirty="0"/>
              <a:t>всех этапах производства </a:t>
            </a:r>
            <a:r>
              <a:rPr lang="ru-RU" sz="1600" dirty="0" smtClean="0"/>
              <a:t>и </a:t>
            </a:r>
            <a:r>
              <a:rPr lang="ru-RU" sz="1600" dirty="0"/>
              <a:t>применения битумных материалов: </a:t>
            </a:r>
            <a:r>
              <a:rPr lang="ru-RU" sz="1600" dirty="0" smtClean="0"/>
              <a:t>                 </a:t>
            </a:r>
            <a:r>
              <a:rPr lang="ru-RU" sz="1600" b="1" dirty="0" smtClean="0">
                <a:solidFill>
                  <a:schemeClr val="accent3"/>
                </a:solidFill>
              </a:rPr>
              <a:t>от </a:t>
            </a:r>
            <a:r>
              <a:rPr lang="ru-RU" sz="1600" b="1" dirty="0">
                <a:solidFill>
                  <a:schemeClr val="accent3"/>
                </a:solidFill>
              </a:rPr>
              <a:t>разработки инновационных </a:t>
            </a:r>
            <a:r>
              <a:rPr lang="ru-RU" sz="1600" b="1" dirty="0" smtClean="0">
                <a:solidFill>
                  <a:schemeClr val="accent3"/>
                </a:solidFill>
              </a:rPr>
              <a:t>  материалов </a:t>
            </a:r>
            <a:r>
              <a:rPr lang="ru-RU" sz="1600" b="1" dirty="0">
                <a:solidFill>
                  <a:schemeClr val="accent3"/>
                </a:solidFill>
              </a:rPr>
              <a:t>– до технологической эффективности битумных материалов </a:t>
            </a:r>
            <a:r>
              <a:rPr lang="ru-RU" sz="1600" b="1" dirty="0" smtClean="0">
                <a:solidFill>
                  <a:schemeClr val="accent3"/>
                </a:solidFill>
              </a:rPr>
              <a:t>                                             в </a:t>
            </a:r>
            <a:r>
              <a:rPr lang="ru-RU" sz="1600" b="1" dirty="0">
                <a:solidFill>
                  <a:schemeClr val="accent3"/>
                </a:solidFill>
              </a:rPr>
              <a:t>составе асфальтобетона.</a:t>
            </a:r>
          </a:p>
        </p:txBody>
      </p:sp>
      <p:pic>
        <p:nvPicPr>
          <p:cNvPr id="13319" name="Picture 7" descr="http://portal.gazprom-neft.local/Kb/Brands/CorporateBrand/DocLib1/Logo/Корпоративный%20стиль/1_Logo_rus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24" y="4005064"/>
            <a:ext cx="755871" cy="4291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4" name="arrow10_1_solid"/>
          <p:cNvSpPr/>
          <p:nvPr>
            <p:custDataLst>
              <p:tags r:id="rId44"/>
            </p:custDataLst>
          </p:nvPr>
        </p:nvSpPr>
        <p:spPr bwMode="auto">
          <a:xfrm rot="18949378">
            <a:off x="8074851" y="2667272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104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 smtClean="0"/>
              <a:t>Уникальный научно-исследовательский центр - полный цикл исследований вяжущих и асфальтобетонов</a:t>
            </a:r>
            <a:endParaRPr lang="ru-RU" dirty="0"/>
          </a:p>
        </p:txBody>
      </p:sp>
      <p:sp>
        <p:nvSpPr>
          <p:cNvPr id="4" name="proiz_bitum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460760" y="1089887"/>
            <a:ext cx="480060" cy="420053"/>
          </a:xfrm>
          <a:custGeom>
            <a:avLst/>
            <a:gdLst>
              <a:gd name="T0" fmla="*/ 4423 w 16128"/>
              <a:gd name="T1" fmla="*/ 396 h 14112"/>
              <a:gd name="T2" fmla="*/ 4405 w 16128"/>
              <a:gd name="T3" fmla="*/ 293 h 14112"/>
              <a:gd name="T4" fmla="*/ 4364 w 16128"/>
              <a:gd name="T5" fmla="*/ 201 h 14112"/>
              <a:gd name="T6" fmla="*/ 4301 w 16128"/>
              <a:gd name="T7" fmla="*/ 122 h 14112"/>
              <a:gd name="T8" fmla="*/ 4223 w 16128"/>
              <a:gd name="T9" fmla="*/ 61 h 14112"/>
              <a:gd name="T10" fmla="*/ 4131 w 16128"/>
              <a:gd name="T11" fmla="*/ 19 h 14112"/>
              <a:gd name="T12" fmla="*/ 4029 w 16128"/>
              <a:gd name="T13" fmla="*/ 1 h 14112"/>
              <a:gd name="T14" fmla="*/ 1850 w 16128"/>
              <a:gd name="T15" fmla="*/ 5 h 14112"/>
              <a:gd name="T16" fmla="*/ 1751 w 16128"/>
              <a:gd name="T17" fmla="*/ 32 h 14112"/>
              <a:gd name="T18" fmla="*/ 1664 w 16128"/>
              <a:gd name="T19" fmla="*/ 83 h 14112"/>
              <a:gd name="T20" fmla="*/ 1593 w 16128"/>
              <a:gd name="T21" fmla="*/ 151 h 14112"/>
              <a:gd name="T22" fmla="*/ 1538 w 16128"/>
              <a:gd name="T23" fmla="*/ 236 h 14112"/>
              <a:gd name="T24" fmla="*/ 1506 w 16128"/>
              <a:gd name="T25" fmla="*/ 333 h 14112"/>
              <a:gd name="T26" fmla="*/ 1497 w 16128"/>
              <a:gd name="T27" fmla="*/ 7017 h 14112"/>
              <a:gd name="T28" fmla="*/ 353 w 16128"/>
              <a:gd name="T29" fmla="*/ 12399 h 14112"/>
              <a:gd name="T30" fmla="*/ 254 w 16128"/>
              <a:gd name="T31" fmla="*/ 12428 h 14112"/>
              <a:gd name="T32" fmla="*/ 167 w 16128"/>
              <a:gd name="T33" fmla="*/ 12477 h 14112"/>
              <a:gd name="T34" fmla="*/ 95 w 16128"/>
              <a:gd name="T35" fmla="*/ 12547 h 14112"/>
              <a:gd name="T36" fmla="*/ 41 w 16128"/>
              <a:gd name="T37" fmla="*/ 12631 h 14112"/>
              <a:gd name="T38" fmla="*/ 8 w 16128"/>
              <a:gd name="T39" fmla="*/ 12728 h 14112"/>
              <a:gd name="T40" fmla="*/ 0 w 16128"/>
              <a:gd name="T41" fmla="*/ 13695 h 14112"/>
              <a:gd name="T42" fmla="*/ 13 w 16128"/>
              <a:gd name="T43" fmla="*/ 13799 h 14112"/>
              <a:gd name="T44" fmla="*/ 50 w 16128"/>
              <a:gd name="T45" fmla="*/ 13894 h 14112"/>
              <a:gd name="T46" fmla="*/ 108 w 16128"/>
              <a:gd name="T47" fmla="*/ 13976 h 14112"/>
              <a:gd name="T48" fmla="*/ 183 w 16128"/>
              <a:gd name="T49" fmla="*/ 14040 h 14112"/>
              <a:gd name="T50" fmla="*/ 273 w 16128"/>
              <a:gd name="T51" fmla="*/ 14087 h 14112"/>
              <a:gd name="T52" fmla="*/ 374 w 16128"/>
              <a:gd name="T53" fmla="*/ 14110 h 14112"/>
              <a:gd name="T54" fmla="*/ 15754 w 16128"/>
              <a:gd name="T55" fmla="*/ 14110 h 14112"/>
              <a:gd name="T56" fmla="*/ 15855 w 16128"/>
              <a:gd name="T57" fmla="*/ 14087 h 14112"/>
              <a:gd name="T58" fmla="*/ 15945 w 16128"/>
              <a:gd name="T59" fmla="*/ 14040 h 14112"/>
              <a:gd name="T60" fmla="*/ 16020 w 16128"/>
              <a:gd name="T61" fmla="*/ 13976 h 14112"/>
              <a:gd name="T62" fmla="*/ 16078 w 16128"/>
              <a:gd name="T63" fmla="*/ 13894 h 14112"/>
              <a:gd name="T64" fmla="*/ 16115 w 16128"/>
              <a:gd name="T65" fmla="*/ 13799 h 14112"/>
              <a:gd name="T66" fmla="*/ 16128 w 16128"/>
              <a:gd name="T67" fmla="*/ 13695 h 14112"/>
              <a:gd name="T68" fmla="*/ 16120 w 16128"/>
              <a:gd name="T69" fmla="*/ 12728 h 14112"/>
              <a:gd name="T70" fmla="*/ 16087 w 16128"/>
              <a:gd name="T71" fmla="*/ 12631 h 14112"/>
              <a:gd name="T72" fmla="*/ 16033 w 16128"/>
              <a:gd name="T73" fmla="*/ 12547 h 14112"/>
              <a:gd name="T74" fmla="*/ 15961 w 16128"/>
              <a:gd name="T75" fmla="*/ 12477 h 14112"/>
              <a:gd name="T76" fmla="*/ 15874 w 16128"/>
              <a:gd name="T77" fmla="*/ 12428 h 14112"/>
              <a:gd name="T78" fmla="*/ 15775 w 16128"/>
              <a:gd name="T79" fmla="*/ 12399 h 14112"/>
              <a:gd name="T80" fmla="*/ 14652 w 16128"/>
              <a:gd name="T81" fmla="*/ 9064 h 14112"/>
              <a:gd name="T82" fmla="*/ 9536 w 16128"/>
              <a:gd name="T83" fmla="*/ 9064 h 14112"/>
              <a:gd name="T84" fmla="*/ 9530 w 16128"/>
              <a:gd name="T85" fmla="*/ 375 h 14112"/>
              <a:gd name="T86" fmla="*/ 9506 w 16128"/>
              <a:gd name="T87" fmla="*/ 274 h 14112"/>
              <a:gd name="T88" fmla="*/ 9460 w 16128"/>
              <a:gd name="T89" fmla="*/ 184 h 14112"/>
              <a:gd name="T90" fmla="*/ 9396 w 16128"/>
              <a:gd name="T91" fmla="*/ 108 h 14112"/>
              <a:gd name="T92" fmla="*/ 9314 w 16128"/>
              <a:gd name="T93" fmla="*/ 50 h 14112"/>
              <a:gd name="T94" fmla="*/ 9219 w 16128"/>
              <a:gd name="T95" fmla="*/ 13 h 14112"/>
              <a:gd name="T96" fmla="*/ 9115 w 16128"/>
              <a:gd name="T97" fmla="*/ 0 h 14112"/>
              <a:gd name="T98" fmla="*/ 6938 w 16128"/>
              <a:gd name="T99" fmla="*/ 8 h 14112"/>
              <a:gd name="T100" fmla="*/ 6841 w 16128"/>
              <a:gd name="T101" fmla="*/ 41 h 14112"/>
              <a:gd name="T102" fmla="*/ 6757 w 16128"/>
              <a:gd name="T103" fmla="*/ 95 h 14112"/>
              <a:gd name="T104" fmla="*/ 6688 w 16128"/>
              <a:gd name="T105" fmla="*/ 168 h 14112"/>
              <a:gd name="T106" fmla="*/ 6638 w 16128"/>
              <a:gd name="T107" fmla="*/ 254 h 14112"/>
              <a:gd name="T108" fmla="*/ 6609 w 16128"/>
              <a:gd name="T109" fmla="*/ 353 h 14112"/>
              <a:gd name="T110" fmla="*/ 6600 w 16128"/>
              <a:gd name="T111" fmla="*/ 7017 h 14112"/>
              <a:gd name="T112" fmla="*/ 7544 w 16128"/>
              <a:gd name="T113" fmla="*/ 5400 h 14112"/>
              <a:gd name="T114" fmla="*/ 9451 w 16128"/>
              <a:gd name="T115" fmla="*/ 12619 h 14112"/>
              <a:gd name="T116" fmla="*/ 10432 w 16128"/>
              <a:gd name="T117" fmla="*/ 12619 h 14112"/>
              <a:gd name="T118" fmla="*/ 11413 w 16128"/>
              <a:gd name="T119" fmla="*/ 12619 h 14112"/>
              <a:gd name="T120" fmla="*/ 12393 w 16128"/>
              <a:gd name="T121" fmla="*/ 12619 h 14112"/>
              <a:gd name="T122" fmla="*/ 13374 w 16128"/>
              <a:gd name="T123" fmla="*/ 12619 h 14112"/>
              <a:gd name="T124" fmla="*/ 2442 w 16128"/>
              <a:gd name="T125" fmla="*/ 5400 h 14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28" h="14112">
                <a:moveTo>
                  <a:pt x="4432" y="12394"/>
                </a:moveTo>
                <a:lnTo>
                  <a:pt x="4432" y="7017"/>
                </a:lnTo>
                <a:lnTo>
                  <a:pt x="4423" y="6931"/>
                </a:lnTo>
                <a:lnTo>
                  <a:pt x="4423" y="417"/>
                </a:lnTo>
                <a:lnTo>
                  <a:pt x="4423" y="396"/>
                </a:lnTo>
                <a:lnTo>
                  <a:pt x="4421" y="375"/>
                </a:lnTo>
                <a:lnTo>
                  <a:pt x="4419" y="353"/>
                </a:lnTo>
                <a:lnTo>
                  <a:pt x="4415" y="333"/>
                </a:lnTo>
                <a:lnTo>
                  <a:pt x="4410" y="313"/>
                </a:lnTo>
                <a:lnTo>
                  <a:pt x="4405" y="293"/>
                </a:lnTo>
                <a:lnTo>
                  <a:pt x="4398" y="274"/>
                </a:lnTo>
                <a:lnTo>
                  <a:pt x="4391" y="254"/>
                </a:lnTo>
                <a:lnTo>
                  <a:pt x="4383" y="236"/>
                </a:lnTo>
                <a:lnTo>
                  <a:pt x="4374" y="218"/>
                </a:lnTo>
                <a:lnTo>
                  <a:pt x="4364" y="201"/>
                </a:lnTo>
                <a:lnTo>
                  <a:pt x="4353" y="184"/>
                </a:lnTo>
                <a:lnTo>
                  <a:pt x="4340" y="168"/>
                </a:lnTo>
                <a:lnTo>
                  <a:pt x="4328" y="151"/>
                </a:lnTo>
                <a:lnTo>
                  <a:pt x="4315" y="136"/>
                </a:lnTo>
                <a:lnTo>
                  <a:pt x="4301" y="122"/>
                </a:lnTo>
                <a:lnTo>
                  <a:pt x="4287" y="108"/>
                </a:lnTo>
                <a:lnTo>
                  <a:pt x="4272" y="95"/>
                </a:lnTo>
                <a:lnTo>
                  <a:pt x="4256" y="83"/>
                </a:lnTo>
                <a:lnTo>
                  <a:pt x="4240" y="72"/>
                </a:lnTo>
                <a:lnTo>
                  <a:pt x="4223" y="61"/>
                </a:lnTo>
                <a:lnTo>
                  <a:pt x="4205" y="50"/>
                </a:lnTo>
                <a:lnTo>
                  <a:pt x="4187" y="41"/>
                </a:lnTo>
                <a:lnTo>
                  <a:pt x="4169" y="32"/>
                </a:lnTo>
                <a:lnTo>
                  <a:pt x="4150" y="25"/>
                </a:lnTo>
                <a:lnTo>
                  <a:pt x="4131" y="19"/>
                </a:lnTo>
                <a:lnTo>
                  <a:pt x="4111" y="13"/>
                </a:lnTo>
                <a:lnTo>
                  <a:pt x="4090" y="8"/>
                </a:lnTo>
                <a:lnTo>
                  <a:pt x="4070" y="5"/>
                </a:lnTo>
                <a:lnTo>
                  <a:pt x="4050" y="2"/>
                </a:lnTo>
                <a:lnTo>
                  <a:pt x="4029" y="1"/>
                </a:lnTo>
                <a:lnTo>
                  <a:pt x="4007" y="0"/>
                </a:lnTo>
                <a:lnTo>
                  <a:pt x="1913" y="0"/>
                </a:lnTo>
                <a:lnTo>
                  <a:pt x="1892" y="1"/>
                </a:lnTo>
                <a:lnTo>
                  <a:pt x="1871" y="2"/>
                </a:lnTo>
                <a:lnTo>
                  <a:pt x="1850" y="5"/>
                </a:lnTo>
                <a:lnTo>
                  <a:pt x="1830" y="8"/>
                </a:lnTo>
                <a:lnTo>
                  <a:pt x="1809" y="13"/>
                </a:lnTo>
                <a:lnTo>
                  <a:pt x="1789" y="19"/>
                </a:lnTo>
                <a:lnTo>
                  <a:pt x="1770" y="25"/>
                </a:lnTo>
                <a:lnTo>
                  <a:pt x="1751" y="32"/>
                </a:lnTo>
                <a:lnTo>
                  <a:pt x="1733" y="41"/>
                </a:lnTo>
                <a:lnTo>
                  <a:pt x="1715" y="50"/>
                </a:lnTo>
                <a:lnTo>
                  <a:pt x="1697" y="61"/>
                </a:lnTo>
                <a:lnTo>
                  <a:pt x="1680" y="72"/>
                </a:lnTo>
                <a:lnTo>
                  <a:pt x="1664" y="83"/>
                </a:lnTo>
                <a:lnTo>
                  <a:pt x="1649" y="95"/>
                </a:lnTo>
                <a:lnTo>
                  <a:pt x="1634" y="108"/>
                </a:lnTo>
                <a:lnTo>
                  <a:pt x="1619" y="122"/>
                </a:lnTo>
                <a:lnTo>
                  <a:pt x="1605" y="136"/>
                </a:lnTo>
                <a:lnTo>
                  <a:pt x="1593" y="151"/>
                </a:lnTo>
                <a:lnTo>
                  <a:pt x="1580" y="168"/>
                </a:lnTo>
                <a:lnTo>
                  <a:pt x="1568" y="184"/>
                </a:lnTo>
                <a:lnTo>
                  <a:pt x="1557" y="201"/>
                </a:lnTo>
                <a:lnTo>
                  <a:pt x="1547" y="218"/>
                </a:lnTo>
                <a:lnTo>
                  <a:pt x="1538" y="236"/>
                </a:lnTo>
                <a:lnTo>
                  <a:pt x="1530" y="254"/>
                </a:lnTo>
                <a:lnTo>
                  <a:pt x="1522" y="274"/>
                </a:lnTo>
                <a:lnTo>
                  <a:pt x="1516" y="293"/>
                </a:lnTo>
                <a:lnTo>
                  <a:pt x="1510" y="313"/>
                </a:lnTo>
                <a:lnTo>
                  <a:pt x="1506" y="333"/>
                </a:lnTo>
                <a:lnTo>
                  <a:pt x="1502" y="353"/>
                </a:lnTo>
                <a:lnTo>
                  <a:pt x="1499" y="375"/>
                </a:lnTo>
                <a:lnTo>
                  <a:pt x="1498" y="396"/>
                </a:lnTo>
                <a:lnTo>
                  <a:pt x="1497" y="417"/>
                </a:lnTo>
                <a:lnTo>
                  <a:pt x="1497" y="7017"/>
                </a:lnTo>
                <a:lnTo>
                  <a:pt x="1497" y="12394"/>
                </a:lnTo>
                <a:lnTo>
                  <a:pt x="416" y="12394"/>
                </a:lnTo>
                <a:lnTo>
                  <a:pt x="395" y="12395"/>
                </a:lnTo>
                <a:lnTo>
                  <a:pt x="374" y="12396"/>
                </a:lnTo>
                <a:lnTo>
                  <a:pt x="353" y="12399"/>
                </a:lnTo>
                <a:lnTo>
                  <a:pt x="333" y="12404"/>
                </a:lnTo>
                <a:lnTo>
                  <a:pt x="312" y="12408"/>
                </a:lnTo>
                <a:lnTo>
                  <a:pt x="292" y="12414"/>
                </a:lnTo>
                <a:lnTo>
                  <a:pt x="273" y="12420"/>
                </a:lnTo>
                <a:lnTo>
                  <a:pt x="254" y="12428"/>
                </a:lnTo>
                <a:lnTo>
                  <a:pt x="236" y="12436"/>
                </a:lnTo>
                <a:lnTo>
                  <a:pt x="218" y="12445"/>
                </a:lnTo>
                <a:lnTo>
                  <a:pt x="201" y="12455"/>
                </a:lnTo>
                <a:lnTo>
                  <a:pt x="183" y="12466"/>
                </a:lnTo>
                <a:lnTo>
                  <a:pt x="167" y="12477"/>
                </a:lnTo>
                <a:lnTo>
                  <a:pt x="151" y="12490"/>
                </a:lnTo>
                <a:lnTo>
                  <a:pt x="136" y="12503"/>
                </a:lnTo>
                <a:lnTo>
                  <a:pt x="122" y="12517"/>
                </a:lnTo>
                <a:lnTo>
                  <a:pt x="108" y="12532"/>
                </a:lnTo>
                <a:lnTo>
                  <a:pt x="95" y="12547"/>
                </a:lnTo>
                <a:lnTo>
                  <a:pt x="83" y="12562"/>
                </a:lnTo>
                <a:lnTo>
                  <a:pt x="72" y="12578"/>
                </a:lnTo>
                <a:lnTo>
                  <a:pt x="60" y="12595"/>
                </a:lnTo>
                <a:lnTo>
                  <a:pt x="50" y="12613"/>
                </a:lnTo>
                <a:lnTo>
                  <a:pt x="41" y="12631"/>
                </a:lnTo>
                <a:lnTo>
                  <a:pt x="32" y="12650"/>
                </a:lnTo>
                <a:lnTo>
                  <a:pt x="25" y="12668"/>
                </a:lnTo>
                <a:lnTo>
                  <a:pt x="19" y="12688"/>
                </a:lnTo>
                <a:lnTo>
                  <a:pt x="13" y="12707"/>
                </a:lnTo>
                <a:lnTo>
                  <a:pt x="8" y="12728"/>
                </a:lnTo>
                <a:lnTo>
                  <a:pt x="5" y="12748"/>
                </a:lnTo>
                <a:lnTo>
                  <a:pt x="2" y="12769"/>
                </a:lnTo>
                <a:lnTo>
                  <a:pt x="1" y="12790"/>
                </a:lnTo>
                <a:lnTo>
                  <a:pt x="0" y="12811"/>
                </a:lnTo>
                <a:lnTo>
                  <a:pt x="0" y="13695"/>
                </a:lnTo>
                <a:lnTo>
                  <a:pt x="1" y="13716"/>
                </a:lnTo>
                <a:lnTo>
                  <a:pt x="2" y="13737"/>
                </a:lnTo>
                <a:lnTo>
                  <a:pt x="5" y="13759"/>
                </a:lnTo>
                <a:lnTo>
                  <a:pt x="8" y="13779"/>
                </a:lnTo>
                <a:lnTo>
                  <a:pt x="13" y="13799"/>
                </a:lnTo>
                <a:lnTo>
                  <a:pt x="19" y="13819"/>
                </a:lnTo>
                <a:lnTo>
                  <a:pt x="25" y="13838"/>
                </a:lnTo>
                <a:lnTo>
                  <a:pt x="32" y="13858"/>
                </a:lnTo>
                <a:lnTo>
                  <a:pt x="41" y="13876"/>
                </a:lnTo>
                <a:lnTo>
                  <a:pt x="50" y="13894"/>
                </a:lnTo>
                <a:lnTo>
                  <a:pt x="60" y="13911"/>
                </a:lnTo>
                <a:lnTo>
                  <a:pt x="72" y="13928"/>
                </a:lnTo>
                <a:lnTo>
                  <a:pt x="83" y="13944"/>
                </a:lnTo>
                <a:lnTo>
                  <a:pt x="95" y="13961"/>
                </a:lnTo>
                <a:lnTo>
                  <a:pt x="108" y="13976"/>
                </a:lnTo>
                <a:lnTo>
                  <a:pt x="122" y="13990"/>
                </a:lnTo>
                <a:lnTo>
                  <a:pt x="136" y="14004"/>
                </a:lnTo>
                <a:lnTo>
                  <a:pt x="151" y="14017"/>
                </a:lnTo>
                <a:lnTo>
                  <a:pt x="167" y="14029"/>
                </a:lnTo>
                <a:lnTo>
                  <a:pt x="183" y="14040"/>
                </a:lnTo>
                <a:lnTo>
                  <a:pt x="201" y="14051"/>
                </a:lnTo>
                <a:lnTo>
                  <a:pt x="218" y="14062"/>
                </a:lnTo>
                <a:lnTo>
                  <a:pt x="236" y="14071"/>
                </a:lnTo>
                <a:lnTo>
                  <a:pt x="254" y="14080"/>
                </a:lnTo>
                <a:lnTo>
                  <a:pt x="273" y="14087"/>
                </a:lnTo>
                <a:lnTo>
                  <a:pt x="292" y="14093"/>
                </a:lnTo>
                <a:lnTo>
                  <a:pt x="312" y="14099"/>
                </a:lnTo>
                <a:lnTo>
                  <a:pt x="333" y="14104"/>
                </a:lnTo>
                <a:lnTo>
                  <a:pt x="353" y="14107"/>
                </a:lnTo>
                <a:lnTo>
                  <a:pt x="374" y="14110"/>
                </a:lnTo>
                <a:lnTo>
                  <a:pt x="395" y="14111"/>
                </a:lnTo>
                <a:lnTo>
                  <a:pt x="416" y="14112"/>
                </a:lnTo>
                <a:lnTo>
                  <a:pt x="15712" y="14112"/>
                </a:lnTo>
                <a:lnTo>
                  <a:pt x="15733" y="14111"/>
                </a:lnTo>
                <a:lnTo>
                  <a:pt x="15754" y="14110"/>
                </a:lnTo>
                <a:lnTo>
                  <a:pt x="15775" y="14107"/>
                </a:lnTo>
                <a:lnTo>
                  <a:pt x="15795" y="14104"/>
                </a:lnTo>
                <a:lnTo>
                  <a:pt x="15816" y="14099"/>
                </a:lnTo>
                <a:lnTo>
                  <a:pt x="15836" y="14093"/>
                </a:lnTo>
                <a:lnTo>
                  <a:pt x="15855" y="14087"/>
                </a:lnTo>
                <a:lnTo>
                  <a:pt x="15874" y="14080"/>
                </a:lnTo>
                <a:lnTo>
                  <a:pt x="15892" y="14071"/>
                </a:lnTo>
                <a:lnTo>
                  <a:pt x="15910" y="14062"/>
                </a:lnTo>
                <a:lnTo>
                  <a:pt x="15927" y="14051"/>
                </a:lnTo>
                <a:lnTo>
                  <a:pt x="15945" y="14040"/>
                </a:lnTo>
                <a:lnTo>
                  <a:pt x="15961" y="14029"/>
                </a:lnTo>
                <a:lnTo>
                  <a:pt x="15977" y="14017"/>
                </a:lnTo>
                <a:lnTo>
                  <a:pt x="15992" y="14004"/>
                </a:lnTo>
                <a:lnTo>
                  <a:pt x="16006" y="13990"/>
                </a:lnTo>
                <a:lnTo>
                  <a:pt x="16020" y="13976"/>
                </a:lnTo>
                <a:lnTo>
                  <a:pt x="16033" y="13961"/>
                </a:lnTo>
                <a:lnTo>
                  <a:pt x="16045" y="13944"/>
                </a:lnTo>
                <a:lnTo>
                  <a:pt x="16056" y="13928"/>
                </a:lnTo>
                <a:lnTo>
                  <a:pt x="16068" y="13911"/>
                </a:lnTo>
                <a:lnTo>
                  <a:pt x="16078" y="13894"/>
                </a:lnTo>
                <a:lnTo>
                  <a:pt x="16087" y="13876"/>
                </a:lnTo>
                <a:lnTo>
                  <a:pt x="16096" y="13858"/>
                </a:lnTo>
                <a:lnTo>
                  <a:pt x="16103" y="13838"/>
                </a:lnTo>
                <a:lnTo>
                  <a:pt x="16109" y="13819"/>
                </a:lnTo>
                <a:lnTo>
                  <a:pt x="16115" y="13799"/>
                </a:lnTo>
                <a:lnTo>
                  <a:pt x="16120" y="13779"/>
                </a:lnTo>
                <a:lnTo>
                  <a:pt x="16123" y="13759"/>
                </a:lnTo>
                <a:lnTo>
                  <a:pt x="16126" y="13737"/>
                </a:lnTo>
                <a:lnTo>
                  <a:pt x="16127" y="13716"/>
                </a:lnTo>
                <a:lnTo>
                  <a:pt x="16128" y="13695"/>
                </a:lnTo>
                <a:lnTo>
                  <a:pt x="16128" y="12811"/>
                </a:lnTo>
                <a:lnTo>
                  <a:pt x="16127" y="12790"/>
                </a:lnTo>
                <a:lnTo>
                  <a:pt x="16126" y="12769"/>
                </a:lnTo>
                <a:lnTo>
                  <a:pt x="16123" y="12748"/>
                </a:lnTo>
                <a:lnTo>
                  <a:pt x="16120" y="12728"/>
                </a:lnTo>
                <a:lnTo>
                  <a:pt x="16115" y="12707"/>
                </a:lnTo>
                <a:lnTo>
                  <a:pt x="16109" y="12688"/>
                </a:lnTo>
                <a:lnTo>
                  <a:pt x="16103" y="12668"/>
                </a:lnTo>
                <a:lnTo>
                  <a:pt x="16096" y="12650"/>
                </a:lnTo>
                <a:lnTo>
                  <a:pt x="16087" y="12631"/>
                </a:lnTo>
                <a:lnTo>
                  <a:pt x="16078" y="12613"/>
                </a:lnTo>
                <a:lnTo>
                  <a:pt x="16068" y="12595"/>
                </a:lnTo>
                <a:lnTo>
                  <a:pt x="16056" y="12578"/>
                </a:lnTo>
                <a:lnTo>
                  <a:pt x="16045" y="12562"/>
                </a:lnTo>
                <a:lnTo>
                  <a:pt x="16033" y="12547"/>
                </a:lnTo>
                <a:lnTo>
                  <a:pt x="16020" y="12532"/>
                </a:lnTo>
                <a:lnTo>
                  <a:pt x="16006" y="12517"/>
                </a:lnTo>
                <a:lnTo>
                  <a:pt x="15992" y="12503"/>
                </a:lnTo>
                <a:lnTo>
                  <a:pt x="15977" y="12490"/>
                </a:lnTo>
                <a:lnTo>
                  <a:pt x="15961" y="12477"/>
                </a:lnTo>
                <a:lnTo>
                  <a:pt x="15945" y="12466"/>
                </a:lnTo>
                <a:lnTo>
                  <a:pt x="15927" y="12455"/>
                </a:lnTo>
                <a:lnTo>
                  <a:pt x="15910" y="12445"/>
                </a:lnTo>
                <a:lnTo>
                  <a:pt x="15892" y="12436"/>
                </a:lnTo>
                <a:lnTo>
                  <a:pt x="15874" y="12428"/>
                </a:lnTo>
                <a:lnTo>
                  <a:pt x="15855" y="12420"/>
                </a:lnTo>
                <a:lnTo>
                  <a:pt x="15836" y="12414"/>
                </a:lnTo>
                <a:lnTo>
                  <a:pt x="15816" y="12408"/>
                </a:lnTo>
                <a:lnTo>
                  <a:pt x="15795" y="12404"/>
                </a:lnTo>
                <a:lnTo>
                  <a:pt x="15775" y="12399"/>
                </a:lnTo>
                <a:lnTo>
                  <a:pt x="15754" y="12396"/>
                </a:lnTo>
                <a:lnTo>
                  <a:pt x="15733" y="12395"/>
                </a:lnTo>
                <a:lnTo>
                  <a:pt x="15712" y="12394"/>
                </a:lnTo>
                <a:lnTo>
                  <a:pt x="14652" y="12394"/>
                </a:lnTo>
                <a:lnTo>
                  <a:pt x="14652" y="9064"/>
                </a:lnTo>
                <a:lnTo>
                  <a:pt x="13065" y="9064"/>
                </a:lnTo>
                <a:lnTo>
                  <a:pt x="13065" y="2972"/>
                </a:lnTo>
                <a:lnTo>
                  <a:pt x="11610" y="2972"/>
                </a:lnTo>
                <a:lnTo>
                  <a:pt x="11610" y="9064"/>
                </a:lnTo>
                <a:lnTo>
                  <a:pt x="9536" y="9064"/>
                </a:lnTo>
                <a:lnTo>
                  <a:pt x="9536" y="7017"/>
                </a:lnTo>
                <a:lnTo>
                  <a:pt x="9532" y="6955"/>
                </a:lnTo>
                <a:lnTo>
                  <a:pt x="9532" y="417"/>
                </a:lnTo>
                <a:lnTo>
                  <a:pt x="9531" y="396"/>
                </a:lnTo>
                <a:lnTo>
                  <a:pt x="9530" y="375"/>
                </a:lnTo>
                <a:lnTo>
                  <a:pt x="9527" y="353"/>
                </a:lnTo>
                <a:lnTo>
                  <a:pt x="9524" y="333"/>
                </a:lnTo>
                <a:lnTo>
                  <a:pt x="9519" y="313"/>
                </a:lnTo>
                <a:lnTo>
                  <a:pt x="9512" y="293"/>
                </a:lnTo>
                <a:lnTo>
                  <a:pt x="9506" y="274"/>
                </a:lnTo>
                <a:lnTo>
                  <a:pt x="9498" y="254"/>
                </a:lnTo>
                <a:lnTo>
                  <a:pt x="9490" y="236"/>
                </a:lnTo>
                <a:lnTo>
                  <a:pt x="9481" y="218"/>
                </a:lnTo>
                <a:lnTo>
                  <a:pt x="9471" y="201"/>
                </a:lnTo>
                <a:lnTo>
                  <a:pt x="9460" y="184"/>
                </a:lnTo>
                <a:lnTo>
                  <a:pt x="9449" y="168"/>
                </a:lnTo>
                <a:lnTo>
                  <a:pt x="9437" y="151"/>
                </a:lnTo>
                <a:lnTo>
                  <a:pt x="9424" y="136"/>
                </a:lnTo>
                <a:lnTo>
                  <a:pt x="9410" y="122"/>
                </a:lnTo>
                <a:lnTo>
                  <a:pt x="9396" y="108"/>
                </a:lnTo>
                <a:lnTo>
                  <a:pt x="9380" y="95"/>
                </a:lnTo>
                <a:lnTo>
                  <a:pt x="9364" y="83"/>
                </a:lnTo>
                <a:lnTo>
                  <a:pt x="9348" y="72"/>
                </a:lnTo>
                <a:lnTo>
                  <a:pt x="9331" y="61"/>
                </a:lnTo>
                <a:lnTo>
                  <a:pt x="9314" y="50"/>
                </a:lnTo>
                <a:lnTo>
                  <a:pt x="9296" y="41"/>
                </a:lnTo>
                <a:lnTo>
                  <a:pt x="9278" y="32"/>
                </a:lnTo>
                <a:lnTo>
                  <a:pt x="9258" y="25"/>
                </a:lnTo>
                <a:lnTo>
                  <a:pt x="9239" y="19"/>
                </a:lnTo>
                <a:lnTo>
                  <a:pt x="9219" y="13"/>
                </a:lnTo>
                <a:lnTo>
                  <a:pt x="9199" y="8"/>
                </a:lnTo>
                <a:lnTo>
                  <a:pt x="9179" y="5"/>
                </a:lnTo>
                <a:lnTo>
                  <a:pt x="9158" y="2"/>
                </a:lnTo>
                <a:lnTo>
                  <a:pt x="9137" y="1"/>
                </a:lnTo>
                <a:lnTo>
                  <a:pt x="9115" y="0"/>
                </a:lnTo>
                <a:lnTo>
                  <a:pt x="7022" y="0"/>
                </a:lnTo>
                <a:lnTo>
                  <a:pt x="7001" y="1"/>
                </a:lnTo>
                <a:lnTo>
                  <a:pt x="6979" y="2"/>
                </a:lnTo>
                <a:lnTo>
                  <a:pt x="6958" y="5"/>
                </a:lnTo>
                <a:lnTo>
                  <a:pt x="6938" y="8"/>
                </a:lnTo>
                <a:lnTo>
                  <a:pt x="6918" y="13"/>
                </a:lnTo>
                <a:lnTo>
                  <a:pt x="6898" y="19"/>
                </a:lnTo>
                <a:lnTo>
                  <a:pt x="6879" y="25"/>
                </a:lnTo>
                <a:lnTo>
                  <a:pt x="6859" y="32"/>
                </a:lnTo>
                <a:lnTo>
                  <a:pt x="6841" y="41"/>
                </a:lnTo>
                <a:lnTo>
                  <a:pt x="6823" y="50"/>
                </a:lnTo>
                <a:lnTo>
                  <a:pt x="6806" y="61"/>
                </a:lnTo>
                <a:lnTo>
                  <a:pt x="6789" y="72"/>
                </a:lnTo>
                <a:lnTo>
                  <a:pt x="6773" y="83"/>
                </a:lnTo>
                <a:lnTo>
                  <a:pt x="6757" y="95"/>
                </a:lnTo>
                <a:lnTo>
                  <a:pt x="6742" y="108"/>
                </a:lnTo>
                <a:lnTo>
                  <a:pt x="6727" y="122"/>
                </a:lnTo>
                <a:lnTo>
                  <a:pt x="6713" y="136"/>
                </a:lnTo>
                <a:lnTo>
                  <a:pt x="6700" y="151"/>
                </a:lnTo>
                <a:lnTo>
                  <a:pt x="6688" y="168"/>
                </a:lnTo>
                <a:lnTo>
                  <a:pt x="6676" y="184"/>
                </a:lnTo>
                <a:lnTo>
                  <a:pt x="6665" y="201"/>
                </a:lnTo>
                <a:lnTo>
                  <a:pt x="6656" y="218"/>
                </a:lnTo>
                <a:lnTo>
                  <a:pt x="6646" y="236"/>
                </a:lnTo>
                <a:lnTo>
                  <a:pt x="6638" y="254"/>
                </a:lnTo>
                <a:lnTo>
                  <a:pt x="6631" y="274"/>
                </a:lnTo>
                <a:lnTo>
                  <a:pt x="6624" y="293"/>
                </a:lnTo>
                <a:lnTo>
                  <a:pt x="6619" y="313"/>
                </a:lnTo>
                <a:lnTo>
                  <a:pt x="6613" y="333"/>
                </a:lnTo>
                <a:lnTo>
                  <a:pt x="6609" y="353"/>
                </a:lnTo>
                <a:lnTo>
                  <a:pt x="6607" y="375"/>
                </a:lnTo>
                <a:lnTo>
                  <a:pt x="6605" y="396"/>
                </a:lnTo>
                <a:lnTo>
                  <a:pt x="6605" y="417"/>
                </a:lnTo>
                <a:lnTo>
                  <a:pt x="6605" y="6957"/>
                </a:lnTo>
                <a:lnTo>
                  <a:pt x="6600" y="7017"/>
                </a:lnTo>
                <a:lnTo>
                  <a:pt x="6600" y="9064"/>
                </a:lnTo>
                <a:lnTo>
                  <a:pt x="5131" y="9064"/>
                </a:lnTo>
                <a:lnTo>
                  <a:pt x="5131" y="12394"/>
                </a:lnTo>
                <a:lnTo>
                  <a:pt x="4432" y="12394"/>
                </a:lnTo>
                <a:close/>
                <a:moveTo>
                  <a:pt x="7544" y="5400"/>
                </a:moveTo>
                <a:lnTo>
                  <a:pt x="7080" y="5400"/>
                </a:lnTo>
                <a:lnTo>
                  <a:pt x="7080" y="2000"/>
                </a:lnTo>
                <a:lnTo>
                  <a:pt x="7544" y="2000"/>
                </a:lnTo>
                <a:lnTo>
                  <a:pt x="7544" y="5400"/>
                </a:lnTo>
                <a:close/>
                <a:moveTo>
                  <a:pt x="9451" y="12619"/>
                </a:moveTo>
                <a:lnTo>
                  <a:pt x="9451" y="9881"/>
                </a:lnTo>
                <a:lnTo>
                  <a:pt x="9914" y="9881"/>
                </a:lnTo>
                <a:lnTo>
                  <a:pt x="9914" y="12619"/>
                </a:lnTo>
                <a:lnTo>
                  <a:pt x="9451" y="12619"/>
                </a:lnTo>
                <a:close/>
                <a:moveTo>
                  <a:pt x="10432" y="12619"/>
                </a:moveTo>
                <a:lnTo>
                  <a:pt x="10432" y="9881"/>
                </a:lnTo>
                <a:lnTo>
                  <a:pt x="10894" y="9881"/>
                </a:lnTo>
                <a:lnTo>
                  <a:pt x="10894" y="12619"/>
                </a:lnTo>
                <a:lnTo>
                  <a:pt x="10432" y="12619"/>
                </a:lnTo>
                <a:close/>
                <a:moveTo>
                  <a:pt x="11413" y="12619"/>
                </a:moveTo>
                <a:lnTo>
                  <a:pt x="11413" y="9881"/>
                </a:lnTo>
                <a:lnTo>
                  <a:pt x="11875" y="9881"/>
                </a:lnTo>
                <a:lnTo>
                  <a:pt x="11875" y="12619"/>
                </a:lnTo>
                <a:lnTo>
                  <a:pt x="11413" y="12619"/>
                </a:lnTo>
                <a:close/>
                <a:moveTo>
                  <a:pt x="12393" y="12619"/>
                </a:moveTo>
                <a:lnTo>
                  <a:pt x="12393" y="9881"/>
                </a:lnTo>
                <a:lnTo>
                  <a:pt x="12856" y="9881"/>
                </a:lnTo>
                <a:lnTo>
                  <a:pt x="12856" y="12619"/>
                </a:lnTo>
                <a:lnTo>
                  <a:pt x="12393" y="12619"/>
                </a:lnTo>
                <a:close/>
                <a:moveTo>
                  <a:pt x="13374" y="12619"/>
                </a:moveTo>
                <a:lnTo>
                  <a:pt x="13374" y="9881"/>
                </a:lnTo>
                <a:lnTo>
                  <a:pt x="13837" y="9881"/>
                </a:lnTo>
                <a:lnTo>
                  <a:pt x="13837" y="12619"/>
                </a:lnTo>
                <a:lnTo>
                  <a:pt x="13374" y="12619"/>
                </a:lnTo>
                <a:close/>
                <a:moveTo>
                  <a:pt x="2442" y="5400"/>
                </a:moveTo>
                <a:lnTo>
                  <a:pt x="1980" y="5400"/>
                </a:lnTo>
                <a:lnTo>
                  <a:pt x="1980" y="2000"/>
                </a:lnTo>
                <a:lnTo>
                  <a:pt x="2442" y="2000"/>
                </a:lnTo>
                <a:lnTo>
                  <a:pt x="2442" y="5400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Picture120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704491" y="1088740"/>
            <a:ext cx="452007" cy="421200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" name="proiz_pvb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2252848" y="1616600"/>
            <a:ext cx="551498" cy="408623"/>
          </a:xfrm>
          <a:custGeom>
            <a:avLst/>
            <a:gdLst>
              <a:gd name="T0" fmla="*/ 7387 w 16212"/>
              <a:gd name="T1" fmla="*/ 11610 h 12012"/>
              <a:gd name="T2" fmla="*/ 7660 w 16212"/>
              <a:gd name="T3" fmla="*/ 11137 h 12012"/>
              <a:gd name="T4" fmla="*/ 7836 w 16212"/>
              <a:gd name="T5" fmla="*/ 10533 h 12012"/>
              <a:gd name="T6" fmla="*/ 7836 w 16212"/>
              <a:gd name="T7" fmla="*/ 9522 h 12012"/>
              <a:gd name="T8" fmla="*/ 7676 w 16212"/>
              <a:gd name="T9" fmla="*/ 8959 h 12012"/>
              <a:gd name="T10" fmla="*/ 7480 w 16212"/>
              <a:gd name="T11" fmla="*/ 8560 h 12012"/>
              <a:gd name="T12" fmla="*/ 7144 w 16212"/>
              <a:gd name="T13" fmla="*/ 8238 h 12012"/>
              <a:gd name="T14" fmla="*/ 6878 w 16212"/>
              <a:gd name="T15" fmla="*/ 8148 h 12012"/>
              <a:gd name="T16" fmla="*/ 6633 w 16212"/>
              <a:gd name="T17" fmla="*/ 7980 h 12012"/>
              <a:gd name="T18" fmla="*/ 6492 w 16212"/>
              <a:gd name="T19" fmla="*/ 7732 h 12012"/>
              <a:gd name="T20" fmla="*/ 4741 w 16212"/>
              <a:gd name="T21" fmla="*/ 7641 h 12012"/>
              <a:gd name="T22" fmla="*/ 4471 w 16212"/>
              <a:gd name="T23" fmla="*/ 7745 h 12012"/>
              <a:gd name="T24" fmla="*/ 4343 w 16212"/>
              <a:gd name="T25" fmla="*/ 8000 h 12012"/>
              <a:gd name="T26" fmla="*/ 3599 w 16212"/>
              <a:gd name="T27" fmla="*/ 7852 h 12012"/>
              <a:gd name="T28" fmla="*/ 3388 w 16212"/>
              <a:gd name="T29" fmla="*/ 7668 h 12012"/>
              <a:gd name="T30" fmla="*/ 5479 w 16212"/>
              <a:gd name="T31" fmla="*/ 2932 h 12012"/>
              <a:gd name="T32" fmla="*/ 12925 w 16212"/>
              <a:gd name="T33" fmla="*/ 7643 h 12012"/>
              <a:gd name="T34" fmla="*/ 12670 w 16212"/>
              <a:gd name="T35" fmla="*/ 7772 h 12012"/>
              <a:gd name="T36" fmla="*/ 12565 w 16212"/>
              <a:gd name="T37" fmla="*/ 8040 h 12012"/>
              <a:gd name="T38" fmla="*/ 11803 w 16212"/>
              <a:gd name="T39" fmla="*/ 7817 h 12012"/>
              <a:gd name="T40" fmla="*/ 11571 w 16212"/>
              <a:gd name="T41" fmla="*/ 7654 h 12012"/>
              <a:gd name="T42" fmla="*/ 9802 w 16212"/>
              <a:gd name="T43" fmla="*/ 7681 h 12012"/>
              <a:gd name="T44" fmla="*/ 9607 w 16212"/>
              <a:gd name="T45" fmla="*/ 7885 h 12012"/>
              <a:gd name="T46" fmla="*/ 9383 w 16212"/>
              <a:gd name="T47" fmla="*/ 8139 h 12012"/>
              <a:gd name="T48" fmla="*/ 9176 w 16212"/>
              <a:gd name="T49" fmla="*/ 8189 h 12012"/>
              <a:gd name="T50" fmla="*/ 8836 w 16212"/>
              <a:gd name="T51" fmla="*/ 8428 h 12012"/>
              <a:gd name="T52" fmla="*/ 8596 w 16212"/>
              <a:gd name="T53" fmla="*/ 8801 h 12012"/>
              <a:gd name="T54" fmla="*/ 8409 w 16212"/>
              <a:gd name="T55" fmla="*/ 9362 h 12012"/>
              <a:gd name="T56" fmla="*/ 8327 w 16212"/>
              <a:gd name="T57" fmla="*/ 10049 h 12012"/>
              <a:gd name="T58" fmla="*/ 8490 w 16212"/>
              <a:gd name="T59" fmla="*/ 10971 h 12012"/>
              <a:gd name="T60" fmla="*/ 8672 w 16212"/>
              <a:gd name="T61" fmla="*/ 11398 h 12012"/>
              <a:gd name="T62" fmla="*/ 8984 w 16212"/>
              <a:gd name="T63" fmla="*/ 11761 h 12012"/>
              <a:gd name="T64" fmla="*/ 5586 w 16212"/>
              <a:gd name="T65" fmla="*/ 11021 h 12012"/>
              <a:gd name="T66" fmla="*/ 3245 w 16212"/>
              <a:gd name="T67" fmla="*/ 8040 h 12012"/>
              <a:gd name="T68" fmla="*/ 502 w 16212"/>
              <a:gd name="T69" fmla="*/ 8531 h 12012"/>
              <a:gd name="T70" fmla="*/ 6800 w 16212"/>
              <a:gd name="T71" fmla="*/ 8540 h 12012"/>
              <a:gd name="T72" fmla="*/ 7486 w 16212"/>
              <a:gd name="T73" fmla="*/ 10022 h 12012"/>
              <a:gd name="T74" fmla="*/ 6843 w 16212"/>
              <a:gd name="T75" fmla="*/ 11503 h 12012"/>
              <a:gd name="T76" fmla="*/ 1064 w 16212"/>
              <a:gd name="T77" fmla="*/ 11478 h 12012"/>
              <a:gd name="T78" fmla="*/ 79 w 16212"/>
              <a:gd name="T79" fmla="*/ 10828 h 12012"/>
              <a:gd name="T80" fmla="*/ 6237 w 16212"/>
              <a:gd name="T81" fmla="*/ 9276 h 12012"/>
              <a:gd name="T82" fmla="*/ 7231 w 16212"/>
              <a:gd name="T83" fmla="*/ 9776 h 12012"/>
              <a:gd name="T84" fmla="*/ 1099 w 16212"/>
              <a:gd name="T85" fmla="*/ 9023 h 12012"/>
              <a:gd name="T86" fmla="*/ 703 w 16212"/>
              <a:gd name="T87" fmla="*/ 11021 h 12012"/>
              <a:gd name="T88" fmla="*/ 502 w 16212"/>
              <a:gd name="T89" fmla="*/ 10022 h 12012"/>
              <a:gd name="T90" fmla="*/ 10979 w 16212"/>
              <a:gd name="T91" fmla="*/ 12012 h 12012"/>
              <a:gd name="T92" fmla="*/ 14215 w 16212"/>
              <a:gd name="T93" fmla="*/ 8286 h 12012"/>
              <a:gd name="T94" fmla="*/ 14110 w 16212"/>
              <a:gd name="T95" fmla="*/ 11021 h 12012"/>
              <a:gd name="T96" fmla="*/ 14989 w 16212"/>
              <a:gd name="T97" fmla="*/ 8531 h 12012"/>
              <a:gd name="T98" fmla="*/ 8796 w 16212"/>
              <a:gd name="T99" fmla="*/ 9461 h 12012"/>
              <a:gd name="T100" fmla="*/ 9201 w 16212"/>
              <a:gd name="T101" fmla="*/ 11424 h 12012"/>
              <a:gd name="T102" fmla="*/ 14989 w 16212"/>
              <a:gd name="T103" fmla="*/ 11521 h 12012"/>
              <a:gd name="T104" fmla="*/ 16001 w 16212"/>
              <a:gd name="T105" fmla="*/ 11390 h 12012"/>
              <a:gd name="T106" fmla="*/ 16001 w 16212"/>
              <a:gd name="T107" fmla="*/ 8663 h 12012"/>
              <a:gd name="T108" fmla="*/ 9070 w 16212"/>
              <a:gd name="T109" fmla="*/ 9628 h 12012"/>
              <a:gd name="T110" fmla="*/ 9483 w 16212"/>
              <a:gd name="T111" fmla="*/ 9031 h 12012"/>
              <a:gd name="T112" fmla="*/ 15508 w 16212"/>
              <a:gd name="T113" fmla="*/ 9031 h 12012"/>
              <a:gd name="T114" fmla="*/ 15693 w 16212"/>
              <a:gd name="T115" fmla="*/ 10276 h 12012"/>
              <a:gd name="T116" fmla="*/ 4986 w 16212"/>
              <a:gd name="T117" fmla="*/ 4862 h 12012"/>
              <a:gd name="T118" fmla="*/ 4986 w 16212"/>
              <a:gd name="T119" fmla="*/ 6891 h 120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212" h="12012">
                <a:moveTo>
                  <a:pt x="9148" y="11852"/>
                </a:moveTo>
                <a:lnTo>
                  <a:pt x="7065" y="11852"/>
                </a:lnTo>
                <a:lnTo>
                  <a:pt x="7089" y="11843"/>
                </a:lnTo>
                <a:lnTo>
                  <a:pt x="7111" y="11833"/>
                </a:lnTo>
                <a:lnTo>
                  <a:pt x="7132" y="11821"/>
                </a:lnTo>
                <a:lnTo>
                  <a:pt x="7154" y="11808"/>
                </a:lnTo>
                <a:lnTo>
                  <a:pt x="7204" y="11775"/>
                </a:lnTo>
                <a:lnTo>
                  <a:pt x="7229" y="11761"/>
                </a:lnTo>
                <a:lnTo>
                  <a:pt x="7251" y="11744"/>
                </a:lnTo>
                <a:lnTo>
                  <a:pt x="7273" y="11726"/>
                </a:lnTo>
                <a:lnTo>
                  <a:pt x="7294" y="11707"/>
                </a:lnTo>
                <a:lnTo>
                  <a:pt x="7364" y="11637"/>
                </a:lnTo>
                <a:lnTo>
                  <a:pt x="7363" y="11635"/>
                </a:lnTo>
                <a:lnTo>
                  <a:pt x="7375" y="11623"/>
                </a:lnTo>
                <a:lnTo>
                  <a:pt x="7387" y="11610"/>
                </a:lnTo>
                <a:lnTo>
                  <a:pt x="7398" y="11597"/>
                </a:lnTo>
                <a:lnTo>
                  <a:pt x="7408" y="11582"/>
                </a:lnTo>
                <a:lnTo>
                  <a:pt x="7470" y="11495"/>
                </a:lnTo>
                <a:lnTo>
                  <a:pt x="7512" y="11434"/>
                </a:lnTo>
                <a:lnTo>
                  <a:pt x="7526" y="11416"/>
                </a:lnTo>
                <a:lnTo>
                  <a:pt x="7540" y="11398"/>
                </a:lnTo>
                <a:lnTo>
                  <a:pt x="7552" y="11378"/>
                </a:lnTo>
                <a:lnTo>
                  <a:pt x="7563" y="11357"/>
                </a:lnTo>
                <a:lnTo>
                  <a:pt x="7616" y="11252"/>
                </a:lnTo>
                <a:lnTo>
                  <a:pt x="7614" y="11251"/>
                </a:lnTo>
                <a:lnTo>
                  <a:pt x="7619" y="11243"/>
                </a:lnTo>
                <a:lnTo>
                  <a:pt x="7623" y="11233"/>
                </a:lnTo>
                <a:lnTo>
                  <a:pt x="7626" y="11225"/>
                </a:lnTo>
                <a:lnTo>
                  <a:pt x="7630" y="11216"/>
                </a:lnTo>
                <a:lnTo>
                  <a:pt x="7660" y="11137"/>
                </a:lnTo>
                <a:lnTo>
                  <a:pt x="7665" y="11127"/>
                </a:lnTo>
                <a:lnTo>
                  <a:pt x="7669" y="11116"/>
                </a:lnTo>
                <a:lnTo>
                  <a:pt x="7674" y="11105"/>
                </a:lnTo>
                <a:lnTo>
                  <a:pt x="7678" y="11094"/>
                </a:lnTo>
                <a:lnTo>
                  <a:pt x="7722" y="10972"/>
                </a:lnTo>
                <a:lnTo>
                  <a:pt x="7722" y="10971"/>
                </a:lnTo>
                <a:lnTo>
                  <a:pt x="7730" y="10947"/>
                </a:lnTo>
                <a:lnTo>
                  <a:pt x="7766" y="10823"/>
                </a:lnTo>
                <a:lnTo>
                  <a:pt x="7800" y="10701"/>
                </a:lnTo>
                <a:lnTo>
                  <a:pt x="7800" y="10701"/>
                </a:lnTo>
                <a:lnTo>
                  <a:pt x="7807" y="10675"/>
                </a:lnTo>
                <a:lnTo>
                  <a:pt x="7833" y="10552"/>
                </a:lnTo>
                <a:lnTo>
                  <a:pt x="7832" y="10552"/>
                </a:lnTo>
                <a:lnTo>
                  <a:pt x="7834" y="10543"/>
                </a:lnTo>
                <a:lnTo>
                  <a:pt x="7836" y="10533"/>
                </a:lnTo>
                <a:lnTo>
                  <a:pt x="7839" y="10522"/>
                </a:lnTo>
                <a:lnTo>
                  <a:pt x="7840" y="10512"/>
                </a:lnTo>
                <a:lnTo>
                  <a:pt x="7863" y="10297"/>
                </a:lnTo>
                <a:lnTo>
                  <a:pt x="7867" y="10265"/>
                </a:lnTo>
                <a:lnTo>
                  <a:pt x="7884" y="10069"/>
                </a:lnTo>
                <a:lnTo>
                  <a:pt x="7885" y="10049"/>
                </a:lnTo>
                <a:lnTo>
                  <a:pt x="7886" y="10029"/>
                </a:lnTo>
                <a:lnTo>
                  <a:pt x="7886" y="10008"/>
                </a:lnTo>
                <a:lnTo>
                  <a:pt x="7885" y="9987"/>
                </a:lnTo>
                <a:lnTo>
                  <a:pt x="7867" y="9786"/>
                </a:lnTo>
                <a:lnTo>
                  <a:pt x="7867" y="9786"/>
                </a:lnTo>
                <a:lnTo>
                  <a:pt x="7866" y="9776"/>
                </a:lnTo>
                <a:lnTo>
                  <a:pt x="7840" y="9543"/>
                </a:lnTo>
                <a:lnTo>
                  <a:pt x="7839" y="9533"/>
                </a:lnTo>
                <a:lnTo>
                  <a:pt x="7836" y="9522"/>
                </a:lnTo>
                <a:lnTo>
                  <a:pt x="7835" y="9512"/>
                </a:lnTo>
                <a:lnTo>
                  <a:pt x="7833" y="9501"/>
                </a:lnTo>
                <a:lnTo>
                  <a:pt x="7810" y="9392"/>
                </a:lnTo>
                <a:lnTo>
                  <a:pt x="7808" y="9382"/>
                </a:lnTo>
                <a:lnTo>
                  <a:pt x="7806" y="9372"/>
                </a:lnTo>
                <a:lnTo>
                  <a:pt x="7803" y="9362"/>
                </a:lnTo>
                <a:lnTo>
                  <a:pt x="7800" y="9351"/>
                </a:lnTo>
                <a:lnTo>
                  <a:pt x="7766" y="9229"/>
                </a:lnTo>
                <a:lnTo>
                  <a:pt x="7735" y="9122"/>
                </a:lnTo>
                <a:lnTo>
                  <a:pt x="7732" y="9112"/>
                </a:lnTo>
                <a:lnTo>
                  <a:pt x="7729" y="9102"/>
                </a:lnTo>
                <a:lnTo>
                  <a:pt x="7726" y="9092"/>
                </a:lnTo>
                <a:lnTo>
                  <a:pt x="7722" y="9081"/>
                </a:lnTo>
                <a:lnTo>
                  <a:pt x="7678" y="8958"/>
                </a:lnTo>
                <a:lnTo>
                  <a:pt x="7676" y="8959"/>
                </a:lnTo>
                <a:lnTo>
                  <a:pt x="7673" y="8950"/>
                </a:lnTo>
                <a:lnTo>
                  <a:pt x="7642" y="8869"/>
                </a:lnTo>
                <a:lnTo>
                  <a:pt x="7637" y="8852"/>
                </a:lnTo>
                <a:lnTo>
                  <a:pt x="7631" y="8835"/>
                </a:lnTo>
                <a:lnTo>
                  <a:pt x="7624" y="8818"/>
                </a:lnTo>
                <a:lnTo>
                  <a:pt x="7616" y="8801"/>
                </a:lnTo>
                <a:lnTo>
                  <a:pt x="7563" y="8696"/>
                </a:lnTo>
                <a:lnTo>
                  <a:pt x="7562" y="8696"/>
                </a:lnTo>
                <a:lnTo>
                  <a:pt x="7557" y="8687"/>
                </a:lnTo>
                <a:lnTo>
                  <a:pt x="7552" y="8678"/>
                </a:lnTo>
                <a:lnTo>
                  <a:pt x="7547" y="8668"/>
                </a:lnTo>
                <a:lnTo>
                  <a:pt x="7541" y="8659"/>
                </a:lnTo>
                <a:lnTo>
                  <a:pt x="7497" y="8591"/>
                </a:lnTo>
                <a:lnTo>
                  <a:pt x="7489" y="8576"/>
                </a:lnTo>
                <a:lnTo>
                  <a:pt x="7480" y="8560"/>
                </a:lnTo>
                <a:lnTo>
                  <a:pt x="7470" y="8546"/>
                </a:lnTo>
                <a:lnTo>
                  <a:pt x="7459" y="8532"/>
                </a:lnTo>
                <a:lnTo>
                  <a:pt x="7407" y="8465"/>
                </a:lnTo>
                <a:lnTo>
                  <a:pt x="7397" y="8452"/>
                </a:lnTo>
                <a:lnTo>
                  <a:pt x="7387" y="8440"/>
                </a:lnTo>
                <a:lnTo>
                  <a:pt x="7375" y="8428"/>
                </a:lnTo>
                <a:lnTo>
                  <a:pt x="7364" y="8416"/>
                </a:lnTo>
                <a:lnTo>
                  <a:pt x="7294" y="8345"/>
                </a:lnTo>
                <a:lnTo>
                  <a:pt x="7293" y="8346"/>
                </a:lnTo>
                <a:lnTo>
                  <a:pt x="7279" y="8333"/>
                </a:lnTo>
                <a:lnTo>
                  <a:pt x="7265" y="8321"/>
                </a:lnTo>
                <a:lnTo>
                  <a:pt x="7249" y="8309"/>
                </a:lnTo>
                <a:lnTo>
                  <a:pt x="7233" y="8298"/>
                </a:lnTo>
                <a:lnTo>
                  <a:pt x="7165" y="8251"/>
                </a:lnTo>
                <a:lnTo>
                  <a:pt x="7144" y="8238"/>
                </a:lnTo>
                <a:lnTo>
                  <a:pt x="7124" y="8226"/>
                </a:lnTo>
                <a:lnTo>
                  <a:pt x="7103" y="8215"/>
                </a:lnTo>
                <a:lnTo>
                  <a:pt x="7081" y="8206"/>
                </a:lnTo>
                <a:lnTo>
                  <a:pt x="7036" y="8188"/>
                </a:lnTo>
                <a:lnTo>
                  <a:pt x="7036" y="8189"/>
                </a:lnTo>
                <a:lnTo>
                  <a:pt x="7019" y="8183"/>
                </a:lnTo>
                <a:lnTo>
                  <a:pt x="7002" y="8177"/>
                </a:lnTo>
                <a:lnTo>
                  <a:pt x="6984" y="8172"/>
                </a:lnTo>
                <a:lnTo>
                  <a:pt x="6966" y="8168"/>
                </a:lnTo>
                <a:lnTo>
                  <a:pt x="6957" y="8167"/>
                </a:lnTo>
                <a:lnTo>
                  <a:pt x="6949" y="8164"/>
                </a:lnTo>
                <a:lnTo>
                  <a:pt x="6940" y="8161"/>
                </a:lnTo>
                <a:lnTo>
                  <a:pt x="6931" y="8159"/>
                </a:lnTo>
                <a:lnTo>
                  <a:pt x="6922" y="8157"/>
                </a:lnTo>
                <a:lnTo>
                  <a:pt x="6878" y="8148"/>
                </a:lnTo>
                <a:lnTo>
                  <a:pt x="6878" y="8150"/>
                </a:lnTo>
                <a:lnTo>
                  <a:pt x="6872" y="8149"/>
                </a:lnTo>
                <a:lnTo>
                  <a:pt x="6858" y="8145"/>
                </a:lnTo>
                <a:lnTo>
                  <a:pt x="6843" y="8141"/>
                </a:lnTo>
                <a:lnTo>
                  <a:pt x="6829" y="8139"/>
                </a:lnTo>
                <a:lnTo>
                  <a:pt x="6815" y="8136"/>
                </a:lnTo>
                <a:lnTo>
                  <a:pt x="6800" y="8134"/>
                </a:lnTo>
                <a:lnTo>
                  <a:pt x="6786" y="8133"/>
                </a:lnTo>
                <a:lnTo>
                  <a:pt x="6771" y="8132"/>
                </a:lnTo>
                <a:lnTo>
                  <a:pt x="6755" y="8132"/>
                </a:lnTo>
                <a:lnTo>
                  <a:pt x="6638" y="8132"/>
                </a:lnTo>
                <a:lnTo>
                  <a:pt x="6638" y="8040"/>
                </a:lnTo>
                <a:lnTo>
                  <a:pt x="6637" y="8020"/>
                </a:lnTo>
                <a:lnTo>
                  <a:pt x="6636" y="8000"/>
                </a:lnTo>
                <a:lnTo>
                  <a:pt x="6633" y="7980"/>
                </a:lnTo>
                <a:lnTo>
                  <a:pt x="6630" y="7961"/>
                </a:lnTo>
                <a:lnTo>
                  <a:pt x="6625" y="7940"/>
                </a:lnTo>
                <a:lnTo>
                  <a:pt x="6620" y="7922"/>
                </a:lnTo>
                <a:lnTo>
                  <a:pt x="6613" y="7903"/>
                </a:lnTo>
                <a:lnTo>
                  <a:pt x="6605" y="7885"/>
                </a:lnTo>
                <a:lnTo>
                  <a:pt x="6598" y="7868"/>
                </a:lnTo>
                <a:lnTo>
                  <a:pt x="6589" y="7850"/>
                </a:lnTo>
                <a:lnTo>
                  <a:pt x="6579" y="7833"/>
                </a:lnTo>
                <a:lnTo>
                  <a:pt x="6569" y="7817"/>
                </a:lnTo>
                <a:lnTo>
                  <a:pt x="6558" y="7802"/>
                </a:lnTo>
                <a:lnTo>
                  <a:pt x="6546" y="7787"/>
                </a:lnTo>
                <a:lnTo>
                  <a:pt x="6533" y="7772"/>
                </a:lnTo>
                <a:lnTo>
                  <a:pt x="6520" y="7759"/>
                </a:lnTo>
                <a:lnTo>
                  <a:pt x="6506" y="7745"/>
                </a:lnTo>
                <a:lnTo>
                  <a:pt x="6492" y="7732"/>
                </a:lnTo>
                <a:lnTo>
                  <a:pt x="6477" y="7720"/>
                </a:lnTo>
                <a:lnTo>
                  <a:pt x="6460" y="7709"/>
                </a:lnTo>
                <a:lnTo>
                  <a:pt x="6444" y="7699"/>
                </a:lnTo>
                <a:lnTo>
                  <a:pt x="6428" y="7690"/>
                </a:lnTo>
                <a:lnTo>
                  <a:pt x="6410" y="7681"/>
                </a:lnTo>
                <a:lnTo>
                  <a:pt x="6393" y="7673"/>
                </a:lnTo>
                <a:lnTo>
                  <a:pt x="6374" y="7666"/>
                </a:lnTo>
                <a:lnTo>
                  <a:pt x="6356" y="7660"/>
                </a:lnTo>
                <a:lnTo>
                  <a:pt x="6337" y="7654"/>
                </a:lnTo>
                <a:lnTo>
                  <a:pt x="6318" y="7650"/>
                </a:lnTo>
                <a:lnTo>
                  <a:pt x="6297" y="7645"/>
                </a:lnTo>
                <a:lnTo>
                  <a:pt x="6278" y="7643"/>
                </a:lnTo>
                <a:lnTo>
                  <a:pt x="6257" y="7641"/>
                </a:lnTo>
                <a:lnTo>
                  <a:pt x="6237" y="7641"/>
                </a:lnTo>
                <a:lnTo>
                  <a:pt x="4741" y="7641"/>
                </a:lnTo>
                <a:lnTo>
                  <a:pt x="4721" y="7641"/>
                </a:lnTo>
                <a:lnTo>
                  <a:pt x="4700" y="7643"/>
                </a:lnTo>
                <a:lnTo>
                  <a:pt x="4680" y="7645"/>
                </a:lnTo>
                <a:lnTo>
                  <a:pt x="4661" y="7650"/>
                </a:lnTo>
                <a:lnTo>
                  <a:pt x="4641" y="7654"/>
                </a:lnTo>
                <a:lnTo>
                  <a:pt x="4622" y="7660"/>
                </a:lnTo>
                <a:lnTo>
                  <a:pt x="4603" y="7666"/>
                </a:lnTo>
                <a:lnTo>
                  <a:pt x="4585" y="7673"/>
                </a:lnTo>
                <a:lnTo>
                  <a:pt x="4568" y="7681"/>
                </a:lnTo>
                <a:lnTo>
                  <a:pt x="4551" y="7690"/>
                </a:lnTo>
                <a:lnTo>
                  <a:pt x="4533" y="7699"/>
                </a:lnTo>
                <a:lnTo>
                  <a:pt x="4517" y="7709"/>
                </a:lnTo>
                <a:lnTo>
                  <a:pt x="4502" y="7720"/>
                </a:lnTo>
                <a:lnTo>
                  <a:pt x="4487" y="7732"/>
                </a:lnTo>
                <a:lnTo>
                  <a:pt x="4471" y="7745"/>
                </a:lnTo>
                <a:lnTo>
                  <a:pt x="4458" y="7759"/>
                </a:lnTo>
                <a:lnTo>
                  <a:pt x="4445" y="7772"/>
                </a:lnTo>
                <a:lnTo>
                  <a:pt x="4432" y="7787"/>
                </a:lnTo>
                <a:lnTo>
                  <a:pt x="4420" y="7802"/>
                </a:lnTo>
                <a:lnTo>
                  <a:pt x="4409" y="7817"/>
                </a:lnTo>
                <a:lnTo>
                  <a:pt x="4399" y="7833"/>
                </a:lnTo>
                <a:lnTo>
                  <a:pt x="4388" y="7850"/>
                </a:lnTo>
                <a:lnTo>
                  <a:pt x="4380" y="7868"/>
                </a:lnTo>
                <a:lnTo>
                  <a:pt x="4372" y="7885"/>
                </a:lnTo>
                <a:lnTo>
                  <a:pt x="4365" y="7903"/>
                </a:lnTo>
                <a:lnTo>
                  <a:pt x="4359" y="7922"/>
                </a:lnTo>
                <a:lnTo>
                  <a:pt x="4353" y="7940"/>
                </a:lnTo>
                <a:lnTo>
                  <a:pt x="4349" y="7961"/>
                </a:lnTo>
                <a:lnTo>
                  <a:pt x="4345" y="7980"/>
                </a:lnTo>
                <a:lnTo>
                  <a:pt x="4343" y="8000"/>
                </a:lnTo>
                <a:lnTo>
                  <a:pt x="4341" y="8020"/>
                </a:lnTo>
                <a:lnTo>
                  <a:pt x="4341" y="8040"/>
                </a:lnTo>
                <a:lnTo>
                  <a:pt x="4341" y="8132"/>
                </a:lnTo>
                <a:lnTo>
                  <a:pt x="3647" y="8132"/>
                </a:lnTo>
                <a:lnTo>
                  <a:pt x="3647" y="8040"/>
                </a:lnTo>
                <a:lnTo>
                  <a:pt x="3646" y="8020"/>
                </a:lnTo>
                <a:lnTo>
                  <a:pt x="3645" y="8000"/>
                </a:lnTo>
                <a:lnTo>
                  <a:pt x="3642" y="7981"/>
                </a:lnTo>
                <a:lnTo>
                  <a:pt x="3639" y="7961"/>
                </a:lnTo>
                <a:lnTo>
                  <a:pt x="3635" y="7941"/>
                </a:lnTo>
                <a:lnTo>
                  <a:pt x="3628" y="7923"/>
                </a:lnTo>
                <a:lnTo>
                  <a:pt x="3622" y="7905"/>
                </a:lnTo>
                <a:lnTo>
                  <a:pt x="3615" y="7887"/>
                </a:lnTo>
                <a:lnTo>
                  <a:pt x="3608" y="7869"/>
                </a:lnTo>
                <a:lnTo>
                  <a:pt x="3599" y="7852"/>
                </a:lnTo>
                <a:lnTo>
                  <a:pt x="3590" y="7835"/>
                </a:lnTo>
                <a:lnTo>
                  <a:pt x="3580" y="7819"/>
                </a:lnTo>
                <a:lnTo>
                  <a:pt x="3569" y="7804"/>
                </a:lnTo>
                <a:lnTo>
                  <a:pt x="3557" y="7789"/>
                </a:lnTo>
                <a:lnTo>
                  <a:pt x="3544" y="7775"/>
                </a:lnTo>
                <a:lnTo>
                  <a:pt x="3531" y="7761"/>
                </a:lnTo>
                <a:lnTo>
                  <a:pt x="3518" y="7747"/>
                </a:lnTo>
                <a:lnTo>
                  <a:pt x="3504" y="7734"/>
                </a:lnTo>
                <a:lnTo>
                  <a:pt x="3489" y="7723"/>
                </a:lnTo>
                <a:lnTo>
                  <a:pt x="3473" y="7712"/>
                </a:lnTo>
                <a:lnTo>
                  <a:pt x="3457" y="7701"/>
                </a:lnTo>
                <a:lnTo>
                  <a:pt x="3440" y="7692"/>
                </a:lnTo>
                <a:lnTo>
                  <a:pt x="3424" y="7683"/>
                </a:lnTo>
                <a:lnTo>
                  <a:pt x="3407" y="7675"/>
                </a:lnTo>
                <a:lnTo>
                  <a:pt x="3388" y="7668"/>
                </a:lnTo>
                <a:lnTo>
                  <a:pt x="3370" y="7661"/>
                </a:lnTo>
                <a:lnTo>
                  <a:pt x="3351" y="7656"/>
                </a:lnTo>
                <a:lnTo>
                  <a:pt x="3332" y="7651"/>
                </a:lnTo>
                <a:lnTo>
                  <a:pt x="3312" y="7646"/>
                </a:lnTo>
                <a:lnTo>
                  <a:pt x="3293" y="7644"/>
                </a:lnTo>
                <a:lnTo>
                  <a:pt x="3273" y="7642"/>
                </a:lnTo>
                <a:lnTo>
                  <a:pt x="3253" y="7641"/>
                </a:lnTo>
                <a:lnTo>
                  <a:pt x="3254" y="2933"/>
                </a:lnTo>
                <a:lnTo>
                  <a:pt x="3522" y="2933"/>
                </a:lnTo>
                <a:lnTo>
                  <a:pt x="3813" y="2933"/>
                </a:lnTo>
                <a:lnTo>
                  <a:pt x="4122" y="2933"/>
                </a:lnTo>
                <a:lnTo>
                  <a:pt x="4446" y="2933"/>
                </a:lnTo>
                <a:lnTo>
                  <a:pt x="4783" y="2933"/>
                </a:lnTo>
                <a:lnTo>
                  <a:pt x="5127" y="2933"/>
                </a:lnTo>
                <a:lnTo>
                  <a:pt x="5479" y="2932"/>
                </a:lnTo>
                <a:lnTo>
                  <a:pt x="5833" y="2932"/>
                </a:lnTo>
                <a:lnTo>
                  <a:pt x="6188" y="2932"/>
                </a:lnTo>
                <a:lnTo>
                  <a:pt x="6540" y="2932"/>
                </a:lnTo>
                <a:lnTo>
                  <a:pt x="6885" y="2931"/>
                </a:lnTo>
                <a:lnTo>
                  <a:pt x="7221" y="2931"/>
                </a:lnTo>
                <a:lnTo>
                  <a:pt x="7546" y="2931"/>
                </a:lnTo>
                <a:lnTo>
                  <a:pt x="7855" y="2930"/>
                </a:lnTo>
                <a:lnTo>
                  <a:pt x="8145" y="2930"/>
                </a:lnTo>
                <a:lnTo>
                  <a:pt x="8414" y="2930"/>
                </a:lnTo>
                <a:lnTo>
                  <a:pt x="8414" y="0"/>
                </a:lnTo>
                <a:lnTo>
                  <a:pt x="13004" y="6"/>
                </a:lnTo>
                <a:lnTo>
                  <a:pt x="12973" y="7641"/>
                </a:lnTo>
                <a:lnTo>
                  <a:pt x="12967" y="7641"/>
                </a:lnTo>
                <a:lnTo>
                  <a:pt x="12945" y="7641"/>
                </a:lnTo>
                <a:lnTo>
                  <a:pt x="12925" y="7643"/>
                </a:lnTo>
                <a:lnTo>
                  <a:pt x="12905" y="7645"/>
                </a:lnTo>
                <a:lnTo>
                  <a:pt x="12886" y="7650"/>
                </a:lnTo>
                <a:lnTo>
                  <a:pt x="12866" y="7654"/>
                </a:lnTo>
                <a:lnTo>
                  <a:pt x="12847" y="7660"/>
                </a:lnTo>
                <a:lnTo>
                  <a:pt x="12829" y="7666"/>
                </a:lnTo>
                <a:lnTo>
                  <a:pt x="12811" y="7673"/>
                </a:lnTo>
                <a:lnTo>
                  <a:pt x="12792" y="7681"/>
                </a:lnTo>
                <a:lnTo>
                  <a:pt x="12775" y="7690"/>
                </a:lnTo>
                <a:lnTo>
                  <a:pt x="12759" y="7699"/>
                </a:lnTo>
                <a:lnTo>
                  <a:pt x="12743" y="7709"/>
                </a:lnTo>
                <a:lnTo>
                  <a:pt x="12726" y="7720"/>
                </a:lnTo>
                <a:lnTo>
                  <a:pt x="12711" y="7732"/>
                </a:lnTo>
                <a:lnTo>
                  <a:pt x="12697" y="7745"/>
                </a:lnTo>
                <a:lnTo>
                  <a:pt x="12683" y="7759"/>
                </a:lnTo>
                <a:lnTo>
                  <a:pt x="12670" y="7772"/>
                </a:lnTo>
                <a:lnTo>
                  <a:pt x="12657" y="7787"/>
                </a:lnTo>
                <a:lnTo>
                  <a:pt x="12645" y="7802"/>
                </a:lnTo>
                <a:lnTo>
                  <a:pt x="12634" y="7817"/>
                </a:lnTo>
                <a:lnTo>
                  <a:pt x="12623" y="7833"/>
                </a:lnTo>
                <a:lnTo>
                  <a:pt x="12614" y="7850"/>
                </a:lnTo>
                <a:lnTo>
                  <a:pt x="12605" y="7868"/>
                </a:lnTo>
                <a:lnTo>
                  <a:pt x="12597" y="7885"/>
                </a:lnTo>
                <a:lnTo>
                  <a:pt x="12590" y="7903"/>
                </a:lnTo>
                <a:lnTo>
                  <a:pt x="12584" y="7922"/>
                </a:lnTo>
                <a:lnTo>
                  <a:pt x="12578" y="7940"/>
                </a:lnTo>
                <a:lnTo>
                  <a:pt x="12573" y="7961"/>
                </a:lnTo>
                <a:lnTo>
                  <a:pt x="12570" y="7980"/>
                </a:lnTo>
                <a:lnTo>
                  <a:pt x="12567" y="8000"/>
                </a:lnTo>
                <a:lnTo>
                  <a:pt x="12566" y="8020"/>
                </a:lnTo>
                <a:lnTo>
                  <a:pt x="12565" y="8040"/>
                </a:lnTo>
                <a:lnTo>
                  <a:pt x="12565" y="8132"/>
                </a:lnTo>
                <a:lnTo>
                  <a:pt x="11871" y="8132"/>
                </a:lnTo>
                <a:lnTo>
                  <a:pt x="11871" y="8040"/>
                </a:lnTo>
                <a:lnTo>
                  <a:pt x="11871" y="8020"/>
                </a:lnTo>
                <a:lnTo>
                  <a:pt x="11869" y="8000"/>
                </a:lnTo>
                <a:lnTo>
                  <a:pt x="11867" y="7980"/>
                </a:lnTo>
                <a:lnTo>
                  <a:pt x="11863" y="7961"/>
                </a:lnTo>
                <a:lnTo>
                  <a:pt x="11859" y="7940"/>
                </a:lnTo>
                <a:lnTo>
                  <a:pt x="11853" y="7922"/>
                </a:lnTo>
                <a:lnTo>
                  <a:pt x="11847" y="7903"/>
                </a:lnTo>
                <a:lnTo>
                  <a:pt x="11840" y="7885"/>
                </a:lnTo>
                <a:lnTo>
                  <a:pt x="11832" y="7868"/>
                </a:lnTo>
                <a:lnTo>
                  <a:pt x="11823" y="7850"/>
                </a:lnTo>
                <a:lnTo>
                  <a:pt x="11813" y="7833"/>
                </a:lnTo>
                <a:lnTo>
                  <a:pt x="11803" y="7817"/>
                </a:lnTo>
                <a:lnTo>
                  <a:pt x="11792" y="7802"/>
                </a:lnTo>
                <a:lnTo>
                  <a:pt x="11780" y="7787"/>
                </a:lnTo>
                <a:lnTo>
                  <a:pt x="11767" y="7772"/>
                </a:lnTo>
                <a:lnTo>
                  <a:pt x="11754" y="7759"/>
                </a:lnTo>
                <a:lnTo>
                  <a:pt x="11741" y="7745"/>
                </a:lnTo>
                <a:lnTo>
                  <a:pt x="11725" y="7732"/>
                </a:lnTo>
                <a:lnTo>
                  <a:pt x="11710" y="7720"/>
                </a:lnTo>
                <a:lnTo>
                  <a:pt x="11695" y="7709"/>
                </a:lnTo>
                <a:lnTo>
                  <a:pt x="11679" y="7699"/>
                </a:lnTo>
                <a:lnTo>
                  <a:pt x="11661" y="7690"/>
                </a:lnTo>
                <a:lnTo>
                  <a:pt x="11644" y="7681"/>
                </a:lnTo>
                <a:lnTo>
                  <a:pt x="11627" y="7673"/>
                </a:lnTo>
                <a:lnTo>
                  <a:pt x="11609" y="7666"/>
                </a:lnTo>
                <a:lnTo>
                  <a:pt x="11590" y="7660"/>
                </a:lnTo>
                <a:lnTo>
                  <a:pt x="11571" y="7654"/>
                </a:lnTo>
                <a:lnTo>
                  <a:pt x="11551" y="7650"/>
                </a:lnTo>
                <a:lnTo>
                  <a:pt x="11532" y="7645"/>
                </a:lnTo>
                <a:lnTo>
                  <a:pt x="11512" y="7643"/>
                </a:lnTo>
                <a:lnTo>
                  <a:pt x="11491" y="7641"/>
                </a:lnTo>
                <a:lnTo>
                  <a:pt x="11471" y="7641"/>
                </a:lnTo>
                <a:lnTo>
                  <a:pt x="9975" y="7641"/>
                </a:lnTo>
                <a:lnTo>
                  <a:pt x="9955" y="7641"/>
                </a:lnTo>
                <a:lnTo>
                  <a:pt x="9934" y="7643"/>
                </a:lnTo>
                <a:lnTo>
                  <a:pt x="9915" y="7645"/>
                </a:lnTo>
                <a:lnTo>
                  <a:pt x="9894" y="7650"/>
                </a:lnTo>
                <a:lnTo>
                  <a:pt x="9875" y="7654"/>
                </a:lnTo>
                <a:lnTo>
                  <a:pt x="9856" y="7660"/>
                </a:lnTo>
                <a:lnTo>
                  <a:pt x="9838" y="7666"/>
                </a:lnTo>
                <a:lnTo>
                  <a:pt x="9819" y="7673"/>
                </a:lnTo>
                <a:lnTo>
                  <a:pt x="9802" y="7681"/>
                </a:lnTo>
                <a:lnTo>
                  <a:pt x="9784" y="7690"/>
                </a:lnTo>
                <a:lnTo>
                  <a:pt x="9768" y="7699"/>
                </a:lnTo>
                <a:lnTo>
                  <a:pt x="9752" y="7709"/>
                </a:lnTo>
                <a:lnTo>
                  <a:pt x="9735" y="7720"/>
                </a:lnTo>
                <a:lnTo>
                  <a:pt x="9720" y="7732"/>
                </a:lnTo>
                <a:lnTo>
                  <a:pt x="9706" y="7745"/>
                </a:lnTo>
                <a:lnTo>
                  <a:pt x="9692" y="7759"/>
                </a:lnTo>
                <a:lnTo>
                  <a:pt x="9679" y="7772"/>
                </a:lnTo>
                <a:lnTo>
                  <a:pt x="9666" y="7787"/>
                </a:lnTo>
                <a:lnTo>
                  <a:pt x="9654" y="7802"/>
                </a:lnTo>
                <a:lnTo>
                  <a:pt x="9643" y="7817"/>
                </a:lnTo>
                <a:lnTo>
                  <a:pt x="9633" y="7833"/>
                </a:lnTo>
                <a:lnTo>
                  <a:pt x="9623" y="7850"/>
                </a:lnTo>
                <a:lnTo>
                  <a:pt x="9614" y="7868"/>
                </a:lnTo>
                <a:lnTo>
                  <a:pt x="9607" y="7885"/>
                </a:lnTo>
                <a:lnTo>
                  <a:pt x="9599" y="7903"/>
                </a:lnTo>
                <a:lnTo>
                  <a:pt x="9592" y="7922"/>
                </a:lnTo>
                <a:lnTo>
                  <a:pt x="9587" y="7940"/>
                </a:lnTo>
                <a:lnTo>
                  <a:pt x="9582" y="7961"/>
                </a:lnTo>
                <a:lnTo>
                  <a:pt x="9579" y="7980"/>
                </a:lnTo>
                <a:lnTo>
                  <a:pt x="9576" y="8000"/>
                </a:lnTo>
                <a:lnTo>
                  <a:pt x="9575" y="8020"/>
                </a:lnTo>
                <a:lnTo>
                  <a:pt x="9574" y="8040"/>
                </a:lnTo>
                <a:lnTo>
                  <a:pt x="9574" y="8132"/>
                </a:lnTo>
                <a:lnTo>
                  <a:pt x="9457" y="8132"/>
                </a:lnTo>
                <a:lnTo>
                  <a:pt x="9441" y="8132"/>
                </a:lnTo>
                <a:lnTo>
                  <a:pt x="9426" y="8133"/>
                </a:lnTo>
                <a:lnTo>
                  <a:pt x="9412" y="8134"/>
                </a:lnTo>
                <a:lnTo>
                  <a:pt x="9397" y="8136"/>
                </a:lnTo>
                <a:lnTo>
                  <a:pt x="9383" y="8139"/>
                </a:lnTo>
                <a:lnTo>
                  <a:pt x="9369" y="8141"/>
                </a:lnTo>
                <a:lnTo>
                  <a:pt x="9354" y="8145"/>
                </a:lnTo>
                <a:lnTo>
                  <a:pt x="9340" y="8149"/>
                </a:lnTo>
                <a:lnTo>
                  <a:pt x="9334" y="8150"/>
                </a:lnTo>
                <a:lnTo>
                  <a:pt x="9334" y="8148"/>
                </a:lnTo>
                <a:lnTo>
                  <a:pt x="9290" y="8157"/>
                </a:lnTo>
                <a:lnTo>
                  <a:pt x="9281" y="8159"/>
                </a:lnTo>
                <a:lnTo>
                  <a:pt x="9272" y="8161"/>
                </a:lnTo>
                <a:lnTo>
                  <a:pt x="9263" y="8164"/>
                </a:lnTo>
                <a:lnTo>
                  <a:pt x="9255" y="8167"/>
                </a:lnTo>
                <a:lnTo>
                  <a:pt x="9246" y="8168"/>
                </a:lnTo>
                <a:lnTo>
                  <a:pt x="9228" y="8172"/>
                </a:lnTo>
                <a:lnTo>
                  <a:pt x="9210" y="8177"/>
                </a:lnTo>
                <a:lnTo>
                  <a:pt x="9193" y="8183"/>
                </a:lnTo>
                <a:lnTo>
                  <a:pt x="9176" y="8189"/>
                </a:lnTo>
                <a:lnTo>
                  <a:pt x="9176" y="8188"/>
                </a:lnTo>
                <a:lnTo>
                  <a:pt x="9131" y="8206"/>
                </a:lnTo>
                <a:lnTo>
                  <a:pt x="9113" y="8214"/>
                </a:lnTo>
                <a:lnTo>
                  <a:pt x="9095" y="8223"/>
                </a:lnTo>
                <a:lnTo>
                  <a:pt x="9077" y="8233"/>
                </a:lnTo>
                <a:lnTo>
                  <a:pt x="9059" y="8243"/>
                </a:lnTo>
                <a:lnTo>
                  <a:pt x="9059" y="8243"/>
                </a:lnTo>
                <a:lnTo>
                  <a:pt x="8980" y="8296"/>
                </a:lnTo>
                <a:lnTo>
                  <a:pt x="8964" y="8307"/>
                </a:lnTo>
                <a:lnTo>
                  <a:pt x="8948" y="8320"/>
                </a:lnTo>
                <a:lnTo>
                  <a:pt x="8933" y="8332"/>
                </a:lnTo>
                <a:lnTo>
                  <a:pt x="8919" y="8346"/>
                </a:lnTo>
                <a:lnTo>
                  <a:pt x="8918" y="8345"/>
                </a:lnTo>
                <a:lnTo>
                  <a:pt x="8848" y="8416"/>
                </a:lnTo>
                <a:lnTo>
                  <a:pt x="8836" y="8428"/>
                </a:lnTo>
                <a:lnTo>
                  <a:pt x="8825" y="8440"/>
                </a:lnTo>
                <a:lnTo>
                  <a:pt x="8815" y="8452"/>
                </a:lnTo>
                <a:lnTo>
                  <a:pt x="8805" y="8465"/>
                </a:lnTo>
                <a:lnTo>
                  <a:pt x="8753" y="8532"/>
                </a:lnTo>
                <a:lnTo>
                  <a:pt x="8742" y="8546"/>
                </a:lnTo>
                <a:lnTo>
                  <a:pt x="8732" y="8560"/>
                </a:lnTo>
                <a:lnTo>
                  <a:pt x="8723" y="8576"/>
                </a:lnTo>
                <a:lnTo>
                  <a:pt x="8715" y="8591"/>
                </a:lnTo>
                <a:lnTo>
                  <a:pt x="8671" y="8659"/>
                </a:lnTo>
                <a:lnTo>
                  <a:pt x="8665" y="8668"/>
                </a:lnTo>
                <a:lnTo>
                  <a:pt x="8660" y="8678"/>
                </a:lnTo>
                <a:lnTo>
                  <a:pt x="8655" y="8687"/>
                </a:lnTo>
                <a:lnTo>
                  <a:pt x="8650" y="8696"/>
                </a:lnTo>
                <a:lnTo>
                  <a:pt x="8649" y="8696"/>
                </a:lnTo>
                <a:lnTo>
                  <a:pt x="8596" y="8801"/>
                </a:lnTo>
                <a:lnTo>
                  <a:pt x="8588" y="8818"/>
                </a:lnTo>
                <a:lnTo>
                  <a:pt x="8581" y="8835"/>
                </a:lnTo>
                <a:lnTo>
                  <a:pt x="8575" y="8852"/>
                </a:lnTo>
                <a:lnTo>
                  <a:pt x="8570" y="8869"/>
                </a:lnTo>
                <a:lnTo>
                  <a:pt x="8539" y="8950"/>
                </a:lnTo>
                <a:lnTo>
                  <a:pt x="8536" y="8959"/>
                </a:lnTo>
                <a:lnTo>
                  <a:pt x="8534" y="8958"/>
                </a:lnTo>
                <a:lnTo>
                  <a:pt x="8490" y="9081"/>
                </a:lnTo>
                <a:lnTo>
                  <a:pt x="8486" y="9092"/>
                </a:lnTo>
                <a:lnTo>
                  <a:pt x="8483" y="9102"/>
                </a:lnTo>
                <a:lnTo>
                  <a:pt x="8480" y="9112"/>
                </a:lnTo>
                <a:lnTo>
                  <a:pt x="8477" y="9122"/>
                </a:lnTo>
                <a:lnTo>
                  <a:pt x="8446" y="9229"/>
                </a:lnTo>
                <a:lnTo>
                  <a:pt x="8412" y="9351"/>
                </a:lnTo>
                <a:lnTo>
                  <a:pt x="8409" y="9362"/>
                </a:lnTo>
                <a:lnTo>
                  <a:pt x="8406" y="9372"/>
                </a:lnTo>
                <a:lnTo>
                  <a:pt x="8404" y="9382"/>
                </a:lnTo>
                <a:lnTo>
                  <a:pt x="8402" y="9392"/>
                </a:lnTo>
                <a:lnTo>
                  <a:pt x="8379" y="9501"/>
                </a:lnTo>
                <a:lnTo>
                  <a:pt x="8377" y="9512"/>
                </a:lnTo>
                <a:lnTo>
                  <a:pt x="8376" y="9522"/>
                </a:lnTo>
                <a:lnTo>
                  <a:pt x="8373" y="9533"/>
                </a:lnTo>
                <a:lnTo>
                  <a:pt x="8372" y="9543"/>
                </a:lnTo>
                <a:lnTo>
                  <a:pt x="8346" y="9776"/>
                </a:lnTo>
                <a:lnTo>
                  <a:pt x="8345" y="9786"/>
                </a:lnTo>
                <a:lnTo>
                  <a:pt x="8345" y="9786"/>
                </a:lnTo>
                <a:lnTo>
                  <a:pt x="8327" y="9987"/>
                </a:lnTo>
                <a:lnTo>
                  <a:pt x="8326" y="10008"/>
                </a:lnTo>
                <a:lnTo>
                  <a:pt x="8326" y="10029"/>
                </a:lnTo>
                <a:lnTo>
                  <a:pt x="8327" y="10049"/>
                </a:lnTo>
                <a:lnTo>
                  <a:pt x="8328" y="10069"/>
                </a:lnTo>
                <a:lnTo>
                  <a:pt x="8345" y="10265"/>
                </a:lnTo>
                <a:lnTo>
                  <a:pt x="8349" y="10297"/>
                </a:lnTo>
                <a:lnTo>
                  <a:pt x="8372" y="10512"/>
                </a:lnTo>
                <a:lnTo>
                  <a:pt x="8373" y="10522"/>
                </a:lnTo>
                <a:lnTo>
                  <a:pt x="8376" y="10533"/>
                </a:lnTo>
                <a:lnTo>
                  <a:pt x="8378" y="10543"/>
                </a:lnTo>
                <a:lnTo>
                  <a:pt x="8380" y="10552"/>
                </a:lnTo>
                <a:lnTo>
                  <a:pt x="8379" y="10552"/>
                </a:lnTo>
                <a:lnTo>
                  <a:pt x="8405" y="10675"/>
                </a:lnTo>
                <a:lnTo>
                  <a:pt x="8412" y="10701"/>
                </a:lnTo>
                <a:lnTo>
                  <a:pt x="8412" y="10701"/>
                </a:lnTo>
                <a:lnTo>
                  <a:pt x="8446" y="10823"/>
                </a:lnTo>
                <a:lnTo>
                  <a:pt x="8482" y="10947"/>
                </a:lnTo>
                <a:lnTo>
                  <a:pt x="8490" y="10971"/>
                </a:lnTo>
                <a:lnTo>
                  <a:pt x="8490" y="10972"/>
                </a:lnTo>
                <a:lnTo>
                  <a:pt x="8534" y="11094"/>
                </a:lnTo>
                <a:lnTo>
                  <a:pt x="8538" y="11105"/>
                </a:lnTo>
                <a:lnTo>
                  <a:pt x="8543" y="11116"/>
                </a:lnTo>
                <a:lnTo>
                  <a:pt x="8547" y="11127"/>
                </a:lnTo>
                <a:lnTo>
                  <a:pt x="8552" y="11137"/>
                </a:lnTo>
                <a:lnTo>
                  <a:pt x="8582" y="11216"/>
                </a:lnTo>
                <a:lnTo>
                  <a:pt x="8586" y="11225"/>
                </a:lnTo>
                <a:lnTo>
                  <a:pt x="8589" y="11233"/>
                </a:lnTo>
                <a:lnTo>
                  <a:pt x="8593" y="11243"/>
                </a:lnTo>
                <a:lnTo>
                  <a:pt x="8597" y="11251"/>
                </a:lnTo>
                <a:lnTo>
                  <a:pt x="8596" y="11252"/>
                </a:lnTo>
                <a:lnTo>
                  <a:pt x="8649" y="11357"/>
                </a:lnTo>
                <a:lnTo>
                  <a:pt x="8660" y="11378"/>
                </a:lnTo>
                <a:lnTo>
                  <a:pt x="8672" y="11398"/>
                </a:lnTo>
                <a:lnTo>
                  <a:pt x="8686" y="11416"/>
                </a:lnTo>
                <a:lnTo>
                  <a:pt x="8700" y="11434"/>
                </a:lnTo>
                <a:lnTo>
                  <a:pt x="8742" y="11495"/>
                </a:lnTo>
                <a:lnTo>
                  <a:pt x="8804" y="11582"/>
                </a:lnTo>
                <a:lnTo>
                  <a:pt x="8814" y="11597"/>
                </a:lnTo>
                <a:lnTo>
                  <a:pt x="8825" y="11610"/>
                </a:lnTo>
                <a:lnTo>
                  <a:pt x="8837" y="11623"/>
                </a:lnTo>
                <a:lnTo>
                  <a:pt x="8849" y="11635"/>
                </a:lnTo>
                <a:lnTo>
                  <a:pt x="8848" y="11637"/>
                </a:lnTo>
                <a:lnTo>
                  <a:pt x="8918" y="11707"/>
                </a:lnTo>
                <a:lnTo>
                  <a:pt x="8929" y="11717"/>
                </a:lnTo>
                <a:lnTo>
                  <a:pt x="8939" y="11726"/>
                </a:lnTo>
                <a:lnTo>
                  <a:pt x="8950" y="11735"/>
                </a:lnTo>
                <a:lnTo>
                  <a:pt x="8961" y="11744"/>
                </a:lnTo>
                <a:lnTo>
                  <a:pt x="8984" y="11761"/>
                </a:lnTo>
                <a:lnTo>
                  <a:pt x="9008" y="11775"/>
                </a:lnTo>
                <a:lnTo>
                  <a:pt x="9058" y="11808"/>
                </a:lnTo>
                <a:lnTo>
                  <a:pt x="9080" y="11821"/>
                </a:lnTo>
                <a:lnTo>
                  <a:pt x="9102" y="11833"/>
                </a:lnTo>
                <a:lnTo>
                  <a:pt x="9124" y="11843"/>
                </a:lnTo>
                <a:lnTo>
                  <a:pt x="9148" y="11852"/>
                </a:lnTo>
                <a:close/>
                <a:moveTo>
                  <a:pt x="5586" y="11021"/>
                </a:moveTo>
                <a:lnTo>
                  <a:pt x="5885" y="11021"/>
                </a:lnTo>
                <a:lnTo>
                  <a:pt x="5964" y="11767"/>
                </a:lnTo>
                <a:lnTo>
                  <a:pt x="6237" y="11767"/>
                </a:lnTo>
                <a:lnTo>
                  <a:pt x="6237" y="12012"/>
                </a:lnTo>
                <a:lnTo>
                  <a:pt x="5233" y="12012"/>
                </a:lnTo>
                <a:lnTo>
                  <a:pt x="5233" y="11767"/>
                </a:lnTo>
                <a:lnTo>
                  <a:pt x="5515" y="11767"/>
                </a:lnTo>
                <a:lnTo>
                  <a:pt x="5586" y="11021"/>
                </a:lnTo>
                <a:close/>
                <a:moveTo>
                  <a:pt x="5981" y="8531"/>
                </a:moveTo>
                <a:lnTo>
                  <a:pt x="4987" y="8531"/>
                </a:lnTo>
                <a:lnTo>
                  <a:pt x="4987" y="8286"/>
                </a:lnTo>
                <a:lnTo>
                  <a:pt x="4741" y="8286"/>
                </a:lnTo>
                <a:lnTo>
                  <a:pt x="4741" y="8040"/>
                </a:lnTo>
                <a:lnTo>
                  <a:pt x="6237" y="8040"/>
                </a:lnTo>
                <a:lnTo>
                  <a:pt x="6237" y="8286"/>
                </a:lnTo>
                <a:lnTo>
                  <a:pt x="5981" y="8286"/>
                </a:lnTo>
                <a:lnTo>
                  <a:pt x="5981" y="8531"/>
                </a:lnTo>
                <a:close/>
                <a:moveTo>
                  <a:pt x="2991" y="8531"/>
                </a:moveTo>
                <a:lnTo>
                  <a:pt x="1997" y="8531"/>
                </a:lnTo>
                <a:lnTo>
                  <a:pt x="1997" y="8286"/>
                </a:lnTo>
                <a:lnTo>
                  <a:pt x="1751" y="8286"/>
                </a:lnTo>
                <a:lnTo>
                  <a:pt x="1751" y="8040"/>
                </a:lnTo>
                <a:lnTo>
                  <a:pt x="3245" y="8040"/>
                </a:lnTo>
                <a:lnTo>
                  <a:pt x="3245" y="8286"/>
                </a:lnTo>
                <a:lnTo>
                  <a:pt x="2991" y="8286"/>
                </a:lnTo>
                <a:lnTo>
                  <a:pt x="2991" y="8531"/>
                </a:lnTo>
                <a:close/>
                <a:moveTo>
                  <a:pt x="2102" y="11021"/>
                </a:moveTo>
                <a:lnTo>
                  <a:pt x="2392" y="11021"/>
                </a:lnTo>
                <a:lnTo>
                  <a:pt x="2471" y="11767"/>
                </a:lnTo>
                <a:lnTo>
                  <a:pt x="2745" y="11767"/>
                </a:lnTo>
                <a:lnTo>
                  <a:pt x="2745" y="12012"/>
                </a:lnTo>
                <a:lnTo>
                  <a:pt x="1751" y="12012"/>
                </a:lnTo>
                <a:lnTo>
                  <a:pt x="1751" y="11767"/>
                </a:lnTo>
                <a:lnTo>
                  <a:pt x="2023" y="11767"/>
                </a:lnTo>
                <a:lnTo>
                  <a:pt x="2102" y="11021"/>
                </a:lnTo>
                <a:close/>
                <a:moveTo>
                  <a:pt x="246" y="8531"/>
                </a:moveTo>
                <a:lnTo>
                  <a:pt x="502" y="8531"/>
                </a:lnTo>
                <a:lnTo>
                  <a:pt x="502" y="8531"/>
                </a:lnTo>
                <a:lnTo>
                  <a:pt x="475" y="8602"/>
                </a:lnTo>
                <a:lnTo>
                  <a:pt x="431" y="8786"/>
                </a:lnTo>
                <a:lnTo>
                  <a:pt x="836" y="8786"/>
                </a:lnTo>
                <a:lnTo>
                  <a:pt x="836" y="8786"/>
                </a:lnTo>
                <a:lnTo>
                  <a:pt x="880" y="8733"/>
                </a:lnTo>
                <a:lnTo>
                  <a:pt x="915" y="8681"/>
                </a:lnTo>
                <a:lnTo>
                  <a:pt x="968" y="8637"/>
                </a:lnTo>
                <a:lnTo>
                  <a:pt x="1011" y="8602"/>
                </a:lnTo>
                <a:lnTo>
                  <a:pt x="1064" y="8576"/>
                </a:lnTo>
                <a:lnTo>
                  <a:pt x="1108" y="8549"/>
                </a:lnTo>
                <a:lnTo>
                  <a:pt x="1170" y="8540"/>
                </a:lnTo>
                <a:lnTo>
                  <a:pt x="1223" y="8531"/>
                </a:lnTo>
                <a:lnTo>
                  <a:pt x="6755" y="8531"/>
                </a:lnTo>
                <a:lnTo>
                  <a:pt x="6755" y="8531"/>
                </a:lnTo>
                <a:lnTo>
                  <a:pt x="6800" y="8540"/>
                </a:lnTo>
                <a:lnTo>
                  <a:pt x="6843" y="8549"/>
                </a:lnTo>
                <a:lnTo>
                  <a:pt x="6888" y="8558"/>
                </a:lnTo>
                <a:lnTo>
                  <a:pt x="6932" y="8576"/>
                </a:lnTo>
                <a:lnTo>
                  <a:pt x="7011" y="8628"/>
                </a:lnTo>
                <a:lnTo>
                  <a:pt x="7081" y="8698"/>
                </a:lnTo>
                <a:lnTo>
                  <a:pt x="7142" y="8777"/>
                </a:lnTo>
                <a:lnTo>
                  <a:pt x="7204" y="8873"/>
                </a:lnTo>
                <a:lnTo>
                  <a:pt x="7257" y="8978"/>
                </a:lnTo>
                <a:lnTo>
                  <a:pt x="7301" y="9093"/>
                </a:lnTo>
                <a:lnTo>
                  <a:pt x="7345" y="9216"/>
                </a:lnTo>
                <a:lnTo>
                  <a:pt x="7381" y="9338"/>
                </a:lnTo>
                <a:lnTo>
                  <a:pt x="7415" y="9461"/>
                </a:lnTo>
                <a:lnTo>
                  <a:pt x="7441" y="9583"/>
                </a:lnTo>
                <a:lnTo>
                  <a:pt x="7469" y="9821"/>
                </a:lnTo>
                <a:lnTo>
                  <a:pt x="7486" y="10022"/>
                </a:lnTo>
                <a:lnTo>
                  <a:pt x="7486" y="10022"/>
                </a:lnTo>
                <a:lnTo>
                  <a:pt x="7469" y="10233"/>
                </a:lnTo>
                <a:lnTo>
                  <a:pt x="7441" y="10469"/>
                </a:lnTo>
                <a:lnTo>
                  <a:pt x="7415" y="10592"/>
                </a:lnTo>
                <a:lnTo>
                  <a:pt x="7381" y="10714"/>
                </a:lnTo>
                <a:lnTo>
                  <a:pt x="7345" y="10838"/>
                </a:lnTo>
                <a:lnTo>
                  <a:pt x="7301" y="10960"/>
                </a:lnTo>
                <a:lnTo>
                  <a:pt x="7257" y="11074"/>
                </a:lnTo>
                <a:lnTo>
                  <a:pt x="7204" y="11179"/>
                </a:lnTo>
                <a:lnTo>
                  <a:pt x="7142" y="11267"/>
                </a:lnTo>
                <a:lnTo>
                  <a:pt x="7081" y="11355"/>
                </a:lnTo>
                <a:lnTo>
                  <a:pt x="7011" y="11424"/>
                </a:lnTo>
                <a:lnTo>
                  <a:pt x="6932" y="11478"/>
                </a:lnTo>
                <a:lnTo>
                  <a:pt x="6888" y="11495"/>
                </a:lnTo>
                <a:lnTo>
                  <a:pt x="6843" y="11503"/>
                </a:lnTo>
                <a:lnTo>
                  <a:pt x="6800" y="11512"/>
                </a:lnTo>
                <a:lnTo>
                  <a:pt x="6755" y="11521"/>
                </a:lnTo>
                <a:lnTo>
                  <a:pt x="6184" y="11521"/>
                </a:lnTo>
                <a:lnTo>
                  <a:pt x="6026" y="10776"/>
                </a:lnTo>
                <a:lnTo>
                  <a:pt x="5445" y="10776"/>
                </a:lnTo>
                <a:lnTo>
                  <a:pt x="5287" y="11521"/>
                </a:lnTo>
                <a:lnTo>
                  <a:pt x="2692" y="11521"/>
                </a:lnTo>
                <a:lnTo>
                  <a:pt x="2542" y="10776"/>
                </a:lnTo>
                <a:lnTo>
                  <a:pt x="1953" y="10776"/>
                </a:lnTo>
                <a:lnTo>
                  <a:pt x="1794" y="11521"/>
                </a:lnTo>
                <a:lnTo>
                  <a:pt x="1223" y="11521"/>
                </a:lnTo>
                <a:lnTo>
                  <a:pt x="1223" y="11521"/>
                </a:lnTo>
                <a:lnTo>
                  <a:pt x="1170" y="11512"/>
                </a:lnTo>
                <a:lnTo>
                  <a:pt x="1108" y="11495"/>
                </a:lnTo>
                <a:lnTo>
                  <a:pt x="1064" y="11478"/>
                </a:lnTo>
                <a:lnTo>
                  <a:pt x="1011" y="11451"/>
                </a:lnTo>
                <a:lnTo>
                  <a:pt x="968" y="11416"/>
                </a:lnTo>
                <a:lnTo>
                  <a:pt x="915" y="11372"/>
                </a:lnTo>
                <a:lnTo>
                  <a:pt x="880" y="11319"/>
                </a:lnTo>
                <a:lnTo>
                  <a:pt x="836" y="11267"/>
                </a:lnTo>
                <a:lnTo>
                  <a:pt x="431" y="11267"/>
                </a:lnTo>
                <a:lnTo>
                  <a:pt x="431" y="11267"/>
                </a:lnTo>
                <a:lnTo>
                  <a:pt x="475" y="11451"/>
                </a:lnTo>
                <a:lnTo>
                  <a:pt x="502" y="11521"/>
                </a:lnTo>
                <a:lnTo>
                  <a:pt x="246" y="11521"/>
                </a:lnTo>
                <a:lnTo>
                  <a:pt x="246" y="11521"/>
                </a:lnTo>
                <a:lnTo>
                  <a:pt x="211" y="11390"/>
                </a:lnTo>
                <a:lnTo>
                  <a:pt x="176" y="11240"/>
                </a:lnTo>
                <a:lnTo>
                  <a:pt x="123" y="11048"/>
                </a:lnTo>
                <a:lnTo>
                  <a:pt x="79" y="10828"/>
                </a:lnTo>
                <a:lnTo>
                  <a:pt x="44" y="10574"/>
                </a:lnTo>
                <a:lnTo>
                  <a:pt x="9" y="10302"/>
                </a:lnTo>
                <a:lnTo>
                  <a:pt x="0" y="10162"/>
                </a:lnTo>
                <a:lnTo>
                  <a:pt x="0" y="10022"/>
                </a:lnTo>
                <a:lnTo>
                  <a:pt x="0" y="10022"/>
                </a:lnTo>
                <a:lnTo>
                  <a:pt x="0" y="9881"/>
                </a:lnTo>
                <a:lnTo>
                  <a:pt x="9" y="9750"/>
                </a:lnTo>
                <a:lnTo>
                  <a:pt x="44" y="9478"/>
                </a:lnTo>
                <a:lnTo>
                  <a:pt x="79" y="9224"/>
                </a:lnTo>
                <a:lnTo>
                  <a:pt x="123" y="8997"/>
                </a:lnTo>
                <a:lnTo>
                  <a:pt x="176" y="8812"/>
                </a:lnTo>
                <a:lnTo>
                  <a:pt x="211" y="8663"/>
                </a:lnTo>
                <a:lnTo>
                  <a:pt x="246" y="8531"/>
                </a:lnTo>
                <a:lnTo>
                  <a:pt x="246" y="8531"/>
                </a:lnTo>
                <a:close/>
                <a:moveTo>
                  <a:pt x="6237" y="9276"/>
                </a:moveTo>
                <a:lnTo>
                  <a:pt x="6237" y="9276"/>
                </a:lnTo>
                <a:lnTo>
                  <a:pt x="6483" y="9276"/>
                </a:lnTo>
                <a:lnTo>
                  <a:pt x="6483" y="9276"/>
                </a:lnTo>
                <a:lnTo>
                  <a:pt x="6562" y="9285"/>
                </a:lnTo>
                <a:lnTo>
                  <a:pt x="6642" y="9295"/>
                </a:lnTo>
                <a:lnTo>
                  <a:pt x="6712" y="9312"/>
                </a:lnTo>
                <a:lnTo>
                  <a:pt x="6774" y="9338"/>
                </a:lnTo>
                <a:lnTo>
                  <a:pt x="6834" y="9364"/>
                </a:lnTo>
                <a:lnTo>
                  <a:pt x="6888" y="9390"/>
                </a:lnTo>
                <a:lnTo>
                  <a:pt x="6984" y="9461"/>
                </a:lnTo>
                <a:lnTo>
                  <a:pt x="7072" y="9549"/>
                </a:lnTo>
                <a:lnTo>
                  <a:pt x="7142" y="9628"/>
                </a:lnTo>
                <a:lnTo>
                  <a:pt x="7195" y="9707"/>
                </a:lnTo>
                <a:lnTo>
                  <a:pt x="7231" y="9776"/>
                </a:lnTo>
                <a:lnTo>
                  <a:pt x="7231" y="9776"/>
                </a:lnTo>
                <a:lnTo>
                  <a:pt x="7213" y="9662"/>
                </a:lnTo>
                <a:lnTo>
                  <a:pt x="7187" y="9549"/>
                </a:lnTo>
                <a:lnTo>
                  <a:pt x="7152" y="9417"/>
                </a:lnTo>
                <a:lnTo>
                  <a:pt x="7099" y="9303"/>
                </a:lnTo>
                <a:lnTo>
                  <a:pt x="7072" y="9242"/>
                </a:lnTo>
                <a:lnTo>
                  <a:pt x="7037" y="9198"/>
                </a:lnTo>
                <a:lnTo>
                  <a:pt x="6993" y="9145"/>
                </a:lnTo>
                <a:lnTo>
                  <a:pt x="6949" y="9110"/>
                </a:lnTo>
                <a:lnTo>
                  <a:pt x="6905" y="9075"/>
                </a:lnTo>
                <a:lnTo>
                  <a:pt x="6853" y="9049"/>
                </a:lnTo>
                <a:lnTo>
                  <a:pt x="6800" y="9040"/>
                </a:lnTo>
                <a:lnTo>
                  <a:pt x="6729" y="9031"/>
                </a:lnTo>
                <a:lnTo>
                  <a:pt x="6729" y="9031"/>
                </a:lnTo>
                <a:lnTo>
                  <a:pt x="6237" y="9031"/>
                </a:lnTo>
                <a:lnTo>
                  <a:pt x="1099" y="9023"/>
                </a:lnTo>
                <a:lnTo>
                  <a:pt x="1003" y="9276"/>
                </a:lnTo>
                <a:lnTo>
                  <a:pt x="6237" y="9276"/>
                </a:lnTo>
                <a:close/>
                <a:moveTo>
                  <a:pt x="370" y="9031"/>
                </a:moveTo>
                <a:lnTo>
                  <a:pt x="370" y="9031"/>
                </a:lnTo>
                <a:lnTo>
                  <a:pt x="325" y="9268"/>
                </a:lnTo>
                <a:lnTo>
                  <a:pt x="282" y="9531"/>
                </a:lnTo>
                <a:lnTo>
                  <a:pt x="554" y="9531"/>
                </a:lnTo>
                <a:lnTo>
                  <a:pt x="554" y="9531"/>
                </a:lnTo>
                <a:lnTo>
                  <a:pt x="581" y="9400"/>
                </a:lnTo>
                <a:lnTo>
                  <a:pt x="616" y="9276"/>
                </a:lnTo>
                <a:lnTo>
                  <a:pt x="660" y="9154"/>
                </a:lnTo>
                <a:lnTo>
                  <a:pt x="703" y="9031"/>
                </a:lnTo>
                <a:lnTo>
                  <a:pt x="370" y="9031"/>
                </a:lnTo>
                <a:close/>
                <a:moveTo>
                  <a:pt x="370" y="11021"/>
                </a:moveTo>
                <a:lnTo>
                  <a:pt x="703" y="11021"/>
                </a:lnTo>
                <a:lnTo>
                  <a:pt x="703" y="11021"/>
                </a:lnTo>
                <a:lnTo>
                  <a:pt x="660" y="10899"/>
                </a:lnTo>
                <a:lnTo>
                  <a:pt x="616" y="10776"/>
                </a:lnTo>
                <a:lnTo>
                  <a:pt x="581" y="10653"/>
                </a:lnTo>
                <a:lnTo>
                  <a:pt x="554" y="10521"/>
                </a:lnTo>
                <a:lnTo>
                  <a:pt x="282" y="10521"/>
                </a:lnTo>
                <a:lnTo>
                  <a:pt x="282" y="10521"/>
                </a:lnTo>
                <a:lnTo>
                  <a:pt x="325" y="10785"/>
                </a:lnTo>
                <a:lnTo>
                  <a:pt x="370" y="11021"/>
                </a:lnTo>
                <a:lnTo>
                  <a:pt x="370" y="11021"/>
                </a:lnTo>
                <a:close/>
                <a:moveTo>
                  <a:pt x="255" y="10276"/>
                </a:moveTo>
                <a:lnTo>
                  <a:pt x="519" y="10276"/>
                </a:lnTo>
                <a:lnTo>
                  <a:pt x="519" y="10276"/>
                </a:lnTo>
                <a:lnTo>
                  <a:pt x="502" y="10145"/>
                </a:lnTo>
                <a:lnTo>
                  <a:pt x="502" y="10022"/>
                </a:lnTo>
                <a:lnTo>
                  <a:pt x="502" y="10022"/>
                </a:lnTo>
                <a:lnTo>
                  <a:pt x="502" y="9908"/>
                </a:lnTo>
                <a:lnTo>
                  <a:pt x="519" y="9776"/>
                </a:lnTo>
                <a:lnTo>
                  <a:pt x="255" y="9776"/>
                </a:lnTo>
                <a:lnTo>
                  <a:pt x="255" y="9776"/>
                </a:lnTo>
                <a:lnTo>
                  <a:pt x="246" y="10022"/>
                </a:lnTo>
                <a:lnTo>
                  <a:pt x="246" y="10022"/>
                </a:lnTo>
                <a:lnTo>
                  <a:pt x="255" y="10276"/>
                </a:lnTo>
                <a:lnTo>
                  <a:pt x="255" y="10276"/>
                </a:lnTo>
                <a:close/>
                <a:moveTo>
                  <a:pt x="10626" y="11021"/>
                </a:moveTo>
                <a:lnTo>
                  <a:pt x="10327" y="11021"/>
                </a:lnTo>
                <a:lnTo>
                  <a:pt x="10248" y="11767"/>
                </a:lnTo>
                <a:lnTo>
                  <a:pt x="9975" y="11767"/>
                </a:lnTo>
                <a:lnTo>
                  <a:pt x="9975" y="12012"/>
                </a:lnTo>
                <a:lnTo>
                  <a:pt x="10979" y="12012"/>
                </a:lnTo>
                <a:lnTo>
                  <a:pt x="10979" y="11767"/>
                </a:lnTo>
                <a:lnTo>
                  <a:pt x="10697" y="11767"/>
                </a:lnTo>
                <a:lnTo>
                  <a:pt x="10626" y="11021"/>
                </a:lnTo>
                <a:close/>
                <a:moveTo>
                  <a:pt x="10231" y="8531"/>
                </a:moveTo>
                <a:lnTo>
                  <a:pt x="11225" y="8531"/>
                </a:lnTo>
                <a:lnTo>
                  <a:pt x="11225" y="8286"/>
                </a:lnTo>
                <a:lnTo>
                  <a:pt x="11471" y="8286"/>
                </a:lnTo>
                <a:lnTo>
                  <a:pt x="11471" y="8040"/>
                </a:lnTo>
                <a:lnTo>
                  <a:pt x="9975" y="8040"/>
                </a:lnTo>
                <a:lnTo>
                  <a:pt x="9975" y="8286"/>
                </a:lnTo>
                <a:lnTo>
                  <a:pt x="10231" y="8286"/>
                </a:lnTo>
                <a:lnTo>
                  <a:pt x="10231" y="8531"/>
                </a:lnTo>
                <a:close/>
                <a:moveTo>
                  <a:pt x="13221" y="8531"/>
                </a:moveTo>
                <a:lnTo>
                  <a:pt x="14215" y="8531"/>
                </a:lnTo>
                <a:lnTo>
                  <a:pt x="14215" y="8286"/>
                </a:lnTo>
                <a:lnTo>
                  <a:pt x="14461" y="8286"/>
                </a:lnTo>
                <a:lnTo>
                  <a:pt x="14461" y="8040"/>
                </a:lnTo>
                <a:lnTo>
                  <a:pt x="12967" y="8040"/>
                </a:lnTo>
                <a:lnTo>
                  <a:pt x="12967" y="8286"/>
                </a:lnTo>
                <a:lnTo>
                  <a:pt x="13221" y="8286"/>
                </a:lnTo>
                <a:lnTo>
                  <a:pt x="13221" y="8531"/>
                </a:lnTo>
                <a:close/>
                <a:moveTo>
                  <a:pt x="14110" y="11021"/>
                </a:moveTo>
                <a:lnTo>
                  <a:pt x="13820" y="11021"/>
                </a:lnTo>
                <a:lnTo>
                  <a:pt x="13741" y="11767"/>
                </a:lnTo>
                <a:lnTo>
                  <a:pt x="13467" y="11767"/>
                </a:lnTo>
                <a:lnTo>
                  <a:pt x="13467" y="12012"/>
                </a:lnTo>
                <a:lnTo>
                  <a:pt x="14461" y="12012"/>
                </a:lnTo>
                <a:lnTo>
                  <a:pt x="14461" y="11767"/>
                </a:lnTo>
                <a:lnTo>
                  <a:pt x="14189" y="11767"/>
                </a:lnTo>
                <a:lnTo>
                  <a:pt x="14110" y="11021"/>
                </a:lnTo>
                <a:close/>
                <a:moveTo>
                  <a:pt x="15966" y="8531"/>
                </a:moveTo>
                <a:lnTo>
                  <a:pt x="15710" y="8531"/>
                </a:lnTo>
                <a:lnTo>
                  <a:pt x="15710" y="8531"/>
                </a:lnTo>
                <a:lnTo>
                  <a:pt x="15737" y="8602"/>
                </a:lnTo>
                <a:lnTo>
                  <a:pt x="15781" y="8786"/>
                </a:lnTo>
                <a:lnTo>
                  <a:pt x="15376" y="8786"/>
                </a:lnTo>
                <a:lnTo>
                  <a:pt x="15376" y="8786"/>
                </a:lnTo>
                <a:lnTo>
                  <a:pt x="15332" y="8733"/>
                </a:lnTo>
                <a:lnTo>
                  <a:pt x="15297" y="8681"/>
                </a:lnTo>
                <a:lnTo>
                  <a:pt x="15244" y="8637"/>
                </a:lnTo>
                <a:lnTo>
                  <a:pt x="15201" y="8602"/>
                </a:lnTo>
                <a:lnTo>
                  <a:pt x="15148" y="8576"/>
                </a:lnTo>
                <a:lnTo>
                  <a:pt x="15104" y="8549"/>
                </a:lnTo>
                <a:lnTo>
                  <a:pt x="15042" y="8540"/>
                </a:lnTo>
                <a:lnTo>
                  <a:pt x="14989" y="8531"/>
                </a:lnTo>
                <a:lnTo>
                  <a:pt x="9457" y="8531"/>
                </a:lnTo>
                <a:lnTo>
                  <a:pt x="9457" y="8531"/>
                </a:lnTo>
                <a:lnTo>
                  <a:pt x="9412" y="8540"/>
                </a:lnTo>
                <a:lnTo>
                  <a:pt x="9369" y="8549"/>
                </a:lnTo>
                <a:lnTo>
                  <a:pt x="9324" y="8558"/>
                </a:lnTo>
                <a:lnTo>
                  <a:pt x="9280" y="8576"/>
                </a:lnTo>
                <a:lnTo>
                  <a:pt x="9201" y="8628"/>
                </a:lnTo>
                <a:lnTo>
                  <a:pt x="9131" y="8698"/>
                </a:lnTo>
                <a:lnTo>
                  <a:pt x="9070" y="8777"/>
                </a:lnTo>
                <a:lnTo>
                  <a:pt x="9008" y="8873"/>
                </a:lnTo>
                <a:lnTo>
                  <a:pt x="8955" y="8978"/>
                </a:lnTo>
                <a:lnTo>
                  <a:pt x="8911" y="9093"/>
                </a:lnTo>
                <a:lnTo>
                  <a:pt x="8867" y="9216"/>
                </a:lnTo>
                <a:lnTo>
                  <a:pt x="8831" y="9338"/>
                </a:lnTo>
                <a:lnTo>
                  <a:pt x="8796" y="9461"/>
                </a:lnTo>
                <a:lnTo>
                  <a:pt x="8771" y="9583"/>
                </a:lnTo>
                <a:lnTo>
                  <a:pt x="8743" y="9821"/>
                </a:lnTo>
                <a:lnTo>
                  <a:pt x="8726" y="10022"/>
                </a:lnTo>
                <a:lnTo>
                  <a:pt x="8726" y="10022"/>
                </a:lnTo>
                <a:lnTo>
                  <a:pt x="8743" y="10233"/>
                </a:lnTo>
                <a:lnTo>
                  <a:pt x="8771" y="10469"/>
                </a:lnTo>
                <a:lnTo>
                  <a:pt x="8796" y="10592"/>
                </a:lnTo>
                <a:lnTo>
                  <a:pt x="8831" y="10714"/>
                </a:lnTo>
                <a:lnTo>
                  <a:pt x="8867" y="10838"/>
                </a:lnTo>
                <a:lnTo>
                  <a:pt x="8911" y="10960"/>
                </a:lnTo>
                <a:lnTo>
                  <a:pt x="8955" y="11074"/>
                </a:lnTo>
                <a:lnTo>
                  <a:pt x="9008" y="11179"/>
                </a:lnTo>
                <a:lnTo>
                  <a:pt x="9070" y="11267"/>
                </a:lnTo>
                <a:lnTo>
                  <a:pt x="9131" y="11355"/>
                </a:lnTo>
                <a:lnTo>
                  <a:pt x="9201" y="11424"/>
                </a:lnTo>
                <a:lnTo>
                  <a:pt x="9280" y="11478"/>
                </a:lnTo>
                <a:lnTo>
                  <a:pt x="9324" y="11495"/>
                </a:lnTo>
                <a:lnTo>
                  <a:pt x="9369" y="11503"/>
                </a:lnTo>
                <a:lnTo>
                  <a:pt x="9412" y="11512"/>
                </a:lnTo>
                <a:lnTo>
                  <a:pt x="9457" y="11521"/>
                </a:lnTo>
                <a:lnTo>
                  <a:pt x="10028" y="11521"/>
                </a:lnTo>
                <a:lnTo>
                  <a:pt x="10186" y="10776"/>
                </a:lnTo>
                <a:lnTo>
                  <a:pt x="10767" y="10776"/>
                </a:lnTo>
                <a:lnTo>
                  <a:pt x="10925" y="11521"/>
                </a:lnTo>
                <a:lnTo>
                  <a:pt x="13520" y="11521"/>
                </a:lnTo>
                <a:lnTo>
                  <a:pt x="13670" y="10776"/>
                </a:lnTo>
                <a:lnTo>
                  <a:pt x="14259" y="10776"/>
                </a:lnTo>
                <a:lnTo>
                  <a:pt x="14418" y="11521"/>
                </a:lnTo>
                <a:lnTo>
                  <a:pt x="14989" y="11521"/>
                </a:lnTo>
                <a:lnTo>
                  <a:pt x="14989" y="11521"/>
                </a:lnTo>
                <a:lnTo>
                  <a:pt x="15042" y="11512"/>
                </a:lnTo>
                <a:lnTo>
                  <a:pt x="15104" y="11495"/>
                </a:lnTo>
                <a:lnTo>
                  <a:pt x="15148" y="11478"/>
                </a:lnTo>
                <a:lnTo>
                  <a:pt x="15201" y="11451"/>
                </a:lnTo>
                <a:lnTo>
                  <a:pt x="15244" y="11416"/>
                </a:lnTo>
                <a:lnTo>
                  <a:pt x="15297" y="11372"/>
                </a:lnTo>
                <a:lnTo>
                  <a:pt x="15332" y="11319"/>
                </a:lnTo>
                <a:lnTo>
                  <a:pt x="15376" y="11267"/>
                </a:lnTo>
                <a:lnTo>
                  <a:pt x="15781" y="11267"/>
                </a:lnTo>
                <a:lnTo>
                  <a:pt x="15781" y="11267"/>
                </a:lnTo>
                <a:lnTo>
                  <a:pt x="15737" y="11451"/>
                </a:lnTo>
                <a:lnTo>
                  <a:pt x="15710" y="11521"/>
                </a:lnTo>
                <a:lnTo>
                  <a:pt x="15966" y="11521"/>
                </a:lnTo>
                <a:lnTo>
                  <a:pt x="15966" y="11521"/>
                </a:lnTo>
                <a:lnTo>
                  <a:pt x="16001" y="11390"/>
                </a:lnTo>
                <a:lnTo>
                  <a:pt x="16036" y="11240"/>
                </a:lnTo>
                <a:lnTo>
                  <a:pt x="16088" y="11048"/>
                </a:lnTo>
                <a:lnTo>
                  <a:pt x="16133" y="10828"/>
                </a:lnTo>
                <a:lnTo>
                  <a:pt x="16168" y="10574"/>
                </a:lnTo>
                <a:lnTo>
                  <a:pt x="16203" y="10302"/>
                </a:lnTo>
                <a:lnTo>
                  <a:pt x="16212" y="10162"/>
                </a:lnTo>
                <a:lnTo>
                  <a:pt x="16212" y="10022"/>
                </a:lnTo>
                <a:lnTo>
                  <a:pt x="16212" y="10022"/>
                </a:lnTo>
                <a:lnTo>
                  <a:pt x="16212" y="9881"/>
                </a:lnTo>
                <a:lnTo>
                  <a:pt x="16203" y="9750"/>
                </a:lnTo>
                <a:lnTo>
                  <a:pt x="16168" y="9478"/>
                </a:lnTo>
                <a:lnTo>
                  <a:pt x="16133" y="9224"/>
                </a:lnTo>
                <a:lnTo>
                  <a:pt x="16088" y="8997"/>
                </a:lnTo>
                <a:lnTo>
                  <a:pt x="16036" y="8812"/>
                </a:lnTo>
                <a:lnTo>
                  <a:pt x="16001" y="8663"/>
                </a:lnTo>
                <a:lnTo>
                  <a:pt x="15966" y="8531"/>
                </a:lnTo>
                <a:lnTo>
                  <a:pt x="15966" y="8531"/>
                </a:lnTo>
                <a:close/>
                <a:moveTo>
                  <a:pt x="9975" y="9276"/>
                </a:moveTo>
                <a:lnTo>
                  <a:pt x="9975" y="9276"/>
                </a:lnTo>
                <a:lnTo>
                  <a:pt x="9729" y="9276"/>
                </a:lnTo>
                <a:lnTo>
                  <a:pt x="9729" y="9276"/>
                </a:lnTo>
                <a:lnTo>
                  <a:pt x="9650" y="9285"/>
                </a:lnTo>
                <a:lnTo>
                  <a:pt x="9571" y="9295"/>
                </a:lnTo>
                <a:lnTo>
                  <a:pt x="9500" y="9312"/>
                </a:lnTo>
                <a:lnTo>
                  <a:pt x="9438" y="9338"/>
                </a:lnTo>
                <a:lnTo>
                  <a:pt x="9377" y="9364"/>
                </a:lnTo>
                <a:lnTo>
                  <a:pt x="9324" y="9390"/>
                </a:lnTo>
                <a:lnTo>
                  <a:pt x="9228" y="9461"/>
                </a:lnTo>
                <a:lnTo>
                  <a:pt x="9140" y="9549"/>
                </a:lnTo>
                <a:lnTo>
                  <a:pt x="9070" y="9628"/>
                </a:lnTo>
                <a:lnTo>
                  <a:pt x="9017" y="9707"/>
                </a:lnTo>
                <a:lnTo>
                  <a:pt x="8981" y="9776"/>
                </a:lnTo>
                <a:lnTo>
                  <a:pt x="8981" y="9776"/>
                </a:lnTo>
                <a:lnTo>
                  <a:pt x="8999" y="9662"/>
                </a:lnTo>
                <a:lnTo>
                  <a:pt x="9025" y="9549"/>
                </a:lnTo>
                <a:lnTo>
                  <a:pt x="9060" y="9417"/>
                </a:lnTo>
                <a:lnTo>
                  <a:pt x="9113" y="9303"/>
                </a:lnTo>
                <a:lnTo>
                  <a:pt x="9140" y="9242"/>
                </a:lnTo>
                <a:lnTo>
                  <a:pt x="9175" y="9198"/>
                </a:lnTo>
                <a:lnTo>
                  <a:pt x="9219" y="9145"/>
                </a:lnTo>
                <a:lnTo>
                  <a:pt x="9263" y="9110"/>
                </a:lnTo>
                <a:lnTo>
                  <a:pt x="9307" y="9075"/>
                </a:lnTo>
                <a:lnTo>
                  <a:pt x="9359" y="9049"/>
                </a:lnTo>
                <a:lnTo>
                  <a:pt x="9412" y="9040"/>
                </a:lnTo>
                <a:lnTo>
                  <a:pt x="9483" y="9031"/>
                </a:lnTo>
                <a:lnTo>
                  <a:pt x="9483" y="9031"/>
                </a:lnTo>
                <a:lnTo>
                  <a:pt x="9975" y="9031"/>
                </a:lnTo>
                <a:lnTo>
                  <a:pt x="15113" y="9023"/>
                </a:lnTo>
                <a:lnTo>
                  <a:pt x="15209" y="9276"/>
                </a:lnTo>
                <a:lnTo>
                  <a:pt x="9975" y="9276"/>
                </a:lnTo>
                <a:close/>
                <a:moveTo>
                  <a:pt x="15842" y="9031"/>
                </a:moveTo>
                <a:lnTo>
                  <a:pt x="15842" y="9031"/>
                </a:lnTo>
                <a:lnTo>
                  <a:pt x="15887" y="9268"/>
                </a:lnTo>
                <a:lnTo>
                  <a:pt x="15930" y="9531"/>
                </a:lnTo>
                <a:lnTo>
                  <a:pt x="15658" y="9531"/>
                </a:lnTo>
                <a:lnTo>
                  <a:pt x="15658" y="9531"/>
                </a:lnTo>
                <a:lnTo>
                  <a:pt x="15631" y="9400"/>
                </a:lnTo>
                <a:lnTo>
                  <a:pt x="15596" y="9276"/>
                </a:lnTo>
                <a:lnTo>
                  <a:pt x="15552" y="9154"/>
                </a:lnTo>
                <a:lnTo>
                  <a:pt x="15508" y="9031"/>
                </a:lnTo>
                <a:lnTo>
                  <a:pt x="15842" y="9031"/>
                </a:lnTo>
                <a:close/>
                <a:moveTo>
                  <a:pt x="15842" y="11021"/>
                </a:moveTo>
                <a:lnTo>
                  <a:pt x="15508" y="11021"/>
                </a:lnTo>
                <a:lnTo>
                  <a:pt x="15508" y="11021"/>
                </a:lnTo>
                <a:lnTo>
                  <a:pt x="15552" y="10899"/>
                </a:lnTo>
                <a:lnTo>
                  <a:pt x="15596" y="10776"/>
                </a:lnTo>
                <a:lnTo>
                  <a:pt x="15631" y="10653"/>
                </a:lnTo>
                <a:lnTo>
                  <a:pt x="15658" y="10521"/>
                </a:lnTo>
                <a:lnTo>
                  <a:pt x="15930" y="10521"/>
                </a:lnTo>
                <a:lnTo>
                  <a:pt x="15930" y="10521"/>
                </a:lnTo>
                <a:lnTo>
                  <a:pt x="15887" y="10785"/>
                </a:lnTo>
                <a:lnTo>
                  <a:pt x="15842" y="11021"/>
                </a:lnTo>
                <a:lnTo>
                  <a:pt x="15842" y="11021"/>
                </a:lnTo>
                <a:close/>
                <a:moveTo>
                  <a:pt x="15957" y="10276"/>
                </a:moveTo>
                <a:lnTo>
                  <a:pt x="15693" y="10276"/>
                </a:lnTo>
                <a:lnTo>
                  <a:pt x="15693" y="10276"/>
                </a:lnTo>
                <a:lnTo>
                  <a:pt x="15710" y="10145"/>
                </a:lnTo>
                <a:lnTo>
                  <a:pt x="15710" y="10022"/>
                </a:lnTo>
                <a:lnTo>
                  <a:pt x="15710" y="10022"/>
                </a:lnTo>
                <a:lnTo>
                  <a:pt x="15710" y="9908"/>
                </a:lnTo>
                <a:lnTo>
                  <a:pt x="15693" y="9776"/>
                </a:lnTo>
                <a:lnTo>
                  <a:pt x="15957" y="9776"/>
                </a:lnTo>
                <a:lnTo>
                  <a:pt x="15957" y="9776"/>
                </a:lnTo>
                <a:lnTo>
                  <a:pt x="15966" y="10022"/>
                </a:lnTo>
                <a:lnTo>
                  <a:pt x="15966" y="10022"/>
                </a:lnTo>
                <a:lnTo>
                  <a:pt x="15957" y="10276"/>
                </a:lnTo>
                <a:lnTo>
                  <a:pt x="15957" y="10276"/>
                </a:lnTo>
                <a:close/>
                <a:moveTo>
                  <a:pt x="3714" y="3447"/>
                </a:moveTo>
                <a:lnTo>
                  <a:pt x="4986" y="3447"/>
                </a:lnTo>
                <a:lnTo>
                  <a:pt x="4986" y="4862"/>
                </a:lnTo>
                <a:lnTo>
                  <a:pt x="3714" y="4862"/>
                </a:lnTo>
                <a:lnTo>
                  <a:pt x="3714" y="3447"/>
                </a:lnTo>
                <a:close/>
                <a:moveTo>
                  <a:pt x="7171" y="5475"/>
                </a:moveTo>
                <a:lnTo>
                  <a:pt x="8443" y="5475"/>
                </a:lnTo>
                <a:lnTo>
                  <a:pt x="8443" y="6891"/>
                </a:lnTo>
                <a:lnTo>
                  <a:pt x="7171" y="6891"/>
                </a:lnTo>
                <a:lnTo>
                  <a:pt x="7171" y="5475"/>
                </a:lnTo>
                <a:close/>
                <a:moveTo>
                  <a:pt x="5442" y="5475"/>
                </a:moveTo>
                <a:lnTo>
                  <a:pt x="6715" y="5475"/>
                </a:lnTo>
                <a:lnTo>
                  <a:pt x="6715" y="6891"/>
                </a:lnTo>
                <a:lnTo>
                  <a:pt x="5442" y="6891"/>
                </a:lnTo>
                <a:lnTo>
                  <a:pt x="5442" y="5475"/>
                </a:lnTo>
                <a:close/>
                <a:moveTo>
                  <a:pt x="3714" y="5475"/>
                </a:moveTo>
                <a:lnTo>
                  <a:pt x="4986" y="5475"/>
                </a:lnTo>
                <a:lnTo>
                  <a:pt x="4986" y="6891"/>
                </a:lnTo>
                <a:lnTo>
                  <a:pt x="3714" y="6891"/>
                </a:lnTo>
                <a:lnTo>
                  <a:pt x="3714" y="5475"/>
                </a:lnTo>
                <a:close/>
                <a:moveTo>
                  <a:pt x="7171" y="3447"/>
                </a:moveTo>
                <a:lnTo>
                  <a:pt x="8443" y="3447"/>
                </a:lnTo>
                <a:lnTo>
                  <a:pt x="8443" y="4862"/>
                </a:lnTo>
                <a:lnTo>
                  <a:pt x="7171" y="4862"/>
                </a:lnTo>
                <a:lnTo>
                  <a:pt x="7171" y="3447"/>
                </a:lnTo>
                <a:close/>
                <a:moveTo>
                  <a:pt x="5442" y="3447"/>
                </a:moveTo>
                <a:lnTo>
                  <a:pt x="6715" y="3447"/>
                </a:lnTo>
                <a:lnTo>
                  <a:pt x="6715" y="4862"/>
                </a:lnTo>
                <a:lnTo>
                  <a:pt x="5442" y="4862"/>
                </a:lnTo>
                <a:lnTo>
                  <a:pt x="5442" y="3447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Picture118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3080940" y="1131243"/>
            <a:ext cx="518400" cy="376297"/>
          </a:xfrm>
          <a:custGeom>
            <a:avLst/>
            <a:gdLst>
              <a:gd name="T0" fmla="*/ 1644 w 1700"/>
              <a:gd name="T1" fmla="*/ 610 h 1234"/>
              <a:gd name="T2" fmla="*/ 1586 w 1700"/>
              <a:gd name="T3" fmla="*/ 270 h 1234"/>
              <a:gd name="T4" fmla="*/ 1512 w 1700"/>
              <a:gd name="T5" fmla="*/ 214 h 1234"/>
              <a:gd name="T6" fmla="*/ 1474 w 1700"/>
              <a:gd name="T7" fmla="*/ 198 h 1234"/>
              <a:gd name="T8" fmla="*/ 1494 w 1700"/>
              <a:gd name="T9" fmla="*/ 150 h 1234"/>
              <a:gd name="T10" fmla="*/ 1512 w 1700"/>
              <a:gd name="T11" fmla="*/ 100 h 1234"/>
              <a:gd name="T12" fmla="*/ 1428 w 1700"/>
              <a:gd name="T13" fmla="*/ 72 h 1234"/>
              <a:gd name="T14" fmla="*/ 1304 w 1700"/>
              <a:gd name="T15" fmla="*/ 44 h 1234"/>
              <a:gd name="T16" fmla="*/ 1238 w 1700"/>
              <a:gd name="T17" fmla="*/ 34 h 1234"/>
              <a:gd name="T18" fmla="*/ 992 w 1700"/>
              <a:gd name="T19" fmla="*/ 8 h 1234"/>
              <a:gd name="T20" fmla="*/ 812 w 1700"/>
              <a:gd name="T21" fmla="*/ 0 h 1234"/>
              <a:gd name="T22" fmla="*/ 612 w 1700"/>
              <a:gd name="T23" fmla="*/ 10 h 1234"/>
              <a:gd name="T24" fmla="*/ 312 w 1700"/>
              <a:gd name="T25" fmla="*/ 48 h 1234"/>
              <a:gd name="T26" fmla="*/ 162 w 1700"/>
              <a:gd name="T27" fmla="*/ 82 h 1234"/>
              <a:gd name="T28" fmla="*/ 112 w 1700"/>
              <a:gd name="T29" fmla="*/ 158 h 1234"/>
              <a:gd name="T30" fmla="*/ 170 w 1700"/>
              <a:gd name="T31" fmla="*/ 136 h 1234"/>
              <a:gd name="T32" fmla="*/ 138 w 1700"/>
              <a:gd name="T33" fmla="*/ 204 h 1234"/>
              <a:gd name="T34" fmla="*/ 112 w 1700"/>
              <a:gd name="T35" fmla="*/ 270 h 1234"/>
              <a:gd name="T36" fmla="*/ 0 w 1700"/>
              <a:gd name="T37" fmla="*/ 1234 h 1234"/>
              <a:gd name="T38" fmla="*/ 1644 w 1700"/>
              <a:gd name="T39" fmla="*/ 1122 h 1234"/>
              <a:gd name="T40" fmla="*/ 396 w 1700"/>
              <a:gd name="T41" fmla="*/ 204 h 1234"/>
              <a:gd name="T42" fmla="*/ 510 w 1700"/>
              <a:gd name="T43" fmla="*/ 1122 h 1234"/>
              <a:gd name="T44" fmla="*/ 1076 w 1700"/>
              <a:gd name="T45" fmla="*/ 72 h 1234"/>
              <a:gd name="T46" fmla="*/ 1246 w 1700"/>
              <a:gd name="T47" fmla="*/ 92 h 1234"/>
              <a:gd name="T48" fmla="*/ 1164 w 1700"/>
              <a:gd name="T49" fmla="*/ 138 h 1234"/>
              <a:gd name="T50" fmla="*/ 1020 w 1700"/>
              <a:gd name="T51" fmla="*/ 124 h 1234"/>
              <a:gd name="T52" fmla="*/ 850 w 1700"/>
              <a:gd name="T53" fmla="*/ 114 h 1234"/>
              <a:gd name="T54" fmla="*/ 934 w 1700"/>
              <a:gd name="T55" fmla="*/ 60 h 1234"/>
              <a:gd name="T56" fmla="*/ 794 w 1700"/>
              <a:gd name="T57" fmla="*/ 114 h 1234"/>
              <a:gd name="T58" fmla="*/ 624 w 1700"/>
              <a:gd name="T59" fmla="*/ 122 h 1234"/>
              <a:gd name="T60" fmla="*/ 710 w 1700"/>
              <a:gd name="T61" fmla="*/ 60 h 1234"/>
              <a:gd name="T62" fmla="*/ 566 w 1700"/>
              <a:gd name="T63" fmla="*/ 126 h 1234"/>
              <a:gd name="T64" fmla="*/ 396 w 1700"/>
              <a:gd name="T65" fmla="*/ 146 h 1234"/>
              <a:gd name="T66" fmla="*/ 480 w 1700"/>
              <a:gd name="T67" fmla="*/ 80 h 1234"/>
              <a:gd name="T68" fmla="*/ 1512 w 1700"/>
              <a:gd name="T69" fmla="*/ 838 h 1234"/>
              <a:gd name="T70" fmla="*/ 1512 w 1700"/>
              <a:gd name="T71" fmla="*/ 952 h 1234"/>
              <a:gd name="T72" fmla="*/ 1512 w 1700"/>
              <a:gd name="T73" fmla="*/ 780 h 1234"/>
              <a:gd name="T74" fmla="*/ 1586 w 1700"/>
              <a:gd name="T75" fmla="*/ 780 h 1234"/>
              <a:gd name="T76" fmla="*/ 1586 w 1700"/>
              <a:gd name="T77" fmla="*/ 498 h 1234"/>
              <a:gd name="T78" fmla="*/ 1586 w 1700"/>
              <a:gd name="T79" fmla="*/ 328 h 1234"/>
              <a:gd name="T80" fmla="*/ 1512 w 1700"/>
              <a:gd name="T81" fmla="*/ 328 h 1234"/>
              <a:gd name="T82" fmla="*/ 1416 w 1700"/>
              <a:gd name="T83" fmla="*/ 182 h 1234"/>
              <a:gd name="T84" fmla="*/ 1304 w 1700"/>
              <a:gd name="T85" fmla="*/ 158 h 1234"/>
              <a:gd name="T86" fmla="*/ 1364 w 1700"/>
              <a:gd name="T87" fmla="*/ 114 h 1234"/>
              <a:gd name="T88" fmla="*/ 226 w 1700"/>
              <a:gd name="T89" fmla="*/ 122 h 1234"/>
              <a:gd name="T90" fmla="*/ 340 w 1700"/>
              <a:gd name="T91" fmla="*/ 98 h 1234"/>
              <a:gd name="T92" fmla="*/ 280 w 1700"/>
              <a:gd name="T93" fmla="*/ 166 h 1234"/>
              <a:gd name="T94" fmla="*/ 226 w 1700"/>
              <a:gd name="T95" fmla="*/ 328 h 1234"/>
              <a:gd name="T96" fmla="*/ 226 w 1700"/>
              <a:gd name="T97" fmla="*/ 234 h 1234"/>
              <a:gd name="T98" fmla="*/ 226 w 1700"/>
              <a:gd name="T99" fmla="*/ 1122 h 1234"/>
              <a:gd name="T100" fmla="*/ 1512 w 1700"/>
              <a:gd name="T101" fmla="*/ 1008 h 1234"/>
              <a:gd name="T102" fmla="*/ 1512 w 1700"/>
              <a:gd name="T103" fmla="*/ 1122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00" h="1234">
                <a:moveTo>
                  <a:pt x="1644" y="1122"/>
                </a:moveTo>
                <a:lnTo>
                  <a:pt x="1644" y="668"/>
                </a:lnTo>
                <a:lnTo>
                  <a:pt x="1644" y="610"/>
                </a:lnTo>
                <a:lnTo>
                  <a:pt x="1644" y="214"/>
                </a:lnTo>
                <a:lnTo>
                  <a:pt x="1586" y="214"/>
                </a:lnTo>
                <a:lnTo>
                  <a:pt x="1586" y="270"/>
                </a:lnTo>
                <a:lnTo>
                  <a:pt x="1512" y="270"/>
                </a:lnTo>
                <a:lnTo>
                  <a:pt x="1512" y="228"/>
                </a:lnTo>
                <a:lnTo>
                  <a:pt x="1512" y="214"/>
                </a:lnTo>
                <a:lnTo>
                  <a:pt x="1512" y="214"/>
                </a:lnTo>
                <a:lnTo>
                  <a:pt x="1494" y="206"/>
                </a:lnTo>
                <a:lnTo>
                  <a:pt x="1474" y="198"/>
                </a:lnTo>
                <a:lnTo>
                  <a:pt x="1474" y="142"/>
                </a:lnTo>
                <a:lnTo>
                  <a:pt x="1474" y="142"/>
                </a:lnTo>
                <a:lnTo>
                  <a:pt x="1494" y="150"/>
                </a:lnTo>
                <a:lnTo>
                  <a:pt x="1512" y="158"/>
                </a:lnTo>
                <a:lnTo>
                  <a:pt x="1512" y="100"/>
                </a:lnTo>
                <a:lnTo>
                  <a:pt x="1512" y="100"/>
                </a:lnTo>
                <a:lnTo>
                  <a:pt x="1496" y="94"/>
                </a:lnTo>
                <a:lnTo>
                  <a:pt x="1476" y="86"/>
                </a:lnTo>
                <a:lnTo>
                  <a:pt x="1428" y="72"/>
                </a:lnTo>
                <a:lnTo>
                  <a:pt x="1370" y="58"/>
                </a:lnTo>
                <a:lnTo>
                  <a:pt x="1304" y="46"/>
                </a:lnTo>
                <a:lnTo>
                  <a:pt x="1304" y="44"/>
                </a:lnTo>
                <a:lnTo>
                  <a:pt x="1294" y="44"/>
                </a:lnTo>
                <a:lnTo>
                  <a:pt x="1294" y="44"/>
                </a:lnTo>
                <a:lnTo>
                  <a:pt x="1238" y="34"/>
                </a:lnTo>
                <a:lnTo>
                  <a:pt x="1178" y="26"/>
                </a:lnTo>
                <a:lnTo>
                  <a:pt x="1054" y="12"/>
                </a:lnTo>
                <a:lnTo>
                  <a:pt x="992" y="8"/>
                </a:lnTo>
                <a:lnTo>
                  <a:pt x="930" y="4"/>
                </a:lnTo>
                <a:lnTo>
                  <a:pt x="870" y="2"/>
                </a:lnTo>
                <a:lnTo>
                  <a:pt x="812" y="0"/>
                </a:lnTo>
                <a:lnTo>
                  <a:pt x="812" y="0"/>
                </a:lnTo>
                <a:lnTo>
                  <a:pt x="714" y="2"/>
                </a:lnTo>
                <a:lnTo>
                  <a:pt x="612" y="10"/>
                </a:lnTo>
                <a:lnTo>
                  <a:pt x="508" y="20"/>
                </a:lnTo>
                <a:lnTo>
                  <a:pt x="406" y="32"/>
                </a:lnTo>
                <a:lnTo>
                  <a:pt x="312" y="48"/>
                </a:lnTo>
                <a:lnTo>
                  <a:pt x="230" y="64"/>
                </a:lnTo>
                <a:lnTo>
                  <a:pt x="192" y="72"/>
                </a:lnTo>
                <a:lnTo>
                  <a:pt x="162" y="82"/>
                </a:lnTo>
                <a:lnTo>
                  <a:pt x="134" y="92"/>
                </a:lnTo>
                <a:lnTo>
                  <a:pt x="112" y="100"/>
                </a:lnTo>
                <a:lnTo>
                  <a:pt x="112" y="158"/>
                </a:lnTo>
                <a:lnTo>
                  <a:pt x="112" y="158"/>
                </a:lnTo>
                <a:lnTo>
                  <a:pt x="138" y="146"/>
                </a:lnTo>
                <a:lnTo>
                  <a:pt x="170" y="136"/>
                </a:lnTo>
                <a:lnTo>
                  <a:pt x="170" y="192"/>
                </a:lnTo>
                <a:lnTo>
                  <a:pt x="170" y="192"/>
                </a:lnTo>
                <a:lnTo>
                  <a:pt x="138" y="204"/>
                </a:lnTo>
                <a:lnTo>
                  <a:pt x="112" y="214"/>
                </a:lnTo>
                <a:lnTo>
                  <a:pt x="112" y="228"/>
                </a:lnTo>
                <a:lnTo>
                  <a:pt x="112" y="270"/>
                </a:lnTo>
                <a:lnTo>
                  <a:pt x="112" y="1122"/>
                </a:lnTo>
                <a:lnTo>
                  <a:pt x="0" y="1122"/>
                </a:lnTo>
                <a:lnTo>
                  <a:pt x="0" y="1234"/>
                </a:lnTo>
                <a:lnTo>
                  <a:pt x="1700" y="1234"/>
                </a:lnTo>
                <a:lnTo>
                  <a:pt x="1700" y="1122"/>
                </a:lnTo>
                <a:lnTo>
                  <a:pt x="1644" y="1122"/>
                </a:lnTo>
                <a:close/>
                <a:moveTo>
                  <a:pt x="396" y="1122"/>
                </a:moveTo>
                <a:lnTo>
                  <a:pt x="396" y="270"/>
                </a:lnTo>
                <a:lnTo>
                  <a:pt x="396" y="204"/>
                </a:lnTo>
                <a:lnTo>
                  <a:pt x="396" y="204"/>
                </a:lnTo>
                <a:lnTo>
                  <a:pt x="510" y="190"/>
                </a:lnTo>
                <a:lnTo>
                  <a:pt x="510" y="1122"/>
                </a:lnTo>
                <a:lnTo>
                  <a:pt x="396" y="1122"/>
                </a:lnTo>
                <a:close/>
                <a:moveTo>
                  <a:pt x="1076" y="128"/>
                </a:moveTo>
                <a:lnTo>
                  <a:pt x="1076" y="72"/>
                </a:lnTo>
                <a:lnTo>
                  <a:pt x="1076" y="72"/>
                </a:lnTo>
                <a:lnTo>
                  <a:pt x="1164" y="82"/>
                </a:lnTo>
                <a:lnTo>
                  <a:pt x="1246" y="92"/>
                </a:lnTo>
                <a:lnTo>
                  <a:pt x="1246" y="150"/>
                </a:lnTo>
                <a:lnTo>
                  <a:pt x="1246" y="150"/>
                </a:lnTo>
                <a:lnTo>
                  <a:pt x="1164" y="138"/>
                </a:lnTo>
                <a:lnTo>
                  <a:pt x="1076" y="128"/>
                </a:lnTo>
                <a:lnTo>
                  <a:pt x="1076" y="128"/>
                </a:lnTo>
                <a:close/>
                <a:moveTo>
                  <a:pt x="1020" y="124"/>
                </a:moveTo>
                <a:lnTo>
                  <a:pt x="1020" y="124"/>
                </a:lnTo>
                <a:lnTo>
                  <a:pt x="934" y="118"/>
                </a:lnTo>
                <a:lnTo>
                  <a:pt x="850" y="114"/>
                </a:lnTo>
                <a:lnTo>
                  <a:pt x="850" y="58"/>
                </a:lnTo>
                <a:lnTo>
                  <a:pt x="850" y="58"/>
                </a:lnTo>
                <a:lnTo>
                  <a:pt x="934" y="60"/>
                </a:lnTo>
                <a:lnTo>
                  <a:pt x="1020" y="66"/>
                </a:lnTo>
                <a:lnTo>
                  <a:pt x="1020" y="124"/>
                </a:lnTo>
                <a:close/>
                <a:moveTo>
                  <a:pt x="794" y="114"/>
                </a:moveTo>
                <a:lnTo>
                  <a:pt x="794" y="114"/>
                </a:lnTo>
                <a:lnTo>
                  <a:pt x="710" y="116"/>
                </a:lnTo>
                <a:lnTo>
                  <a:pt x="624" y="122"/>
                </a:lnTo>
                <a:lnTo>
                  <a:pt x="624" y="66"/>
                </a:lnTo>
                <a:lnTo>
                  <a:pt x="624" y="66"/>
                </a:lnTo>
                <a:lnTo>
                  <a:pt x="710" y="60"/>
                </a:lnTo>
                <a:lnTo>
                  <a:pt x="794" y="58"/>
                </a:lnTo>
                <a:lnTo>
                  <a:pt x="794" y="114"/>
                </a:lnTo>
                <a:close/>
                <a:moveTo>
                  <a:pt x="566" y="126"/>
                </a:moveTo>
                <a:lnTo>
                  <a:pt x="566" y="126"/>
                </a:lnTo>
                <a:lnTo>
                  <a:pt x="480" y="136"/>
                </a:lnTo>
                <a:lnTo>
                  <a:pt x="396" y="146"/>
                </a:lnTo>
                <a:lnTo>
                  <a:pt x="396" y="90"/>
                </a:lnTo>
                <a:lnTo>
                  <a:pt x="396" y="90"/>
                </a:lnTo>
                <a:lnTo>
                  <a:pt x="480" y="80"/>
                </a:lnTo>
                <a:lnTo>
                  <a:pt x="566" y="70"/>
                </a:lnTo>
                <a:lnTo>
                  <a:pt x="566" y="126"/>
                </a:lnTo>
                <a:close/>
                <a:moveTo>
                  <a:pt x="1512" y="838"/>
                </a:moveTo>
                <a:lnTo>
                  <a:pt x="1586" y="838"/>
                </a:lnTo>
                <a:lnTo>
                  <a:pt x="1586" y="952"/>
                </a:lnTo>
                <a:lnTo>
                  <a:pt x="1512" y="952"/>
                </a:lnTo>
                <a:lnTo>
                  <a:pt x="1512" y="838"/>
                </a:lnTo>
                <a:close/>
                <a:moveTo>
                  <a:pt x="1586" y="780"/>
                </a:moveTo>
                <a:lnTo>
                  <a:pt x="1512" y="780"/>
                </a:lnTo>
                <a:lnTo>
                  <a:pt x="1512" y="668"/>
                </a:lnTo>
                <a:lnTo>
                  <a:pt x="1586" y="668"/>
                </a:lnTo>
                <a:lnTo>
                  <a:pt x="1586" y="780"/>
                </a:lnTo>
                <a:close/>
                <a:moveTo>
                  <a:pt x="1512" y="610"/>
                </a:moveTo>
                <a:lnTo>
                  <a:pt x="1512" y="498"/>
                </a:lnTo>
                <a:lnTo>
                  <a:pt x="1586" y="498"/>
                </a:lnTo>
                <a:lnTo>
                  <a:pt x="1586" y="610"/>
                </a:lnTo>
                <a:lnTo>
                  <a:pt x="1512" y="610"/>
                </a:lnTo>
                <a:close/>
                <a:moveTo>
                  <a:pt x="1586" y="328"/>
                </a:moveTo>
                <a:lnTo>
                  <a:pt x="1586" y="440"/>
                </a:lnTo>
                <a:lnTo>
                  <a:pt x="1512" y="440"/>
                </a:lnTo>
                <a:lnTo>
                  <a:pt x="1512" y="328"/>
                </a:lnTo>
                <a:lnTo>
                  <a:pt x="1586" y="328"/>
                </a:lnTo>
                <a:close/>
                <a:moveTo>
                  <a:pt x="1416" y="126"/>
                </a:moveTo>
                <a:lnTo>
                  <a:pt x="1416" y="182"/>
                </a:lnTo>
                <a:lnTo>
                  <a:pt x="1416" y="182"/>
                </a:lnTo>
                <a:lnTo>
                  <a:pt x="1364" y="170"/>
                </a:lnTo>
                <a:lnTo>
                  <a:pt x="1304" y="158"/>
                </a:lnTo>
                <a:lnTo>
                  <a:pt x="1304" y="102"/>
                </a:lnTo>
                <a:lnTo>
                  <a:pt x="1304" y="102"/>
                </a:lnTo>
                <a:lnTo>
                  <a:pt x="1364" y="114"/>
                </a:lnTo>
                <a:lnTo>
                  <a:pt x="1416" y="126"/>
                </a:lnTo>
                <a:lnTo>
                  <a:pt x="1416" y="126"/>
                </a:lnTo>
                <a:close/>
                <a:moveTo>
                  <a:pt x="226" y="122"/>
                </a:moveTo>
                <a:lnTo>
                  <a:pt x="226" y="122"/>
                </a:lnTo>
                <a:lnTo>
                  <a:pt x="280" y="110"/>
                </a:lnTo>
                <a:lnTo>
                  <a:pt x="340" y="98"/>
                </a:lnTo>
                <a:lnTo>
                  <a:pt x="340" y="156"/>
                </a:lnTo>
                <a:lnTo>
                  <a:pt x="340" y="156"/>
                </a:lnTo>
                <a:lnTo>
                  <a:pt x="280" y="166"/>
                </a:lnTo>
                <a:lnTo>
                  <a:pt x="226" y="178"/>
                </a:lnTo>
                <a:lnTo>
                  <a:pt x="226" y="122"/>
                </a:lnTo>
                <a:close/>
                <a:moveTo>
                  <a:pt x="226" y="328"/>
                </a:moveTo>
                <a:lnTo>
                  <a:pt x="226" y="328"/>
                </a:lnTo>
                <a:lnTo>
                  <a:pt x="226" y="234"/>
                </a:lnTo>
                <a:lnTo>
                  <a:pt x="226" y="234"/>
                </a:lnTo>
                <a:lnTo>
                  <a:pt x="282" y="222"/>
                </a:lnTo>
                <a:lnTo>
                  <a:pt x="282" y="1122"/>
                </a:lnTo>
                <a:lnTo>
                  <a:pt x="226" y="1122"/>
                </a:lnTo>
                <a:lnTo>
                  <a:pt x="226" y="328"/>
                </a:lnTo>
                <a:close/>
                <a:moveTo>
                  <a:pt x="1512" y="1122"/>
                </a:moveTo>
                <a:lnTo>
                  <a:pt x="1512" y="1008"/>
                </a:lnTo>
                <a:lnTo>
                  <a:pt x="1586" y="1008"/>
                </a:lnTo>
                <a:lnTo>
                  <a:pt x="1586" y="1122"/>
                </a:lnTo>
                <a:lnTo>
                  <a:pt x="1512" y="1122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bitumovoz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3877877" y="1282769"/>
            <a:ext cx="607219" cy="227171"/>
          </a:xfrm>
          <a:custGeom>
            <a:avLst/>
            <a:gdLst>
              <a:gd name="T0" fmla="*/ 1894 w 16150"/>
              <a:gd name="T1" fmla="*/ 4653 h 6042"/>
              <a:gd name="T2" fmla="*/ 2038 w 16150"/>
              <a:gd name="T3" fmla="*/ 5988 h 6042"/>
              <a:gd name="T4" fmla="*/ 3088 w 16150"/>
              <a:gd name="T5" fmla="*/ 5122 h 6042"/>
              <a:gd name="T6" fmla="*/ 2286 w 16150"/>
              <a:gd name="T7" fmla="*/ 2894 h 6042"/>
              <a:gd name="T8" fmla="*/ 2467 w 16150"/>
              <a:gd name="T9" fmla="*/ 2754 h 6042"/>
              <a:gd name="T10" fmla="*/ 2476 w 16150"/>
              <a:gd name="T11" fmla="*/ 2434 h 6042"/>
              <a:gd name="T12" fmla="*/ 2306 w 16150"/>
              <a:gd name="T13" fmla="*/ 2282 h 6042"/>
              <a:gd name="T14" fmla="*/ 194 w 16150"/>
              <a:gd name="T15" fmla="*/ 849 h 6042"/>
              <a:gd name="T16" fmla="*/ 135 w 16150"/>
              <a:gd name="T17" fmla="*/ 3307 h 6042"/>
              <a:gd name="T18" fmla="*/ 1112 w 16150"/>
              <a:gd name="T19" fmla="*/ 3751 h 6042"/>
              <a:gd name="T20" fmla="*/ 10028 w 16150"/>
              <a:gd name="T21" fmla="*/ 3645 h 6042"/>
              <a:gd name="T22" fmla="*/ 10453 w 16150"/>
              <a:gd name="T23" fmla="*/ 1957 h 6042"/>
              <a:gd name="T24" fmla="*/ 9864 w 16150"/>
              <a:gd name="T25" fmla="*/ 588 h 6042"/>
              <a:gd name="T26" fmla="*/ 4846 w 16150"/>
              <a:gd name="T27" fmla="*/ 328 h 6042"/>
              <a:gd name="T28" fmla="*/ 473 w 16150"/>
              <a:gd name="T29" fmla="*/ 819 h 6042"/>
              <a:gd name="T30" fmla="*/ 609 w 16150"/>
              <a:gd name="T31" fmla="*/ 1639 h 6042"/>
              <a:gd name="T32" fmla="*/ 310 w 16150"/>
              <a:gd name="T33" fmla="*/ 2729 h 6042"/>
              <a:gd name="T34" fmla="*/ 1536 w 16150"/>
              <a:gd name="T35" fmla="*/ 3233 h 6042"/>
              <a:gd name="T36" fmla="*/ 2214 w 16150"/>
              <a:gd name="T37" fmla="*/ 1944 h 6042"/>
              <a:gd name="T38" fmla="*/ 2625 w 16150"/>
              <a:gd name="T39" fmla="*/ 2055 h 6042"/>
              <a:gd name="T40" fmla="*/ 2846 w 16150"/>
              <a:gd name="T41" fmla="*/ 2453 h 6042"/>
              <a:gd name="T42" fmla="*/ 2703 w 16150"/>
              <a:gd name="T43" fmla="*/ 3045 h 6042"/>
              <a:gd name="T44" fmla="*/ 2223 w 16150"/>
              <a:gd name="T45" fmla="*/ 3233 h 6042"/>
              <a:gd name="T46" fmla="*/ 3464 w 16150"/>
              <a:gd name="T47" fmla="*/ 1089 h 6042"/>
              <a:gd name="T48" fmla="*/ 5190 w 16150"/>
              <a:gd name="T49" fmla="*/ 3233 h 6042"/>
              <a:gd name="T50" fmla="*/ 6436 w 16150"/>
              <a:gd name="T51" fmla="*/ 1092 h 6042"/>
              <a:gd name="T52" fmla="*/ 7198 w 16150"/>
              <a:gd name="T53" fmla="*/ 2054 h 6042"/>
              <a:gd name="T54" fmla="*/ 6876 w 16150"/>
              <a:gd name="T55" fmla="*/ 2940 h 6042"/>
              <a:gd name="T56" fmla="*/ 6432 w 16150"/>
              <a:gd name="T57" fmla="*/ 2952 h 6042"/>
              <a:gd name="T58" fmla="*/ 6537 w 16150"/>
              <a:gd name="T59" fmla="*/ 2894 h 6042"/>
              <a:gd name="T60" fmla="*/ 8557 w 16150"/>
              <a:gd name="T61" fmla="*/ 2309 h 6042"/>
              <a:gd name="T62" fmla="*/ 8060 w 16150"/>
              <a:gd name="T63" fmla="*/ 1979 h 6042"/>
              <a:gd name="T64" fmla="*/ 2508 w 16150"/>
              <a:gd name="T65" fmla="*/ 5465 h 6042"/>
              <a:gd name="T66" fmla="*/ 4951 w 16150"/>
              <a:gd name="T67" fmla="*/ 4851 h 6042"/>
              <a:gd name="T68" fmla="*/ 3613 w 16150"/>
              <a:gd name="T69" fmla="*/ 4978 h 6042"/>
              <a:gd name="T70" fmla="*/ 4462 w 16150"/>
              <a:gd name="T71" fmla="*/ 6024 h 6042"/>
              <a:gd name="T72" fmla="*/ 4571 w 16150"/>
              <a:gd name="T73" fmla="*/ 5284 h 6042"/>
              <a:gd name="T74" fmla="*/ 4209 w 16150"/>
              <a:gd name="T75" fmla="*/ 5049 h 6042"/>
              <a:gd name="T76" fmla="*/ 9148 w 16150"/>
              <a:gd name="T77" fmla="*/ 4527 h 6042"/>
              <a:gd name="T78" fmla="*/ 8280 w 16150"/>
              <a:gd name="T79" fmla="*/ 5573 h 6042"/>
              <a:gd name="T80" fmla="*/ 9638 w 16150"/>
              <a:gd name="T81" fmla="*/ 5717 h 6042"/>
              <a:gd name="T82" fmla="*/ 8896 w 16150"/>
              <a:gd name="T83" fmla="*/ 5519 h 6042"/>
              <a:gd name="T84" fmla="*/ 13599 w 16150"/>
              <a:gd name="T85" fmla="*/ 5429 h 6042"/>
              <a:gd name="T86" fmla="*/ 14883 w 16150"/>
              <a:gd name="T87" fmla="*/ 5826 h 6042"/>
              <a:gd name="T88" fmla="*/ 14504 w 16150"/>
              <a:gd name="T89" fmla="*/ 4527 h 6042"/>
              <a:gd name="T90" fmla="*/ 14160 w 16150"/>
              <a:gd name="T91" fmla="*/ 5465 h 6042"/>
              <a:gd name="T92" fmla="*/ 14576 w 16150"/>
              <a:gd name="T93" fmla="*/ 5375 h 6042"/>
              <a:gd name="T94" fmla="*/ 3396 w 16150"/>
              <a:gd name="T95" fmla="*/ 4780 h 6042"/>
              <a:gd name="T96" fmla="*/ 1279 w 16150"/>
              <a:gd name="T97" fmla="*/ 5320 h 6042"/>
              <a:gd name="T98" fmla="*/ 9746 w 16150"/>
              <a:gd name="T99" fmla="*/ 4527 h 6042"/>
              <a:gd name="T100" fmla="*/ 13291 w 16150"/>
              <a:gd name="T101" fmla="*/ 5176 h 6042"/>
              <a:gd name="T102" fmla="*/ 14558 w 16150"/>
              <a:gd name="T103" fmla="*/ 4238 h 6042"/>
              <a:gd name="T104" fmla="*/ 15842 w 16150"/>
              <a:gd name="T105" fmla="*/ 5302 h 6042"/>
              <a:gd name="T106" fmla="*/ 16059 w 16150"/>
              <a:gd name="T107" fmla="*/ 4238 h 6042"/>
              <a:gd name="T108" fmla="*/ 15408 w 16150"/>
              <a:gd name="T109" fmla="*/ 2776 h 6042"/>
              <a:gd name="T110" fmla="*/ 13154 w 16150"/>
              <a:gd name="T111" fmla="*/ 1062 h 6042"/>
              <a:gd name="T112" fmla="*/ 11600 w 16150"/>
              <a:gd name="T113" fmla="*/ 1062 h 6042"/>
              <a:gd name="T114" fmla="*/ 11257 w 16150"/>
              <a:gd name="T115" fmla="*/ 1081 h 6042"/>
              <a:gd name="T116" fmla="*/ 11229 w 16150"/>
              <a:gd name="T117" fmla="*/ 1223 h 6042"/>
              <a:gd name="T118" fmla="*/ 13744 w 16150"/>
              <a:gd name="T119" fmla="*/ 1640 h 6042"/>
              <a:gd name="T120" fmla="*/ 7937 w 16150"/>
              <a:gd name="T121" fmla="*/ 5320 h 6042"/>
              <a:gd name="T122" fmla="*/ 4734 w 16150"/>
              <a:gd name="T123" fmla="*/ 4310 h 6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150" h="6042">
                <a:moveTo>
                  <a:pt x="3088" y="5122"/>
                </a:moveTo>
                <a:lnTo>
                  <a:pt x="3033" y="4978"/>
                </a:lnTo>
                <a:lnTo>
                  <a:pt x="2962" y="4851"/>
                </a:lnTo>
                <a:lnTo>
                  <a:pt x="2871" y="4743"/>
                </a:lnTo>
                <a:lnTo>
                  <a:pt x="2762" y="4653"/>
                </a:lnTo>
                <a:lnTo>
                  <a:pt x="2635" y="4580"/>
                </a:lnTo>
                <a:lnTo>
                  <a:pt x="2490" y="4527"/>
                </a:lnTo>
                <a:lnTo>
                  <a:pt x="2328" y="4509"/>
                </a:lnTo>
                <a:lnTo>
                  <a:pt x="2183" y="4527"/>
                </a:lnTo>
                <a:lnTo>
                  <a:pt x="2038" y="4580"/>
                </a:lnTo>
                <a:lnTo>
                  <a:pt x="1894" y="4653"/>
                </a:lnTo>
                <a:lnTo>
                  <a:pt x="1785" y="4743"/>
                </a:lnTo>
                <a:lnTo>
                  <a:pt x="1695" y="4851"/>
                </a:lnTo>
                <a:lnTo>
                  <a:pt x="1622" y="4978"/>
                </a:lnTo>
                <a:lnTo>
                  <a:pt x="1568" y="5122"/>
                </a:lnTo>
                <a:lnTo>
                  <a:pt x="1568" y="5284"/>
                </a:lnTo>
                <a:lnTo>
                  <a:pt x="1568" y="5429"/>
                </a:lnTo>
                <a:lnTo>
                  <a:pt x="1622" y="5573"/>
                </a:lnTo>
                <a:lnTo>
                  <a:pt x="1695" y="5717"/>
                </a:lnTo>
                <a:lnTo>
                  <a:pt x="1785" y="5826"/>
                </a:lnTo>
                <a:lnTo>
                  <a:pt x="1894" y="5916"/>
                </a:lnTo>
                <a:lnTo>
                  <a:pt x="2038" y="5988"/>
                </a:lnTo>
                <a:lnTo>
                  <a:pt x="2183" y="6024"/>
                </a:lnTo>
                <a:lnTo>
                  <a:pt x="2328" y="6042"/>
                </a:lnTo>
                <a:lnTo>
                  <a:pt x="2490" y="6024"/>
                </a:lnTo>
                <a:lnTo>
                  <a:pt x="2635" y="5988"/>
                </a:lnTo>
                <a:lnTo>
                  <a:pt x="2762" y="5916"/>
                </a:lnTo>
                <a:lnTo>
                  <a:pt x="2871" y="5826"/>
                </a:lnTo>
                <a:lnTo>
                  <a:pt x="2962" y="5717"/>
                </a:lnTo>
                <a:lnTo>
                  <a:pt x="3033" y="5573"/>
                </a:lnTo>
                <a:lnTo>
                  <a:pt x="3088" y="5429"/>
                </a:lnTo>
                <a:lnTo>
                  <a:pt x="3106" y="5284"/>
                </a:lnTo>
                <a:lnTo>
                  <a:pt x="3088" y="5122"/>
                </a:lnTo>
                <a:close/>
                <a:moveTo>
                  <a:pt x="1892" y="2266"/>
                </a:moveTo>
                <a:lnTo>
                  <a:pt x="1892" y="2906"/>
                </a:lnTo>
                <a:lnTo>
                  <a:pt x="2005" y="2908"/>
                </a:lnTo>
                <a:lnTo>
                  <a:pt x="2115" y="2910"/>
                </a:lnTo>
                <a:lnTo>
                  <a:pt x="2141" y="2909"/>
                </a:lnTo>
                <a:lnTo>
                  <a:pt x="2167" y="2909"/>
                </a:lnTo>
                <a:lnTo>
                  <a:pt x="2192" y="2907"/>
                </a:lnTo>
                <a:lnTo>
                  <a:pt x="2217" y="2905"/>
                </a:lnTo>
                <a:lnTo>
                  <a:pt x="2241" y="2902"/>
                </a:lnTo>
                <a:lnTo>
                  <a:pt x="2264" y="2899"/>
                </a:lnTo>
                <a:lnTo>
                  <a:pt x="2286" y="2894"/>
                </a:lnTo>
                <a:lnTo>
                  <a:pt x="2308" y="2889"/>
                </a:lnTo>
                <a:lnTo>
                  <a:pt x="2329" y="2882"/>
                </a:lnTo>
                <a:lnTo>
                  <a:pt x="2349" y="2874"/>
                </a:lnTo>
                <a:lnTo>
                  <a:pt x="2368" y="2865"/>
                </a:lnTo>
                <a:lnTo>
                  <a:pt x="2385" y="2854"/>
                </a:lnTo>
                <a:lnTo>
                  <a:pt x="2402" y="2842"/>
                </a:lnTo>
                <a:lnTo>
                  <a:pt x="2417" y="2828"/>
                </a:lnTo>
                <a:lnTo>
                  <a:pt x="2433" y="2812"/>
                </a:lnTo>
                <a:lnTo>
                  <a:pt x="2446" y="2795"/>
                </a:lnTo>
                <a:lnTo>
                  <a:pt x="2457" y="2775"/>
                </a:lnTo>
                <a:lnTo>
                  <a:pt x="2467" y="2754"/>
                </a:lnTo>
                <a:lnTo>
                  <a:pt x="2476" y="2731"/>
                </a:lnTo>
                <a:lnTo>
                  <a:pt x="2484" y="2706"/>
                </a:lnTo>
                <a:lnTo>
                  <a:pt x="2489" y="2678"/>
                </a:lnTo>
                <a:lnTo>
                  <a:pt x="2494" y="2648"/>
                </a:lnTo>
                <a:lnTo>
                  <a:pt x="2496" y="2615"/>
                </a:lnTo>
                <a:lnTo>
                  <a:pt x="2497" y="2580"/>
                </a:lnTo>
                <a:lnTo>
                  <a:pt x="2496" y="2546"/>
                </a:lnTo>
                <a:lnTo>
                  <a:pt x="2493" y="2515"/>
                </a:lnTo>
                <a:lnTo>
                  <a:pt x="2489" y="2485"/>
                </a:lnTo>
                <a:lnTo>
                  <a:pt x="2483" y="2459"/>
                </a:lnTo>
                <a:lnTo>
                  <a:pt x="2476" y="2434"/>
                </a:lnTo>
                <a:lnTo>
                  <a:pt x="2467" y="2412"/>
                </a:lnTo>
                <a:lnTo>
                  <a:pt x="2457" y="2392"/>
                </a:lnTo>
                <a:lnTo>
                  <a:pt x="2445" y="2373"/>
                </a:lnTo>
                <a:lnTo>
                  <a:pt x="2432" y="2357"/>
                </a:lnTo>
                <a:lnTo>
                  <a:pt x="2416" y="2342"/>
                </a:lnTo>
                <a:lnTo>
                  <a:pt x="2401" y="2328"/>
                </a:lnTo>
                <a:lnTo>
                  <a:pt x="2384" y="2316"/>
                </a:lnTo>
                <a:lnTo>
                  <a:pt x="2366" y="2306"/>
                </a:lnTo>
                <a:lnTo>
                  <a:pt x="2348" y="2297"/>
                </a:lnTo>
                <a:lnTo>
                  <a:pt x="2328" y="2289"/>
                </a:lnTo>
                <a:lnTo>
                  <a:pt x="2306" y="2282"/>
                </a:lnTo>
                <a:lnTo>
                  <a:pt x="2284" y="2277"/>
                </a:lnTo>
                <a:lnTo>
                  <a:pt x="2262" y="2273"/>
                </a:lnTo>
                <a:lnTo>
                  <a:pt x="2239" y="2269"/>
                </a:lnTo>
                <a:lnTo>
                  <a:pt x="2215" y="2267"/>
                </a:lnTo>
                <a:lnTo>
                  <a:pt x="2190" y="2265"/>
                </a:lnTo>
                <a:lnTo>
                  <a:pt x="2164" y="2263"/>
                </a:lnTo>
                <a:lnTo>
                  <a:pt x="2139" y="2263"/>
                </a:lnTo>
                <a:lnTo>
                  <a:pt x="2113" y="2262"/>
                </a:lnTo>
                <a:lnTo>
                  <a:pt x="2004" y="2264"/>
                </a:lnTo>
                <a:lnTo>
                  <a:pt x="1892" y="2266"/>
                </a:lnTo>
                <a:close/>
                <a:moveTo>
                  <a:pt x="194" y="849"/>
                </a:moveTo>
                <a:lnTo>
                  <a:pt x="135" y="1051"/>
                </a:lnTo>
                <a:lnTo>
                  <a:pt x="87" y="1302"/>
                </a:lnTo>
                <a:lnTo>
                  <a:pt x="48" y="1581"/>
                </a:lnTo>
                <a:lnTo>
                  <a:pt x="10" y="1880"/>
                </a:lnTo>
                <a:lnTo>
                  <a:pt x="0" y="2024"/>
                </a:lnTo>
                <a:lnTo>
                  <a:pt x="0" y="2179"/>
                </a:lnTo>
                <a:lnTo>
                  <a:pt x="0" y="2333"/>
                </a:lnTo>
                <a:lnTo>
                  <a:pt x="10" y="2487"/>
                </a:lnTo>
                <a:lnTo>
                  <a:pt x="48" y="2786"/>
                </a:lnTo>
                <a:lnTo>
                  <a:pt x="87" y="3066"/>
                </a:lnTo>
                <a:lnTo>
                  <a:pt x="135" y="3307"/>
                </a:lnTo>
                <a:lnTo>
                  <a:pt x="194" y="3519"/>
                </a:lnTo>
                <a:lnTo>
                  <a:pt x="232" y="3683"/>
                </a:lnTo>
                <a:lnTo>
                  <a:pt x="271" y="3827"/>
                </a:lnTo>
                <a:lnTo>
                  <a:pt x="551" y="3827"/>
                </a:lnTo>
                <a:lnTo>
                  <a:pt x="522" y="3751"/>
                </a:lnTo>
                <a:lnTo>
                  <a:pt x="473" y="3548"/>
                </a:lnTo>
                <a:lnTo>
                  <a:pt x="919" y="3548"/>
                </a:lnTo>
                <a:lnTo>
                  <a:pt x="967" y="3606"/>
                </a:lnTo>
                <a:lnTo>
                  <a:pt x="1005" y="3664"/>
                </a:lnTo>
                <a:lnTo>
                  <a:pt x="1064" y="3713"/>
                </a:lnTo>
                <a:lnTo>
                  <a:pt x="1112" y="3751"/>
                </a:lnTo>
                <a:lnTo>
                  <a:pt x="1170" y="3780"/>
                </a:lnTo>
                <a:lnTo>
                  <a:pt x="1218" y="3799"/>
                </a:lnTo>
                <a:lnTo>
                  <a:pt x="1286" y="3818"/>
                </a:lnTo>
                <a:lnTo>
                  <a:pt x="1343" y="3827"/>
                </a:lnTo>
                <a:lnTo>
                  <a:pt x="9671" y="3827"/>
                </a:lnTo>
                <a:lnTo>
                  <a:pt x="9718" y="3818"/>
                </a:lnTo>
                <a:lnTo>
                  <a:pt x="9767" y="3808"/>
                </a:lnTo>
                <a:lnTo>
                  <a:pt x="9815" y="3799"/>
                </a:lnTo>
                <a:lnTo>
                  <a:pt x="9864" y="3780"/>
                </a:lnTo>
                <a:lnTo>
                  <a:pt x="9950" y="3722"/>
                </a:lnTo>
                <a:lnTo>
                  <a:pt x="10028" y="3645"/>
                </a:lnTo>
                <a:lnTo>
                  <a:pt x="10096" y="3548"/>
                </a:lnTo>
                <a:lnTo>
                  <a:pt x="10163" y="3452"/>
                </a:lnTo>
                <a:lnTo>
                  <a:pt x="10222" y="3336"/>
                </a:lnTo>
                <a:lnTo>
                  <a:pt x="10269" y="3211"/>
                </a:lnTo>
                <a:lnTo>
                  <a:pt x="10318" y="3075"/>
                </a:lnTo>
                <a:lnTo>
                  <a:pt x="10357" y="2940"/>
                </a:lnTo>
                <a:lnTo>
                  <a:pt x="10396" y="2806"/>
                </a:lnTo>
                <a:lnTo>
                  <a:pt x="10425" y="2671"/>
                </a:lnTo>
                <a:lnTo>
                  <a:pt x="10453" y="2411"/>
                </a:lnTo>
                <a:lnTo>
                  <a:pt x="10473" y="2179"/>
                </a:lnTo>
                <a:lnTo>
                  <a:pt x="10453" y="1957"/>
                </a:lnTo>
                <a:lnTo>
                  <a:pt x="10425" y="1697"/>
                </a:lnTo>
                <a:lnTo>
                  <a:pt x="10396" y="1561"/>
                </a:lnTo>
                <a:lnTo>
                  <a:pt x="10357" y="1426"/>
                </a:lnTo>
                <a:lnTo>
                  <a:pt x="10318" y="1292"/>
                </a:lnTo>
                <a:lnTo>
                  <a:pt x="10269" y="1157"/>
                </a:lnTo>
                <a:lnTo>
                  <a:pt x="10222" y="1032"/>
                </a:lnTo>
                <a:lnTo>
                  <a:pt x="10163" y="916"/>
                </a:lnTo>
                <a:lnTo>
                  <a:pt x="10096" y="809"/>
                </a:lnTo>
                <a:lnTo>
                  <a:pt x="10028" y="723"/>
                </a:lnTo>
                <a:lnTo>
                  <a:pt x="9950" y="646"/>
                </a:lnTo>
                <a:lnTo>
                  <a:pt x="9864" y="588"/>
                </a:lnTo>
                <a:lnTo>
                  <a:pt x="9815" y="569"/>
                </a:lnTo>
                <a:lnTo>
                  <a:pt x="9767" y="559"/>
                </a:lnTo>
                <a:lnTo>
                  <a:pt x="9718" y="550"/>
                </a:lnTo>
                <a:lnTo>
                  <a:pt x="9671" y="540"/>
                </a:lnTo>
                <a:lnTo>
                  <a:pt x="5938" y="540"/>
                </a:lnTo>
                <a:lnTo>
                  <a:pt x="5938" y="328"/>
                </a:lnTo>
                <a:lnTo>
                  <a:pt x="6219" y="328"/>
                </a:lnTo>
                <a:lnTo>
                  <a:pt x="6219" y="0"/>
                </a:lnTo>
                <a:lnTo>
                  <a:pt x="4575" y="0"/>
                </a:lnTo>
                <a:lnTo>
                  <a:pt x="4575" y="328"/>
                </a:lnTo>
                <a:lnTo>
                  <a:pt x="4846" y="328"/>
                </a:lnTo>
                <a:lnTo>
                  <a:pt x="4846" y="540"/>
                </a:lnTo>
                <a:lnTo>
                  <a:pt x="1343" y="540"/>
                </a:lnTo>
                <a:lnTo>
                  <a:pt x="1286" y="550"/>
                </a:lnTo>
                <a:lnTo>
                  <a:pt x="1218" y="559"/>
                </a:lnTo>
                <a:lnTo>
                  <a:pt x="1170" y="588"/>
                </a:lnTo>
                <a:lnTo>
                  <a:pt x="1112" y="617"/>
                </a:lnTo>
                <a:lnTo>
                  <a:pt x="1064" y="655"/>
                </a:lnTo>
                <a:lnTo>
                  <a:pt x="1005" y="704"/>
                </a:lnTo>
                <a:lnTo>
                  <a:pt x="967" y="762"/>
                </a:lnTo>
                <a:lnTo>
                  <a:pt x="919" y="819"/>
                </a:lnTo>
                <a:lnTo>
                  <a:pt x="473" y="819"/>
                </a:lnTo>
                <a:lnTo>
                  <a:pt x="522" y="617"/>
                </a:lnTo>
                <a:lnTo>
                  <a:pt x="551" y="540"/>
                </a:lnTo>
                <a:lnTo>
                  <a:pt x="271" y="540"/>
                </a:lnTo>
                <a:lnTo>
                  <a:pt x="232" y="685"/>
                </a:lnTo>
                <a:lnTo>
                  <a:pt x="194" y="849"/>
                </a:lnTo>
                <a:close/>
                <a:moveTo>
                  <a:pt x="406" y="1089"/>
                </a:moveTo>
                <a:lnTo>
                  <a:pt x="773" y="1089"/>
                </a:lnTo>
                <a:lnTo>
                  <a:pt x="725" y="1224"/>
                </a:lnTo>
                <a:lnTo>
                  <a:pt x="677" y="1359"/>
                </a:lnTo>
                <a:lnTo>
                  <a:pt x="638" y="1495"/>
                </a:lnTo>
                <a:lnTo>
                  <a:pt x="609" y="1639"/>
                </a:lnTo>
                <a:lnTo>
                  <a:pt x="310" y="1639"/>
                </a:lnTo>
                <a:lnTo>
                  <a:pt x="357" y="1350"/>
                </a:lnTo>
                <a:lnTo>
                  <a:pt x="406" y="1089"/>
                </a:lnTo>
                <a:close/>
                <a:moveTo>
                  <a:pt x="609" y="2729"/>
                </a:moveTo>
                <a:lnTo>
                  <a:pt x="638" y="2873"/>
                </a:lnTo>
                <a:lnTo>
                  <a:pt x="677" y="3008"/>
                </a:lnTo>
                <a:lnTo>
                  <a:pt x="725" y="3143"/>
                </a:lnTo>
                <a:lnTo>
                  <a:pt x="773" y="3279"/>
                </a:lnTo>
                <a:lnTo>
                  <a:pt x="406" y="3279"/>
                </a:lnTo>
                <a:lnTo>
                  <a:pt x="357" y="3018"/>
                </a:lnTo>
                <a:lnTo>
                  <a:pt x="310" y="2729"/>
                </a:lnTo>
                <a:lnTo>
                  <a:pt x="609" y="2729"/>
                </a:lnTo>
                <a:close/>
                <a:moveTo>
                  <a:pt x="551" y="2314"/>
                </a:moveTo>
                <a:lnTo>
                  <a:pt x="570" y="2458"/>
                </a:lnTo>
                <a:lnTo>
                  <a:pt x="281" y="2458"/>
                </a:lnTo>
                <a:lnTo>
                  <a:pt x="271" y="2179"/>
                </a:lnTo>
                <a:lnTo>
                  <a:pt x="281" y="1909"/>
                </a:lnTo>
                <a:lnTo>
                  <a:pt x="570" y="1909"/>
                </a:lnTo>
                <a:lnTo>
                  <a:pt x="551" y="2054"/>
                </a:lnTo>
                <a:lnTo>
                  <a:pt x="551" y="2179"/>
                </a:lnTo>
                <a:lnTo>
                  <a:pt x="551" y="2314"/>
                </a:lnTo>
                <a:close/>
                <a:moveTo>
                  <a:pt x="1536" y="3233"/>
                </a:moveTo>
                <a:lnTo>
                  <a:pt x="1536" y="1089"/>
                </a:lnTo>
                <a:lnTo>
                  <a:pt x="2680" y="1089"/>
                </a:lnTo>
                <a:lnTo>
                  <a:pt x="2680" y="1415"/>
                </a:lnTo>
                <a:lnTo>
                  <a:pt x="1892" y="1415"/>
                </a:lnTo>
                <a:lnTo>
                  <a:pt x="1892" y="1939"/>
                </a:lnTo>
                <a:lnTo>
                  <a:pt x="1969" y="1939"/>
                </a:lnTo>
                <a:lnTo>
                  <a:pt x="2050" y="1939"/>
                </a:lnTo>
                <a:lnTo>
                  <a:pt x="2090" y="1939"/>
                </a:lnTo>
                <a:lnTo>
                  <a:pt x="2131" y="1940"/>
                </a:lnTo>
                <a:lnTo>
                  <a:pt x="2172" y="1942"/>
                </a:lnTo>
                <a:lnTo>
                  <a:pt x="2214" y="1944"/>
                </a:lnTo>
                <a:lnTo>
                  <a:pt x="2254" y="1947"/>
                </a:lnTo>
                <a:lnTo>
                  <a:pt x="2294" y="1951"/>
                </a:lnTo>
                <a:lnTo>
                  <a:pt x="2335" y="1956"/>
                </a:lnTo>
                <a:lnTo>
                  <a:pt x="2374" y="1962"/>
                </a:lnTo>
                <a:lnTo>
                  <a:pt x="2413" y="1970"/>
                </a:lnTo>
                <a:lnTo>
                  <a:pt x="2451" y="1979"/>
                </a:lnTo>
                <a:lnTo>
                  <a:pt x="2488" y="1991"/>
                </a:lnTo>
                <a:lnTo>
                  <a:pt x="2524" y="2003"/>
                </a:lnTo>
                <a:lnTo>
                  <a:pt x="2559" y="2018"/>
                </a:lnTo>
                <a:lnTo>
                  <a:pt x="2593" y="2035"/>
                </a:lnTo>
                <a:lnTo>
                  <a:pt x="2625" y="2055"/>
                </a:lnTo>
                <a:lnTo>
                  <a:pt x="2656" y="2077"/>
                </a:lnTo>
                <a:lnTo>
                  <a:pt x="2684" y="2101"/>
                </a:lnTo>
                <a:lnTo>
                  <a:pt x="2711" y="2127"/>
                </a:lnTo>
                <a:lnTo>
                  <a:pt x="2736" y="2157"/>
                </a:lnTo>
                <a:lnTo>
                  <a:pt x="2760" y="2189"/>
                </a:lnTo>
                <a:lnTo>
                  <a:pt x="2780" y="2225"/>
                </a:lnTo>
                <a:lnTo>
                  <a:pt x="2799" y="2264"/>
                </a:lnTo>
                <a:lnTo>
                  <a:pt x="2814" y="2305"/>
                </a:lnTo>
                <a:lnTo>
                  <a:pt x="2827" y="2352"/>
                </a:lnTo>
                <a:lnTo>
                  <a:pt x="2838" y="2400"/>
                </a:lnTo>
                <a:lnTo>
                  <a:pt x="2846" y="2453"/>
                </a:lnTo>
                <a:lnTo>
                  <a:pt x="2850" y="2510"/>
                </a:lnTo>
                <a:lnTo>
                  <a:pt x="2852" y="2571"/>
                </a:lnTo>
                <a:lnTo>
                  <a:pt x="2850" y="2642"/>
                </a:lnTo>
                <a:lnTo>
                  <a:pt x="2844" y="2709"/>
                </a:lnTo>
                <a:lnTo>
                  <a:pt x="2834" y="2770"/>
                </a:lnTo>
                <a:lnTo>
                  <a:pt x="2821" y="2828"/>
                </a:lnTo>
                <a:lnTo>
                  <a:pt x="2804" y="2879"/>
                </a:lnTo>
                <a:lnTo>
                  <a:pt x="2784" y="2927"/>
                </a:lnTo>
                <a:lnTo>
                  <a:pt x="2760" y="2971"/>
                </a:lnTo>
                <a:lnTo>
                  <a:pt x="2733" y="3010"/>
                </a:lnTo>
                <a:lnTo>
                  <a:pt x="2703" y="3045"/>
                </a:lnTo>
                <a:lnTo>
                  <a:pt x="2671" y="3076"/>
                </a:lnTo>
                <a:lnTo>
                  <a:pt x="2635" y="3105"/>
                </a:lnTo>
                <a:lnTo>
                  <a:pt x="2598" y="3130"/>
                </a:lnTo>
                <a:lnTo>
                  <a:pt x="2558" y="3152"/>
                </a:lnTo>
                <a:lnTo>
                  <a:pt x="2515" y="3170"/>
                </a:lnTo>
                <a:lnTo>
                  <a:pt x="2471" y="3186"/>
                </a:lnTo>
                <a:lnTo>
                  <a:pt x="2425" y="3200"/>
                </a:lnTo>
                <a:lnTo>
                  <a:pt x="2376" y="3211"/>
                </a:lnTo>
                <a:lnTo>
                  <a:pt x="2327" y="3220"/>
                </a:lnTo>
                <a:lnTo>
                  <a:pt x="2275" y="3227"/>
                </a:lnTo>
                <a:lnTo>
                  <a:pt x="2223" y="3233"/>
                </a:lnTo>
                <a:lnTo>
                  <a:pt x="2169" y="3237"/>
                </a:lnTo>
                <a:lnTo>
                  <a:pt x="2114" y="3239"/>
                </a:lnTo>
                <a:lnTo>
                  <a:pt x="2058" y="3241"/>
                </a:lnTo>
                <a:lnTo>
                  <a:pt x="2002" y="3241"/>
                </a:lnTo>
                <a:lnTo>
                  <a:pt x="1886" y="3240"/>
                </a:lnTo>
                <a:lnTo>
                  <a:pt x="1769" y="3237"/>
                </a:lnTo>
                <a:lnTo>
                  <a:pt x="1652" y="3234"/>
                </a:lnTo>
                <a:lnTo>
                  <a:pt x="1536" y="3233"/>
                </a:lnTo>
                <a:close/>
                <a:moveTo>
                  <a:pt x="3115" y="3233"/>
                </a:moveTo>
                <a:lnTo>
                  <a:pt x="3115" y="1089"/>
                </a:lnTo>
                <a:lnTo>
                  <a:pt x="3464" y="1089"/>
                </a:lnTo>
                <a:lnTo>
                  <a:pt x="3464" y="2525"/>
                </a:lnTo>
                <a:lnTo>
                  <a:pt x="3473" y="2528"/>
                </a:lnTo>
                <a:lnTo>
                  <a:pt x="4196" y="1089"/>
                </a:lnTo>
                <a:lnTo>
                  <a:pt x="4523" y="1089"/>
                </a:lnTo>
                <a:lnTo>
                  <a:pt x="4523" y="3233"/>
                </a:lnTo>
                <a:lnTo>
                  <a:pt x="4172" y="3233"/>
                </a:lnTo>
                <a:lnTo>
                  <a:pt x="4172" y="1834"/>
                </a:lnTo>
                <a:lnTo>
                  <a:pt x="4165" y="1834"/>
                </a:lnTo>
                <a:lnTo>
                  <a:pt x="3448" y="3233"/>
                </a:lnTo>
                <a:lnTo>
                  <a:pt x="3115" y="3233"/>
                </a:lnTo>
                <a:close/>
                <a:moveTo>
                  <a:pt x="5190" y="3233"/>
                </a:moveTo>
                <a:lnTo>
                  <a:pt x="5190" y="1409"/>
                </a:lnTo>
                <a:lnTo>
                  <a:pt x="4718" y="1409"/>
                </a:lnTo>
                <a:lnTo>
                  <a:pt x="4718" y="1089"/>
                </a:lnTo>
                <a:lnTo>
                  <a:pt x="6018" y="1089"/>
                </a:lnTo>
                <a:lnTo>
                  <a:pt x="6018" y="1409"/>
                </a:lnTo>
                <a:lnTo>
                  <a:pt x="5542" y="1409"/>
                </a:lnTo>
                <a:lnTo>
                  <a:pt x="5542" y="3233"/>
                </a:lnTo>
                <a:lnTo>
                  <a:pt x="5190" y="3233"/>
                </a:lnTo>
                <a:close/>
                <a:moveTo>
                  <a:pt x="6630" y="2706"/>
                </a:moveTo>
                <a:lnTo>
                  <a:pt x="6070" y="1092"/>
                </a:lnTo>
                <a:lnTo>
                  <a:pt x="6436" y="1092"/>
                </a:lnTo>
                <a:lnTo>
                  <a:pt x="6794" y="2260"/>
                </a:lnTo>
                <a:lnTo>
                  <a:pt x="6809" y="2260"/>
                </a:lnTo>
                <a:lnTo>
                  <a:pt x="7139" y="1092"/>
                </a:lnTo>
                <a:lnTo>
                  <a:pt x="7486" y="1092"/>
                </a:lnTo>
                <a:lnTo>
                  <a:pt x="7457" y="1185"/>
                </a:lnTo>
                <a:lnTo>
                  <a:pt x="7423" y="1298"/>
                </a:lnTo>
                <a:lnTo>
                  <a:pt x="7385" y="1427"/>
                </a:lnTo>
                <a:lnTo>
                  <a:pt x="7343" y="1571"/>
                </a:lnTo>
                <a:lnTo>
                  <a:pt x="7297" y="1726"/>
                </a:lnTo>
                <a:lnTo>
                  <a:pt x="7248" y="1889"/>
                </a:lnTo>
                <a:lnTo>
                  <a:pt x="7198" y="2054"/>
                </a:lnTo>
                <a:lnTo>
                  <a:pt x="7145" y="2220"/>
                </a:lnTo>
                <a:lnTo>
                  <a:pt x="7119" y="2302"/>
                </a:lnTo>
                <a:lnTo>
                  <a:pt x="7092" y="2384"/>
                </a:lnTo>
                <a:lnTo>
                  <a:pt x="7065" y="2463"/>
                </a:lnTo>
                <a:lnTo>
                  <a:pt x="7037" y="2541"/>
                </a:lnTo>
                <a:lnTo>
                  <a:pt x="7010" y="2615"/>
                </a:lnTo>
                <a:lnTo>
                  <a:pt x="6983" y="2688"/>
                </a:lnTo>
                <a:lnTo>
                  <a:pt x="6956" y="2757"/>
                </a:lnTo>
                <a:lnTo>
                  <a:pt x="6928" y="2823"/>
                </a:lnTo>
                <a:lnTo>
                  <a:pt x="6902" y="2884"/>
                </a:lnTo>
                <a:lnTo>
                  <a:pt x="6876" y="2940"/>
                </a:lnTo>
                <a:lnTo>
                  <a:pt x="6850" y="2993"/>
                </a:lnTo>
                <a:lnTo>
                  <a:pt x="6824" y="3039"/>
                </a:lnTo>
                <a:lnTo>
                  <a:pt x="6799" y="3080"/>
                </a:lnTo>
                <a:lnTo>
                  <a:pt x="6775" y="3115"/>
                </a:lnTo>
                <a:lnTo>
                  <a:pt x="6752" y="3143"/>
                </a:lnTo>
                <a:lnTo>
                  <a:pt x="6728" y="3164"/>
                </a:lnTo>
                <a:lnTo>
                  <a:pt x="6268" y="3245"/>
                </a:lnTo>
                <a:lnTo>
                  <a:pt x="6268" y="2956"/>
                </a:lnTo>
                <a:lnTo>
                  <a:pt x="6346" y="2956"/>
                </a:lnTo>
                <a:lnTo>
                  <a:pt x="6407" y="2955"/>
                </a:lnTo>
                <a:lnTo>
                  <a:pt x="6432" y="2952"/>
                </a:lnTo>
                <a:lnTo>
                  <a:pt x="6454" y="2948"/>
                </a:lnTo>
                <a:lnTo>
                  <a:pt x="6464" y="2946"/>
                </a:lnTo>
                <a:lnTo>
                  <a:pt x="6474" y="2942"/>
                </a:lnTo>
                <a:lnTo>
                  <a:pt x="6483" y="2938"/>
                </a:lnTo>
                <a:lnTo>
                  <a:pt x="6491" y="2934"/>
                </a:lnTo>
                <a:lnTo>
                  <a:pt x="6499" y="2929"/>
                </a:lnTo>
                <a:lnTo>
                  <a:pt x="6507" y="2923"/>
                </a:lnTo>
                <a:lnTo>
                  <a:pt x="6516" y="2917"/>
                </a:lnTo>
                <a:lnTo>
                  <a:pt x="6523" y="2910"/>
                </a:lnTo>
                <a:lnTo>
                  <a:pt x="6530" y="2902"/>
                </a:lnTo>
                <a:lnTo>
                  <a:pt x="6537" y="2894"/>
                </a:lnTo>
                <a:lnTo>
                  <a:pt x="6544" y="2884"/>
                </a:lnTo>
                <a:lnTo>
                  <a:pt x="6551" y="2874"/>
                </a:lnTo>
                <a:lnTo>
                  <a:pt x="6565" y="2850"/>
                </a:lnTo>
                <a:lnTo>
                  <a:pt x="6580" y="2822"/>
                </a:lnTo>
                <a:lnTo>
                  <a:pt x="6596" y="2788"/>
                </a:lnTo>
                <a:lnTo>
                  <a:pt x="6614" y="2751"/>
                </a:lnTo>
                <a:lnTo>
                  <a:pt x="6630" y="2706"/>
                </a:lnTo>
                <a:close/>
                <a:moveTo>
                  <a:pt x="7708" y="3233"/>
                </a:moveTo>
                <a:lnTo>
                  <a:pt x="7708" y="1089"/>
                </a:lnTo>
                <a:lnTo>
                  <a:pt x="8045" y="1089"/>
                </a:lnTo>
                <a:lnTo>
                  <a:pt x="8557" y="2309"/>
                </a:lnTo>
                <a:lnTo>
                  <a:pt x="8570" y="2309"/>
                </a:lnTo>
                <a:lnTo>
                  <a:pt x="9073" y="1089"/>
                </a:lnTo>
                <a:lnTo>
                  <a:pt x="9412" y="1089"/>
                </a:lnTo>
                <a:lnTo>
                  <a:pt x="9412" y="3233"/>
                </a:lnTo>
                <a:lnTo>
                  <a:pt x="9061" y="3233"/>
                </a:lnTo>
                <a:lnTo>
                  <a:pt x="9061" y="1979"/>
                </a:lnTo>
                <a:lnTo>
                  <a:pt x="9048" y="1979"/>
                </a:lnTo>
                <a:lnTo>
                  <a:pt x="8687" y="2848"/>
                </a:lnTo>
                <a:lnTo>
                  <a:pt x="8437" y="2848"/>
                </a:lnTo>
                <a:lnTo>
                  <a:pt x="8072" y="1976"/>
                </a:lnTo>
                <a:lnTo>
                  <a:pt x="8060" y="1979"/>
                </a:lnTo>
                <a:lnTo>
                  <a:pt x="8060" y="3233"/>
                </a:lnTo>
                <a:lnTo>
                  <a:pt x="7708" y="3233"/>
                </a:lnTo>
                <a:close/>
                <a:moveTo>
                  <a:pt x="2147" y="5104"/>
                </a:moveTo>
                <a:lnTo>
                  <a:pt x="2238" y="5049"/>
                </a:lnTo>
                <a:lnTo>
                  <a:pt x="2328" y="5031"/>
                </a:lnTo>
                <a:lnTo>
                  <a:pt x="2437" y="5049"/>
                </a:lnTo>
                <a:lnTo>
                  <a:pt x="2508" y="5104"/>
                </a:lnTo>
                <a:lnTo>
                  <a:pt x="2563" y="5176"/>
                </a:lnTo>
                <a:lnTo>
                  <a:pt x="2581" y="5284"/>
                </a:lnTo>
                <a:lnTo>
                  <a:pt x="2563" y="5375"/>
                </a:lnTo>
                <a:lnTo>
                  <a:pt x="2508" y="5465"/>
                </a:lnTo>
                <a:lnTo>
                  <a:pt x="2437" y="5519"/>
                </a:lnTo>
                <a:lnTo>
                  <a:pt x="2328" y="5537"/>
                </a:lnTo>
                <a:lnTo>
                  <a:pt x="2238" y="5519"/>
                </a:lnTo>
                <a:lnTo>
                  <a:pt x="2147" y="5465"/>
                </a:lnTo>
                <a:lnTo>
                  <a:pt x="2092" y="5375"/>
                </a:lnTo>
                <a:lnTo>
                  <a:pt x="2074" y="5284"/>
                </a:lnTo>
                <a:lnTo>
                  <a:pt x="2092" y="5176"/>
                </a:lnTo>
                <a:lnTo>
                  <a:pt x="2147" y="5104"/>
                </a:lnTo>
                <a:close/>
                <a:moveTo>
                  <a:pt x="5060" y="5122"/>
                </a:moveTo>
                <a:lnTo>
                  <a:pt x="5024" y="4978"/>
                </a:lnTo>
                <a:lnTo>
                  <a:pt x="4951" y="4851"/>
                </a:lnTo>
                <a:lnTo>
                  <a:pt x="4861" y="4743"/>
                </a:lnTo>
                <a:lnTo>
                  <a:pt x="4752" y="4653"/>
                </a:lnTo>
                <a:lnTo>
                  <a:pt x="4608" y="4580"/>
                </a:lnTo>
                <a:lnTo>
                  <a:pt x="4462" y="4527"/>
                </a:lnTo>
                <a:lnTo>
                  <a:pt x="4318" y="4509"/>
                </a:lnTo>
                <a:lnTo>
                  <a:pt x="4155" y="4527"/>
                </a:lnTo>
                <a:lnTo>
                  <a:pt x="4010" y="4580"/>
                </a:lnTo>
                <a:lnTo>
                  <a:pt x="3884" y="4653"/>
                </a:lnTo>
                <a:lnTo>
                  <a:pt x="3775" y="4743"/>
                </a:lnTo>
                <a:lnTo>
                  <a:pt x="3685" y="4851"/>
                </a:lnTo>
                <a:lnTo>
                  <a:pt x="3613" y="4978"/>
                </a:lnTo>
                <a:lnTo>
                  <a:pt x="3558" y="5122"/>
                </a:lnTo>
                <a:lnTo>
                  <a:pt x="3540" y="5284"/>
                </a:lnTo>
                <a:lnTo>
                  <a:pt x="3558" y="5429"/>
                </a:lnTo>
                <a:lnTo>
                  <a:pt x="3613" y="5573"/>
                </a:lnTo>
                <a:lnTo>
                  <a:pt x="3685" y="5717"/>
                </a:lnTo>
                <a:lnTo>
                  <a:pt x="3775" y="5826"/>
                </a:lnTo>
                <a:lnTo>
                  <a:pt x="3884" y="5916"/>
                </a:lnTo>
                <a:lnTo>
                  <a:pt x="4010" y="5988"/>
                </a:lnTo>
                <a:lnTo>
                  <a:pt x="4155" y="6024"/>
                </a:lnTo>
                <a:lnTo>
                  <a:pt x="4318" y="6042"/>
                </a:lnTo>
                <a:lnTo>
                  <a:pt x="4462" y="6024"/>
                </a:lnTo>
                <a:lnTo>
                  <a:pt x="4608" y="5988"/>
                </a:lnTo>
                <a:lnTo>
                  <a:pt x="4752" y="5916"/>
                </a:lnTo>
                <a:lnTo>
                  <a:pt x="4861" y="5826"/>
                </a:lnTo>
                <a:lnTo>
                  <a:pt x="4951" y="5717"/>
                </a:lnTo>
                <a:lnTo>
                  <a:pt x="5024" y="5573"/>
                </a:lnTo>
                <a:lnTo>
                  <a:pt x="5060" y="5429"/>
                </a:lnTo>
                <a:lnTo>
                  <a:pt x="5078" y="5284"/>
                </a:lnTo>
                <a:lnTo>
                  <a:pt x="5060" y="5122"/>
                </a:lnTo>
                <a:close/>
                <a:moveTo>
                  <a:pt x="4499" y="5104"/>
                </a:moveTo>
                <a:lnTo>
                  <a:pt x="4553" y="5176"/>
                </a:lnTo>
                <a:lnTo>
                  <a:pt x="4571" y="5284"/>
                </a:lnTo>
                <a:lnTo>
                  <a:pt x="4553" y="5375"/>
                </a:lnTo>
                <a:lnTo>
                  <a:pt x="4499" y="5465"/>
                </a:lnTo>
                <a:lnTo>
                  <a:pt x="4408" y="5519"/>
                </a:lnTo>
                <a:lnTo>
                  <a:pt x="4318" y="5537"/>
                </a:lnTo>
                <a:lnTo>
                  <a:pt x="4209" y="5519"/>
                </a:lnTo>
                <a:lnTo>
                  <a:pt x="4137" y="5465"/>
                </a:lnTo>
                <a:lnTo>
                  <a:pt x="4083" y="5375"/>
                </a:lnTo>
                <a:lnTo>
                  <a:pt x="4065" y="5284"/>
                </a:lnTo>
                <a:lnTo>
                  <a:pt x="4083" y="5176"/>
                </a:lnTo>
                <a:lnTo>
                  <a:pt x="4137" y="5104"/>
                </a:lnTo>
                <a:lnTo>
                  <a:pt x="4209" y="5049"/>
                </a:lnTo>
                <a:lnTo>
                  <a:pt x="4318" y="5031"/>
                </a:lnTo>
                <a:lnTo>
                  <a:pt x="4408" y="5049"/>
                </a:lnTo>
                <a:lnTo>
                  <a:pt x="4499" y="5104"/>
                </a:lnTo>
                <a:close/>
                <a:moveTo>
                  <a:pt x="9764" y="5284"/>
                </a:moveTo>
                <a:lnTo>
                  <a:pt x="9746" y="5122"/>
                </a:lnTo>
                <a:lnTo>
                  <a:pt x="9709" y="4978"/>
                </a:lnTo>
                <a:lnTo>
                  <a:pt x="9638" y="4851"/>
                </a:lnTo>
                <a:lnTo>
                  <a:pt x="9547" y="4743"/>
                </a:lnTo>
                <a:lnTo>
                  <a:pt x="9419" y="4653"/>
                </a:lnTo>
                <a:lnTo>
                  <a:pt x="9293" y="4580"/>
                </a:lnTo>
                <a:lnTo>
                  <a:pt x="9148" y="4527"/>
                </a:lnTo>
                <a:lnTo>
                  <a:pt x="9004" y="4509"/>
                </a:lnTo>
                <a:lnTo>
                  <a:pt x="8841" y="4527"/>
                </a:lnTo>
                <a:lnTo>
                  <a:pt x="8696" y="4580"/>
                </a:lnTo>
                <a:lnTo>
                  <a:pt x="8570" y="4653"/>
                </a:lnTo>
                <a:lnTo>
                  <a:pt x="8461" y="4743"/>
                </a:lnTo>
                <a:lnTo>
                  <a:pt x="8353" y="4851"/>
                </a:lnTo>
                <a:lnTo>
                  <a:pt x="8280" y="4978"/>
                </a:lnTo>
                <a:lnTo>
                  <a:pt x="8244" y="5122"/>
                </a:lnTo>
                <a:lnTo>
                  <a:pt x="8225" y="5284"/>
                </a:lnTo>
                <a:lnTo>
                  <a:pt x="8244" y="5429"/>
                </a:lnTo>
                <a:lnTo>
                  <a:pt x="8280" y="5573"/>
                </a:lnTo>
                <a:lnTo>
                  <a:pt x="8353" y="5717"/>
                </a:lnTo>
                <a:lnTo>
                  <a:pt x="8461" y="5826"/>
                </a:lnTo>
                <a:lnTo>
                  <a:pt x="8570" y="5916"/>
                </a:lnTo>
                <a:lnTo>
                  <a:pt x="8696" y="5988"/>
                </a:lnTo>
                <a:lnTo>
                  <a:pt x="8841" y="6024"/>
                </a:lnTo>
                <a:lnTo>
                  <a:pt x="9004" y="6042"/>
                </a:lnTo>
                <a:lnTo>
                  <a:pt x="9148" y="6024"/>
                </a:lnTo>
                <a:lnTo>
                  <a:pt x="9293" y="5988"/>
                </a:lnTo>
                <a:lnTo>
                  <a:pt x="9419" y="5916"/>
                </a:lnTo>
                <a:lnTo>
                  <a:pt x="9547" y="5826"/>
                </a:lnTo>
                <a:lnTo>
                  <a:pt x="9638" y="5717"/>
                </a:lnTo>
                <a:lnTo>
                  <a:pt x="9709" y="5573"/>
                </a:lnTo>
                <a:lnTo>
                  <a:pt x="9746" y="5429"/>
                </a:lnTo>
                <a:lnTo>
                  <a:pt x="9764" y="5284"/>
                </a:lnTo>
                <a:close/>
                <a:moveTo>
                  <a:pt x="9184" y="5104"/>
                </a:moveTo>
                <a:lnTo>
                  <a:pt x="9239" y="5176"/>
                </a:lnTo>
                <a:lnTo>
                  <a:pt x="9257" y="5284"/>
                </a:lnTo>
                <a:lnTo>
                  <a:pt x="9239" y="5375"/>
                </a:lnTo>
                <a:lnTo>
                  <a:pt x="9184" y="5465"/>
                </a:lnTo>
                <a:lnTo>
                  <a:pt x="9094" y="5519"/>
                </a:lnTo>
                <a:lnTo>
                  <a:pt x="9004" y="5537"/>
                </a:lnTo>
                <a:lnTo>
                  <a:pt x="8896" y="5519"/>
                </a:lnTo>
                <a:lnTo>
                  <a:pt x="8823" y="5465"/>
                </a:lnTo>
                <a:lnTo>
                  <a:pt x="8768" y="5375"/>
                </a:lnTo>
                <a:lnTo>
                  <a:pt x="8732" y="5284"/>
                </a:lnTo>
                <a:lnTo>
                  <a:pt x="8768" y="5176"/>
                </a:lnTo>
                <a:lnTo>
                  <a:pt x="8823" y="5104"/>
                </a:lnTo>
                <a:lnTo>
                  <a:pt x="8896" y="5049"/>
                </a:lnTo>
                <a:lnTo>
                  <a:pt x="9004" y="5031"/>
                </a:lnTo>
                <a:lnTo>
                  <a:pt x="9094" y="5049"/>
                </a:lnTo>
                <a:lnTo>
                  <a:pt x="9184" y="5104"/>
                </a:lnTo>
                <a:close/>
                <a:moveTo>
                  <a:pt x="13581" y="5284"/>
                </a:moveTo>
                <a:lnTo>
                  <a:pt x="13599" y="5429"/>
                </a:lnTo>
                <a:lnTo>
                  <a:pt x="13636" y="5573"/>
                </a:lnTo>
                <a:lnTo>
                  <a:pt x="13707" y="5717"/>
                </a:lnTo>
                <a:lnTo>
                  <a:pt x="13798" y="5826"/>
                </a:lnTo>
                <a:lnTo>
                  <a:pt x="13924" y="5916"/>
                </a:lnTo>
                <a:lnTo>
                  <a:pt x="14052" y="5988"/>
                </a:lnTo>
                <a:lnTo>
                  <a:pt x="14196" y="6024"/>
                </a:lnTo>
                <a:lnTo>
                  <a:pt x="14341" y="6042"/>
                </a:lnTo>
                <a:lnTo>
                  <a:pt x="14504" y="6024"/>
                </a:lnTo>
                <a:lnTo>
                  <a:pt x="14648" y="5988"/>
                </a:lnTo>
                <a:lnTo>
                  <a:pt x="14775" y="5916"/>
                </a:lnTo>
                <a:lnTo>
                  <a:pt x="14883" y="5826"/>
                </a:lnTo>
                <a:lnTo>
                  <a:pt x="14992" y="5717"/>
                </a:lnTo>
                <a:lnTo>
                  <a:pt x="15065" y="5573"/>
                </a:lnTo>
                <a:lnTo>
                  <a:pt x="15100" y="5429"/>
                </a:lnTo>
                <a:lnTo>
                  <a:pt x="15118" y="5284"/>
                </a:lnTo>
                <a:lnTo>
                  <a:pt x="15100" y="5122"/>
                </a:lnTo>
                <a:lnTo>
                  <a:pt x="15065" y="4978"/>
                </a:lnTo>
                <a:lnTo>
                  <a:pt x="14992" y="4851"/>
                </a:lnTo>
                <a:lnTo>
                  <a:pt x="14883" y="4743"/>
                </a:lnTo>
                <a:lnTo>
                  <a:pt x="14775" y="4653"/>
                </a:lnTo>
                <a:lnTo>
                  <a:pt x="14648" y="4580"/>
                </a:lnTo>
                <a:lnTo>
                  <a:pt x="14504" y="4527"/>
                </a:lnTo>
                <a:lnTo>
                  <a:pt x="14341" y="4509"/>
                </a:lnTo>
                <a:lnTo>
                  <a:pt x="14196" y="4527"/>
                </a:lnTo>
                <a:lnTo>
                  <a:pt x="14052" y="4580"/>
                </a:lnTo>
                <a:lnTo>
                  <a:pt x="13924" y="4653"/>
                </a:lnTo>
                <a:lnTo>
                  <a:pt x="13798" y="4743"/>
                </a:lnTo>
                <a:lnTo>
                  <a:pt x="13707" y="4851"/>
                </a:lnTo>
                <a:lnTo>
                  <a:pt x="13636" y="4978"/>
                </a:lnTo>
                <a:lnTo>
                  <a:pt x="13599" y="5122"/>
                </a:lnTo>
                <a:lnTo>
                  <a:pt x="13581" y="5284"/>
                </a:lnTo>
                <a:close/>
                <a:moveTo>
                  <a:pt x="14250" y="5519"/>
                </a:moveTo>
                <a:lnTo>
                  <a:pt x="14160" y="5465"/>
                </a:lnTo>
                <a:lnTo>
                  <a:pt x="14106" y="5375"/>
                </a:lnTo>
                <a:lnTo>
                  <a:pt x="14088" y="5284"/>
                </a:lnTo>
                <a:lnTo>
                  <a:pt x="14106" y="5176"/>
                </a:lnTo>
                <a:lnTo>
                  <a:pt x="14160" y="5104"/>
                </a:lnTo>
                <a:lnTo>
                  <a:pt x="14250" y="5049"/>
                </a:lnTo>
                <a:lnTo>
                  <a:pt x="14341" y="5031"/>
                </a:lnTo>
                <a:lnTo>
                  <a:pt x="14449" y="5049"/>
                </a:lnTo>
                <a:lnTo>
                  <a:pt x="14522" y="5104"/>
                </a:lnTo>
                <a:lnTo>
                  <a:pt x="14576" y="5176"/>
                </a:lnTo>
                <a:lnTo>
                  <a:pt x="14612" y="5284"/>
                </a:lnTo>
                <a:lnTo>
                  <a:pt x="14576" y="5375"/>
                </a:lnTo>
                <a:lnTo>
                  <a:pt x="14522" y="5465"/>
                </a:lnTo>
                <a:lnTo>
                  <a:pt x="14449" y="5519"/>
                </a:lnTo>
                <a:lnTo>
                  <a:pt x="14341" y="5537"/>
                </a:lnTo>
                <a:lnTo>
                  <a:pt x="14250" y="5519"/>
                </a:lnTo>
                <a:close/>
                <a:moveTo>
                  <a:pt x="2798" y="4346"/>
                </a:moveTo>
                <a:lnTo>
                  <a:pt x="2943" y="4418"/>
                </a:lnTo>
                <a:lnTo>
                  <a:pt x="3070" y="4527"/>
                </a:lnTo>
                <a:lnTo>
                  <a:pt x="3160" y="4635"/>
                </a:lnTo>
                <a:lnTo>
                  <a:pt x="3250" y="4780"/>
                </a:lnTo>
                <a:lnTo>
                  <a:pt x="3323" y="4924"/>
                </a:lnTo>
                <a:lnTo>
                  <a:pt x="3396" y="4780"/>
                </a:lnTo>
                <a:lnTo>
                  <a:pt x="3467" y="4635"/>
                </a:lnTo>
                <a:lnTo>
                  <a:pt x="3576" y="4527"/>
                </a:lnTo>
                <a:lnTo>
                  <a:pt x="3702" y="4418"/>
                </a:lnTo>
                <a:lnTo>
                  <a:pt x="3848" y="4346"/>
                </a:lnTo>
                <a:lnTo>
                  <a:pt x="3956" y="4292"/>
                </a:lnTo>
                <a:lnTo>
                  <a:pt x="2690" y="4292"/>
                </a:lnTo>
                <a:lnTo>
                  <a:pt x="2798" y="4346"/>
                </a:lnTo>
                <a:close/>
                <a:moveTo>
                  <a:pt x="1478" y="4292"/>
                </a:moveTo>
                <a:lnTo>
                  <a:pt x="754" y="4292"/>
                </a:lnTo>
                <a:lnTo>
                  <a:pt x="754" y="5320"/>
                </a:lnTo>
                <a:lnTo>
                  <a:pt x="1279" y="5320"/>
                </a:lnTo>
                <a:lnTo>
                  <a:pt x="1279" y="5284"/>
                </a:lnTo>
                <a:lnTo>
                  <a:pt x="1279" y="5176"/>
                </a:lnTo>
                <a:lnTo>
                  <a:pt x="1297" y="5068"/>
                </a:lnTo>
                <a:lnTo>
                  <a:pt x="1351" y="4869"/>
                </a:lnTo>
                <a:lnTo>
                  <a:pt x="1460" y="4689"/>
                </a:lnTo>
                <a:lnTo>
                  <a:pt x="1586" y="4527"/>
                </a:lnTo>
                <a:lnTo>
                  <a:pt x="1731" y="4400"/>
                </a:lnTo>
                <a:lnTo>
                  <a:pt x="1912" y="4310"/>
                </a:lnTo>
                <a:lnTo>
                  <a:pt x="1961" y="4292"/>
                </a:lnTo>
                <a:lnTo>
                  <a:pt x="1478" y="4292"/>
                </a:lnTo>
                <a:close/>
                <a:moveTo>
                  <a:pt x="9746" y="4527"/>
                </a:moveTo>
                <a:lnTo>
                  <a:pt x="9872" y="4689"/>
                </a:lnTo>
                <a:lnTo>
                  <a:pt x="9981" y="4869"/>
                </a:lnTo>
                <a:lnTo>
                  <a:pt x="10035" y="5068"/>
                </a:lnTo>
                <a:lnTo>
                  <a:pt x="10053" y="5176"/>
                </a:lnTo>
                <a:lnTo>
                  <a:pt x="10053" y="5284"/>
                </a:lnTo>
                <a:lnTo>
                  <a:pt x="10090" y="5302"/>
                </a:lnTo>
                <a:lnTo>
                  <a:pt x="10270" y="5320"/>
                </a:lnTo>
                <a:lnTo>
                  <a:pt x="13038" y="5320"/>
                </a:lnTo>
                <a:lnTo>
                  <a:pt x="13291" y="5320"/>
                </a:lnTo>
                <a:lnTo>
                  <a:pt x="13291" y="5284"/>
                </a:lnTo>
                <a:lnTo>
                  <a:pt x="13291" y="5176"/>
                </a:lnTo>
                <a:lnTo>
                  <a:pt x="13310" y="5068"/>
                </a:lnTo>
                <a:lnTo>
                  <a:pt x="13382" y="4869"/>
                </a:lnTo>
                <a:lnTo>
                  <a:pt x="13472" y="4689"/>
                </a:lnTo>
                <a:lnTo>
                  <a:pt x="13599" y="4527"/>
                </a:lnTo>
                <a:lnTo>
                  <a:pt x="13762" y="4400"/>
                </a:lnTo>
                <a:lnTo>
                  <a:pt x="13942" y="4310"/>
                </a:lnTo>
                <a:lnTo>
                  <a:pt x="14142" y="4238"/>
                </a:lnTo>
                <a:lnTo>
                  <a:pt x="14232" y="4238"/>
                </a:lnTo>
                <a:lnTo>
                  <a:pt x="14341" y="4220"/>
                </a:lnTo>
                <a:lnTo>
                  <a:pt x="14449" y="4238"/>
                </a:lnTo>
                <a:lnTo>
                  <a:pt x="14558" y="4238"/>
                </a:lnTo>
                <a:lnTo>
                  <a:pt x="14757" y="4310"/>
                </a:lnTo>
                <a:lnTo>
                  <a:pt x="14938" y="4400"/>
                </a:lnTo>
                <a:lnTo>
                  <a:pt x="15100" y="4527"/>
                </a:lnTo>
                <a:lnTo>
                  <a:pt x="15227" y="4689"/>
                </a:lnTo>
                <a:lnTo>
                  <a:pt x="15318" y="4869"/>
                </a:lnTo>
                <a:lnTo>
                  <a:pt x="15390" y="5068"/>
                </a:lnTo>
                <a:lnTo>
                  <a:pt x="15408" y="5176"/>
                </a:lnTo>
                <a:lnTo>
                  <a:pt x="15408" y="5284"/>
                </a:lnTo>
                <a:lnTo>
                  <a:pt x="15408" y="5320"/>
                </a:lnTo>
                <a:lnTo>
                  <a:pt x="15770" y="5320"/>
                </a:lnTo>
                <a:lnTo>
                  <a:pt x="15842" y="5302"/>
                </a:lnTo>
                <a:lnTo>
                  <a:pt x="15915" y="5266"/>
                </a:lnTo>
                <a:lnTo>
                  <a:pt x="15987" y="5213"/>
                </a:lnTo>
                <a:lnTo>
                  <a:pt x="16041" y="5140"/>
                </a:lnTo>
                <a:lnTo>
                  <a:pt x="16077" y="5049"/>
                </a:lnTo>
                <a:lnTo>
                  <a:pt x="16114" y="4942"/>
                </a:lnTo>
                <a:lnTo>
                  <a:pt x="16132" y="4815"/>
                </a:lnTo>
                <a:lnTo>
                  <a:pt x="16150" y="4671"/>
                </a:lnTo>
                <a:lnTo>
                  <a:pt x="16132" y="4544"/>
                </a:lnTo>
                <a:lnTo>
                  <a:pt x="16114" y="4436"/>
                </a:lnTo>
                <a:lnTo>
                  <a:pt x="16095" y="4328"/>
                </a:lnTo>
                <a:lnTo>
                  <a:pt x="16059" y="4238"/>
                </a:lnTo>
                <a:lnTo>
                  <a:pt x="16006" y="4166"/>
                </a:lnTo>
                <a:lnTo>
                  <a:pt x="15951" y="4111"/>
                </a:lnTo>
                <a:lnTo>
                  <a:pt x="15897" y="4076"/>
                </a:lnTo>
                <a:lnTo>
                  <a:pt x="15824" y="4058"/>
                </a:lnTo>
                <a:lnTo>
                  <a:pt x="15824" y="3191"/>
                </a:lnTo>
                <a:lnTo>
                  <a:pt x="15807" y="3102"/>
                </a:lnTo>
                <a:lnTo>
                  <a:pt x="15789" y="3047"/>
                </a:lnTo>
                <a:lnTo>
                  <a:pt x="15752" y="2993"/>
                </a:lnTo>
                <a:lnTo>
                  <a:pt x="15698" y="2938"/>
                </a:lnTo>
                <a:lnTo>
                  <a:pt x="15571" y="2867"/>
                </a:lnTo>
                <a:lnTo>
                  <a:pt x="15408" y="2776"/>
                </a:lnTo>
                <a:lnTo>
                  <a:pt x="14558" y="2487"/>
                </a:lnTo>
                <a:lnTo>
                  <a:pt x="14232" y="1478"/>
                </a:lnTo>
                <a:lnTo>
                  <a:pt x="14160" y="1315"/>
                </a:lnTo>
                <a:lnTo>
                  <a:pt x="14124" y="1243"/>
                </a:lnTo>
                <a:lnTo>
                  <a:pt x="14070" y="1189"/>
                </a:lnTo>
                <a:lnTo>
                  <a:pt x="14033" y="1135"/>
                </a:lnTo>
                <a:lnTo>
                  <a:pt x="13961" y="1098"/>
                </a:lnTo>
                <a:lnTo>
                  <a:pt x="13889" y="1080"/>
                </a:lnTo>
                <a:lnTo>
                  <a:pt x="13816" y="1062"/>
                </a:lnTo>
                <a:lnTo>
                  <a:pt x="13382" y="1062"/>
                </a:lnTo>
                <a:lnTo>
                  <a:pt x="13154" y="1062"/>
                </a:lnTo>
                <a:lnTo>
                  <a:pt x="12944" y="1062"/>
                </a:lnTo>
                <a:lnTo>
                  <a:pt x="12749" y="1062"/>
                </a:lnTo>
                <a:lnTo>
                  <a:pt x="12570" y="1062"/>
                </a:lnTo>
                <a:lnTo>
                  <a:pt x="12405" y="1062"/>
                </a:lnTo>
                <a:lnTo>
                  <a:pt x="12255" y="1062"/>
                </a:lnTo>
                <a:lnTo>
                  <a:pt x="12117" y="1062"/>
                </a:lnTo>
                <a:lnTo>
                  <a:pt x="11991" y="1062"/>
                </a:lnTo>
                <a:lnTo>
                  <a:pt x="11877" y="1062"/>
                </a:lnTo>
                <a:lnTo>
                  <a:pt x="11775" y="1062"/>
                </a:lnTo>
                <a:lnTo>
                  <a:pt x="11683" y="1062"/>
                </a:lnTo>
                <a:lnTo>
                  <a:pt x="11600" y="1062"/>
                </a:lnTo>
                <a:lnTo>
                  <a:pt x="11526" y="1062"/>
                </a:lnTo>
                <a:lnTo>
                  <a:pt x="11460" y="1062"/>
                </a:lnTo>
                <a:lnTo>
                  <a:pt x="11402" y="1062"/>
                </a:lnTo>
                <a:lnTo>
                  <a:pt x="11350" y="1062"/>
                </a:lnTo>
                <a:lnTo>
                  <a:pt x="11327" y="1063"/>
                </a:lnTo>
                <a:lnTo>
                  <a:pt x="11306" y="1065"/>
                </a:lnTo>
                <a:lnTo>
                  <a:pt x="11289" y="1068"/>
                </a:lnTo>
                <a:lnTo>
                  <a:pt x="11275" y="1072"/>
                </a:lnTo>
                <a:lnTo>
                  <a:pt x="11268" y="1075"/>
                </a:lnTo>
                <a:lnTo>
                  <a:pt x="11263" y="1077"/>
                </a:lnTo>
                <a:lnTo>
                  <a:pt x="11257" y="1081"/>
                </a:lnTo>
                <a:lnTo>
                  <a:pt x="11253" y="1084"/>
                </a:lnTo>
                <a:lnTo>
                  <a:pt x="11248" y="1088"/>
                </a:lnTo>
                <a:lnTo>
                  <a:pt x="11244" y="1092"/>
                </a:lnTo>
                <a:lnTo>
                  <a:pt x="11241" y="1096"/>
                </a:lnTo>
                <a:lnTo>
                  <a:pt x="11238" y="1101"/>
                </a:lnTo>
                <a:lnTo>
                  <a:pt x="11234" y="1112"/>
                </a:lnTo>
                <a:lnTo>
                  <a:pt x="11231" y="1124"/>
                </a:lnTo>
                <a:lnTo>
                  <a:pt x="11230" y="1138"/>
                </a:lnTo>
                <a:lnTo>
                  <a:pt x="11229" y="1152"/>
                </a:lnTo>
                <a:lnTo>
                  <a:pt x="11228" y="1185"/>
                </a:lnTo>
                <a:lnTo>
                  <a:pt x="11229" y="1223"/>
                </a:lnTo>
                <a:lnTo>
                  <a:pt x="11229" y="4292"/>
                </a:lnTo>
                <a:lnTo>
                  <a:pt x="9352" y="4292"/>
                </a:lnTo>
                <a:lnTo>
                  <a:pt x="9401" y="4310"/>
                </a:lnTo>
                <a:lnTo>
                  <a:pt x="9583" y="4400"/>
                </a:lnTo>
                <a:lnTo>
                  <a:pt x="9746" y="4527"/>
                </a:lnTo>
                <a:close/>
                <a:moveTo>
                  <a:pt x="12351" y="2344"/>
                </a:moveTo>
                <a:lnTo>
                  <a:pt x="12351" y="1531"/>
                </a:lnTo>
                <a:lnTo>
                  <a:pt x="13545" y="1531"/>
                </a:lnTo>
                <a:lnTo>
                  <a:pt x="13636" y="1549"/>
                </a:lnTo>
                <a:lnTo>
                  <a:pt x="13689" y="1585"/>
                </a:lnTo>
                <a:lnTo>
                  <a:pt x="13744" y="1640"/>
                </a:lnTo>
                <a:lnTo>
                  <a:pt x="13780" y="1712"/>
                </a:lnTo>
                <a:lnTo>
                  <a:pt x="14052" y="2487"/>
                </a:lnTo>
                <a:lnTo>
                  <a:pt x="12351" y="2344"/>
                </a:lnTo>
                <a:close/>
                <a:moveTo>
                  <a:pt x="5060" y="4527"/>
                </a:moveTo>
                <a:lnTo>
                  <a:pt x="5186" y="4689"/>
                </a:lnTo>
                <a:lnTo>
                  <a:pt x="5295" y="4869"/>
                </a:lnTo>
                <a:lnTo>
                  <a:pt x="5350" y="5068"/>
                </a:lnTo>
                <a:lnTo>
                  <a:pt x="5367" y="5176"/>
                </a:lnTo>
                <a:lnTo>
                  <a:pt x="5367" y="5284"/>
                </a:lnTo>
                <a:lnTo>
                  <a:pt x="5367" y="5320"/>
                </a:lnTo>
                <a:lnTo>
                  <a:pt x="7937" y="5320"/>
                </a:lnTo>
                <a:lnTo>
                  <a:pt x="7937" y="5284"/>
                </a:lnTo>
                <a:lnTo>
                  <a:pt x="7937" y="5176"/>
                </a:lnTo>
                <a:lnTo>
                  <a:pt x="7955" y="5068"/>
                </a:lnTo>
                <a:lnTo>
                  <a:pt x="8027" y="4869"/>
                </a:lnTo>
                <a:lnTo>
                  <a:pt x="8117" y="4689"/>
                </a:lnTo>
                <a:lnTo>
                  <a:pt x="8244" y="4527"/>
                </a:lnTo>
                <a:lnTo>
                  <a:pt x="8407" y="4400"/>
                </a:lnTo>
                <a:lnTo>
                  <a:pt x="8588" y="4310"/>
                </a:lnTo>
                <a:lnTo>
                  <a:pt x="8637" y="4292"/>
                </a:lnTo>
                <a:lnTo>
                  <a:pt x="4685" y="4292"/>
                </a:lnTo>
                <a:lnTo>
                  <a:pt x="4734" y="4310"/>
                </a:lnTo>
                <a:lnTo>
                  <a:pt x="4915" y="4400"/>
                </a:lnTo>
                <a:lnTo>
                  <a:pt x="5060" y="4527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abz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4773128" y="1091316"/>
            <a:ext cx="481488" cy="418624"/>
          </a:xfrm>
          <a:custGeom>
            <a:avLst/>
            <a:gdLst>
              <a:gd name="T0" fmla="*/ 0 w 16176"/>
              <a:gd name="T1" fmla="*/ 14064 h 14064"/>
              <a:gd name="T2" fmla="*/ 15254 w 16176"/>
              <a:gd name="T3" fmla="*/ 9789 h 14064"/>
              <a:gd name="T4" fmla="*/ 15243 w 16176"/>
              <a:gd name="T5" fmla="*/ 4342 h 14064"/>
              <a:gd name="T6" fmla="*/ 15199 w 16176"/>
              <a:gd name="T7" fmla="*/ 4241 h 14064"/>
              <a:gd name="T8" fmla="*/ 15131 w 16176"/>
              <a:gd name="T9" fmla="*/ 4158 h 14064"/>
              <a:gd name="T10" fmla="*/ 15041 w 16176"/>
              <a:gd name="T11" fmla="*/ 4097 h 14064"/>
              <a:gd name="T12" fmla="*/ 14934 w 16176"/>
              <a:gd name="T13" fmla="*/ 4064 h 14064"/>
              <a:gd name="T14" fmla="*/ 12842 w 16176"/>
              <a:gd name="T15" fmla="*/ 4062 h 14064"/>
              <a:gd name="T16" fmla="*/ 12734 w 16176"/>
              <a:gd name="T17" fmla="*/ 4089 h 14064"/>
              <a:gd name="T18" fmla="*/ 12641 w 16176"/>
              <a:gd name="T19" fmla="*/ 4146 h 14064"/>
              <a:gd name="T20" fmla="*/ 12568 w 16176"/>
              <a:gd name="T21" fmla="*/ 4225 h 14064"/>
              <a:gd name="T22" fmla="*/ 12520 w 16176"/>
              <a:gd name="T23" fmla="*/ 4324 h 14064"/>
              <a:gd name="T24" fmla="*/ 12503 w 16176"/>
              <a:gd name="T25" fmla="*/ 4436 h 14064"/>
              <a:gd name="T26" fmla="*/ 12190 w 16176"/>
              <a:gd name="T27" fmla="*/ 13334 h 14064"/>
              <a:gd name="T28" fmla="*/ 9303 w 16176"/>
              <a:gd name="T29" fmla="*/ 4417 h 14064"/>
              <a:gd name="T30" fmla="*/ 9281 w 16176"/>
              <a:gd name="T31" fmla="*/ 4307 h 14064"/>
              <a:gd name="T32" fmla="*/ 9228 w 16176"/>
              <a:gd name="T33" fmla="*/ 4211 h 14064"/>
              <a:gd name="T34" fmla="*/ 9152 w 16176"/>
              <a:gd name="T35" fmla="*/ 4134 h 14064"/>
              <a:gd name="T36" fmla="*/ 9056 w 16176"/>
              <a:gd name="T37" fmla="*/ 4083 h 14064"/>
              <a:gd name="T38" fmla="*/ 8945 w 16176"/>
              <a:gd name="T39" fmla="*/ 4060 h 14064"/>
              <a:gd name="T40" fmla="*/ 4427 w 16176"/>
              <a:gd name="T41" fmla="*/ 4067 h 14064"/>
              <a:gd name="T42" fmla="*/ 4323 w 16176"/>
              <a:gd name="T43" fmla="*/ 4105 h 14064"/>
              <a:gd name="T44" fmla="*/ 4236 w 16176"/>
              <a:gd name="T45" fmla="*/ 4170 h 14064"/>
              <a:gd name="T46" fmla="*/ 4171 w 16176"/>
              <a:gd name="T47" fmla="*/ 4256 h 14064"/>
              <a:gd name="T48" fmla="*/ 4133 w 16176"/>
              <a:gd name="T49" fmla="*/ 4360 h 14064"/>
              <a:gd name="T50" fmla="*/ 3322 w 16176"/>
              <a:gd name="T51" fmla="*/ 13334 h 14064"/>
              <a:gd name="T52" fmla="*/ 4792 w 16176"/>
              <a:gd name="T53" fmla="*/ 4723 h 14064"/>
              <a:gd name="T54" fmla="*/ 4847 w 16176"/>
              <a:gd name="T55" fmla="*/ 4656 h 14064"/>
              <a:gd name="T56" fmla="*/ 4932 w 16176"/>
              <a:gd name="T57" fmla="*/ 4630 h 14064"/>
              <a:gd name="T58" fmla="*/ 5016 w 16176"/>
              <a:gd name="T59" fmla="*/ 4656 h 14064"/>
              <a:gd name="T60" fmla="*/ 5070 w 16176"/>
              <a:gd name="T61" fmla="*/ 4723 h 14064"/>
              <a:gd name="T62" fmla="*/ 5081 w 16176"/>
              <a:gd name="T63" fmla="*/ 9523 h 14064"/>
              <a:gd name="T64" fmla="*/ 5048 w 16176"/>
              <a:gd name="T65" fmla="*/ 9604 h 14064"/>
              <a:gd name="T66" fmla="*/ 4976 w 16176"/>
              <a:gd name="T67" fmla="*/ 9652 h 14064"/>
              <a:gd name="T68" fmla="*/ 4886 w 16176"/>
              <a:gd name="T69" fmla="*/ 9652 h 14064"/>
              <a:gd name="T70" fmla="*/ 4815 w 16176"/>
              <a:gd name="T71" fmla="*/ 9604 h 14064"/>
              <a:gd name="T72" fmla="*/ 4781 w 16176"/>
              <a:gd name="T73" fmla="*/ 9523 h 14064"/>
              <a:gd name="T74" fmla="*/ 4887 w 16176"/>
              <a:gd name="T75" fmla="*/ 10165 h 14064"/>
              <a:gd name="T76" fmla="*/ 2101 w 16176"/>
              <a:gd name="T77" fmla="*/ 665 h 14064"/>
              <a:gd name="T78" fmla="*/ 2083 w 16176"/>
              <a:gd name="T79" fmla="*/ 12845 h 14064"/>
              <a:gd name="T80" fmla="*/ 2022 w 16176"/>
              <a:gd name="T81" fmla="*/ 12905 h 14064"/>
              <a:gd name="T82" fmla="*/ 1934 w 16176"/>
              <a:gd name="T83" fmla="*/ 12922 h 14064"/>
              <a:gd name="T84" fmla="*/ 1854 w 16176"/>
              <a:gd name="T85" fmla="*/ 12889 h 14064"/>
              <a:gd name="T86" fmla="*/ 1806 w 16176"/>
              <a:gd name="T87" fmla="*/ 12818 h 14064"/>
              <a:gd name="T88" fmla="*/ 1802 w 16176"/>
              <a:gd name="T89" fmla="*/ 635 h 14064"/>
              <a:gd name="T90" fmla="*/ 1843 w 16176"/>
              <a:gd name="T91" fmla="*/ 558 h 14064"/>
              <a:gd name="T92" fmla="*/ 1920 w 16176"/>
              <a:gd name="T93" fmla="*/ 518 h 14064"/>
              <a:gd name="T94" fmla="*/ 2009 w 16176"/>
              <a:gd name="T95" fmla="*/ 527 h 14064"/>
              <a:gd name="T96" fmla="*/ 2075 w 16176"/>
              <a:gd name="T97" fmla="*/ 581 h 14064"/>
              <a:gd name="T98" fmla="*/ 2101 w 16176"/>
              <a:gd name="T99" fmla="*/ 665 h 14064"/>
              <a:gd name="T100" fmla="*/ 12986 w 16176"/>
              <a:gd name="T101" fmla="*/ 9640 h 14064"/>
              <a:gd name="T102" fmla="*/ 12926 w 16176"/>
              <a:gd name="T103" fmla="*/ 9580 h 14064"/>
              <a:gd name="T104" fmla="*/ 12907 w 16176"/>
              <a:gd name="T105" fmla="*/ 4781 h 14064"/>
              <a:gd name="T106" fmla="*/ 12934 w 16176"/>
              <a:gd name="T107" fmla="*/ 4697 h 14064"/>
              <a:gd name="T108" fmla="*/ 12999 w 16176"/>
              <a:gd name="T109" fmla="*/ 4642 h 14064"/>
              <a:gd name="T110" fmla="*/ 13088 w 16176"/>
              <a:gd name="T111" fmla="*/ 4633 h 14064"/>
              <a:gd name="T112" fmla="*/ 13165 w 16176"/>
              <a:gd name="T113" fmla="*/ 4675 h 14064"/>
              <a:gd name="T114" fmla="*/ 13207 w 16176"/>
              <a:gd name="T115" fmla="*/ 4751 h 14064"/>
              <a:gd name="T116" fmla="*/ 13203 w 16176"/>
              <a:gd name="T117" fmla="*/ 9554 h 14064"/>
              <a:gd name="T118" fmla="*/ 13154 w 16176"/>
              <a:gd name="T119" fmla="*/ 9624 h 14064"/>
              <a:gd name="T120" fmla="*/ 13074 w 16176"/>
              <a:gd name="T121" fmla="*/ 9658 h 140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176" h="14064">
                <a:moveTo>
                  <a:pt x="3322" y="13334"/>
                </a:moveTo>
                <a:lnTo>
                  <a:pt x="3322" y="0"/>
                </a:lnTo>
                <a:lnTo>
                  <a:pt x="1398" y="0"/>
                </a:lnTo>
                <a:lnTo>
                  <a:pt x="1398" y="13334"/>
                </a:lnTo>
                <a:lnTo>
                  <a:pt x="0" y="13334"/>
                </a:lnTo>
                <a:lnTo>
                  <a:pt x="0" y="14064"/>
                </a:lnTo>
                <a:lnTo>
                  <a:pt x="16176" y="14064"/>
                </a:lnTo>
                <a:lnTo>
                  <a:pt x="16176" y="13334"/>
                </a:lnTo>
                <a:lnTo>
                  <a:pt x="14469" y="13334"/>
                </a:lnTo>
                <a:lnTo>
                  <a:pt x="14469" y="11838"/>
                </a:lnTo>
                <a:lnTo>
                  <a:pt x="14462" y="11838"/>
                </a:lnTo>
                <a:lnTo>
                  <a:pt x="15254" y="9789"/>
                </a:lnTo>
                <a:lnTo>
                  <a:pt x="15254" y="4436"/>
                </a:lnTo>
                <a:lnTo>
                  <a:pt x="15254" y="4417"/>
                </a:lnTo>
                <a:lnTo>
                  <a:pt x="15252" y="4397"/>
                </a:lnTo>
                <a:lnTo>
                  <a:pt x="15250" y="4378"/>
                </a:lnTo>
                <a:lnTo>
                  <a:pt x="15247" y="4360"/>
                </a:lnTo>
                <a:lnTo>
                  <a:pt x="15243" y="4342"/>
                </a:lnTo>
                <a:lnTo>
                  <a:pt x="15238" y="4324"/>
                </a:lnTo>
                <a:lnTo>
                  <a:pt x="15232" y="4307"/>
                </a:lnTo>
                <a:lnTo>
                  <a:pt x="15225" y="4290"/>
                </a:lnTo>
                <a:lnTo>
                  <a:pt x="15218" y="4273"/>
                </a:lnTo>
                <a:lnTo>
                  <a:pt x="15208" y="4256"/>
                </a:lnTo>
                <a:lnTo>
                  <a:pt x="15199" y="4241"/>
                </a:lnTo>
                <a:lnTo>
                  <a:pt x="15190" y="4225"/>
                </a:lnTo>
                <a:lnTo>
                  <a:pt x="15179" y="4211"/>
                </a:lnTo>
                <a:lnTo>
                  <a:pt x="15168" y="4197"/>
                </a:lnTo>
                <a:lnTo>
                  <a:pt x="15156" y="4183"/>
                </a:lnTo>
                <a:lnTo>
                  <a:pt x="15144" y="4170"/>
                </a:lnTo>
                <a:lnTo>
                  <a:pt x="15131" y="4158"/>
                </a:lnTo>
                <a:lnTo>
                  <a:pt x="15117" y="4146"/>
                </a:lnTo>
                <a:lnTo>
                  <a:pt x="15102" y="4134"/>
                </a:lnTo>
                <a:lnTo>
                  <a:pt x="15088" y="4124"/>
                </a:lnTo>
                <a:lnTo>
                  <a:pt x="15073" y="4114"/>
                </a:lnTo>
                <a:lnTo>
                  <a:pt x="15057" y="4105"/>
                </a:lnTo>
                <a:lnTo>
                  <a:pt x="15041" y="4097"/>
                </a:lnTo>
                <a:lnTo>
                  <a:pt x="15023" y="4089"/>
                </a:lnTo>
                <a:lnTo>
                  <a:pt x="15006" y="4083"/>
                </a:lnTo>
                <a:lnTo>
                  <a:pt x="14989" y="4077"/>
                </a:lnTo>
                <a:lnTo>
                  <a:pt x="14971" y="4072"/>
                </a:lnTo>
                <a:lnTo>
                  <a:pt x="14953" y="4067"/>
                </a:lnTo>
                <a:lnTo>
                  <a:pt x="14934" y="4064"/>
                </a:lnTo>
                <a:lnTo>
                  <a:pt x="14915" y="4062"/>
                </a:lnTo>
                <a:lnTo>
                  <a:pt x="14896" y="4060"/>
                </a:lnTo>
                <a:lnTo>
                  <a:pt x="14877" y="4060"/>
                </a:lnTo>
                <a:lnTo>
                  <a:pt x="12880" y="4060"/>
                </a:lnTo>
                <a:lnTo>
                  <a:pt x="12861" y="4060"/>
                </a:lnTo>
                <a:lnTo>
                  <a:pt x="12842" y="4062"/>
                </a:lnTo>
                <a:lnTo>
                  <a:pt x="12823" y="4064"/>
                </a:lnTo>
                <a:lnTo>
                  <a:pt x="12804" y="4067"/>
                </a:lnTo>
                <a:lnTo>
                  <a:pt x="12786" y="4072"/>
                </a:lnTo>
                <a:lnTo>
                  <a:pt x="12768" y="4077"/>
                </a:lnTo>
                <a:lnTo>
                  <a:pt x="12751" y="4083"/>
                </a:lnTo>
                <a:lnTo>
                  <a:pt x="12734" y="4089"/>
                </a:lnTo>
                <a:lnTo>
                  <a:pt x="12716" y="4097"/>
                </a:lnTo>
                <a:lnTo>
                  <a:pt x="12700" y="4105"/>
                </a:lnTo>
                <a:lnTo>
                  <a:pt x="12685" y="4114"/>
                </a:lnTo>
                <a:lnTo>
                  <a:pt x="12669" y="4124"/>
                </a:lnTo>
                <a:lnTo>
                  <a:pt x="12655" y="4134"/>
                </a:lnTo>
                <a:lnTo>
                  <a:pt x="12641" y="4146"/>
                </a:lnTo>
                <a:lnTo>
                  <a:pt x="12626" y="4158"/>
                </a:lnTo>
                <a:lnTo>
                  <a:pt x="12613" y="4170"/>
                </a:lnTo>
                <a:lnTo>
                  <a:pt x="12601" y="4183"/>
                </a:lnTo>
                <a:lnTo>
                  <a:pt x="12589" y="4197"/>
                </a:lnTo>
                <a:lnTo>
                  <a:pt x="12578" y="4211"/>
                </a:lnTo>
                <a:lnTo>
                  <a:pt x="12568" y="4225"/>
                </a:lnTo>
                <a:lnTo>
                  <a:pt x="12558" y="4241"/>
                </a:lnTo>
                <a:lnTo>
                  <a:pt x="12549" y="4256"/>
                </a:lnTo>
                <a:lnTo>
                  <a:pt x="12540" y="4273"/>
                </a:lnTo>
                <a:lnTo>
                  <a:pt x="12532" y="4290"/>
                </a:lnTo>
                <a:lnTo>
                  <a:pt x="12525" y="4307"/>
                </a:lnTo>
                <a:lnTo>
                  <a:pt x="12520" y="4324"/>
                </a:lnTo>
                <a:lnTo>
                  <a:pt x="12515" y="4342"/>
                </a:lnTo>
                <a:lnTo>
                  <a:pt x="12510" y="4360"/>
                </a:lnTo>
                <a:lnTo>
                  <a:pt x="12507" y="4378"/>
                </a:lnTo>
                <a:lnTo>
                  <a:pt x="12505" y="4397"/>
                </a:lnTo>
                <a:lnTo>
                  <a:pt x="12503" y="4417"/>
                </a:lnTo>
                <a:lnTo>
                  <a:pt x="12503" y="4436"/>
                </a:lnTo>
                <a:lnTo>
                  <a:pt x="12503" y="9789"/>
                </a:lnTo>
                <a:lnTo>
                  <a:pt x="12519" y="9901"/>
                </a:lnTo>
                <a:lnTo>
                  <a:pt x="13295" y="11838"/>
                </a:lnTo>
                <a:lnTo>
                  <a:pt x="13289" y="11838"/>
                </a:lnTo>
                <a:lnTo>
                  <a:pt x="13289" y="13334"/>
                </a:lnTo>
                <a:lnTo>
                  <a:pt x="12190" y="13334"/>
                </a:lnTo>
                <a:lnTo>
                  <a:pt x="12190" y="10723"/>
                </a:lnTo>
                <a:lnTo>
                  <a:pt x="9910" y="10723"/>
                </a:lnTo>
                <a:lnTo>
                  <a:pt x="9910" y="13334"/>
                </a:lnTo>
                <a:lnTo>
                  <a:pt x="9303" y="13334"/>
                </a:lnTo>
                <a:lnTo>
                  <a:pt x="9303" y="4436"/>
                </a:lnTo>
                <a:lnTo>
                  <a:pt x="9303" y="4417"/>
                </a:lnTo>
                <a:lnTo>
                  <a:pt x="9301" y="4397"/>
                </a:lnTo>
                <a:lnTo>
                  <a:pt x="9299" y="4378"/>
                </a:lnTo>
                <a:lnTo>
                  <a:pt x="9296" y="4360"/>
                </a:lnTo>
                <a:lnTo>
                  <a:pt x="9292" y="4342"/>
                </a:lnTo>
                <a:lnTo>
                  <a:pt x="9287" y="4324"/>
                </a:lnTo>
                <a:lnTo>
                  <a:pt x="9281" y="4307"/>
                </a:lnTo>
                <a:lnTo>
                  <a:pt x="9274" y="4290"/>
                </a:lnTo>
                <a:lnTo>
                  <a:pt x="9266" y="4273"/>
                </a:lnTo>
                <a:lnTo>
                  <a:pt x="9258" y="4256"/>
                </a:lnTo>
                <a:lnTo>
                  <a:pt x="9249" y="4241"/>
                </a:lnTo>
                <a:lnTo>
                  <a:pt x="9240" y="4225"/>
                </a:lnTo>
                <a:lnTo>
                  <a:pt x="9228" y="4211"/>
                </a:lnTo>
                <a:lnTo>
                  <a:pt x="9217" y="4197"/>
                </a:lnTo>
                <a:lnTo>
                  <a:pt x="9205" y="4183"/>
                </a:lnTo>
                <a:lnTo>
                  <a:pt x="9193" y="4170"/>
                </a:lnTo>
                <a:lnTo>
                  <a:pt x="9180" y="4158"/>
                </a:lnTo>
                <a:lnTo>
                  <a:pt x="9166" y="4146"/>
                </a:lnTo>
                <a:lnTo>
                  <a:pt x="9152" y="4134"/>
                </a:lnTo>
                <a:lnTo>
                  <a:pt x="9137" y="4124"/>
                </a:lnTo>
                <a:lnTo>
                  <a:pt x="9122" y="4114"/>
                </a:lnTo>
                <a:lnTo>
                  <a:pt x="9106" y="4105"/>
                </a:lnTo>
                <a:lnTo>
                  <a:pt x="9090" y="4097"/>
                </a:lnTo>
                <a:lnTo>
                  <a:pt x="9073" y="4089"/>
                </a:lnTo>
                <a:lnTo>
                  <a:pt x="9056" y="4083"/>
                </a:lnTo>
                <a:lnTo>
                  <a:pt x="9038" y="4077"/>
                </a:lnTo>
                <a:lnTo>
                  <a:pt x="9020" y="4072"/>
                </a:lnTo>
                <a:lnTo>
                  <a:pt x="9002" y="4067"/>
                </a:lnTo>
                <a:lnTo>
                  <a:pt x="8984" y="4064"/>
                </a:lnTo>
                <a:lnTo>
                  <a:pt x="8965" y="4062"/>
                </a:lnTo>
                <a:lnTo>
                  <a:pt x="8945" y="4060"/>
                </a:lnTo>
                <a:lnTo>
                  <a:pt x="8926" y="4060"/>
                </a:lnTo>
                <a:lnTo>
                  <a:pt x="4503" y="4060"/>
                </a:lnTo>
                <a:lnTo>
                  <a:pt x="4484" y="4060"/>
                </a:lnTo>
                <a:lnTo>
                  <a:pt x="4465" y="4062"/>
                </a:lnTo>
                <a:lnTo>
                  <a:pt x="4445" y="4064"/>
                </a:lnTo>
                <a:lnTo>
                  <a:pt x="4427" y="4067"/>
                </a:lnTo>
                <a:lnTo>
                  <a:pt x="4409" y="4072"/>
                </a:lnTo>
                <a:lnTo>
                  <a:pt x="4391" y="4077"/>
                </a:lnTo>
                <a:lnTo>
                  <a:pt x="4374" y="4083"/>
                </a:lnTo>
                <a:lnTo>
                  <a:pt x="4356" y="4089"/>
                </a:lnTo>
                <a:lnTo>
                  <a:pt x="4339" y="4097"/>
                </a:lnTo>
                <a:lnTo>
                  <a:pt x="4323" y="4105"/>
                </a:lnTo>
                <a:lnTo>
                  <a:pt x="4307" y="4114"/>
                </a:lnTo>
                <a:lnTo>
                  <a:pt x="4292" y="4124"/>
                </a:lnTo>
                <a:lnTo>
                  <a:pt x="4278" y="4134"/>
                </a:lnTo>
                <a:lnTo>
                  <a:pt x="4262" y="4146"/>
                </a:lnTo>
                <a:lnTo>
                  <a:pt x="4249" y="4158"/>
                </a:lnTo>
                <a:lnTo>
                  <a:pt x="4236" y="4170"/>
                </a:lnTo>
                <a:lnTo>
                  <a:pt x="4224" y="4183"/>
                </a:lnTo>
                <a:lnTo>
                  <a:pt x="4212" y="4197"/>
                </a:lnTo>
                <a:lnTo>
                  <a:pt x="4201" y="4211"/>
                </a:lnTo>
                <a:lnTo>
                  <a:pt x="4190" y="4225"/>
                </a:lnTo>
                <a:lnTo>
                  <a:pt x="4180" y="4241"/>
                </a:lnTo>
                <a:lnTo>
                  <a:pt x="4171" y="4256"/>
                </a:lnTo>
                <a:lnTo>
                  <a:pt x="4162" y="4273"/>
                </a:lnTo>
                <a:lnTo>
                  <a:pt x="4155" y="4290"/>
                </a:lnTo>
                <a:lnTo>
                  <a:pt x="4148" y="4307"/>
                </a:lnTo>
                <a:lnTo>
                  <a:pt x="4142" y="4324"/>
                </a:lnTo>
                <a:lnTo>
                  <a:pt x="4137" y="4342"/>
                </a:lnTo>
                <a:lnTo>
                  <a:pt x="4133" y="4360"/>
                </a:lnTo>
                <a:lnTo>
                  <a:pt x="4130" y="4378"/>
                </a:lnTo>
                <a:lnTo>
                  <a:pt x="4128" y="4397"/>
                </a:lnTo>
                <a:lnTo>
                  <a:pt x="4126" y="4417"/>
                </a:lnTo>
                <a:lnTo>
                  <a:pt x="4126" y="4436"/>
                </a:lnTo>
                <a:lnTo>
                  <a:pt x="4126" y="13334"/>
                </a:lnTo>
                <a:lnTo>
                  <a:pt x="3322" y="13334"/>
                </a:lnTo>
                <a:close/>
                <a:moveTo>
                  <a:pt x="4780" y="9508"/>
                </a:moveTo>
                <a:lnTo>
                  <a:pt x="4780" y="4781"/>
                </a:lnTo>
                <a:lnTo>
                  <a:pt x="4781" y="4765"/>
                </a:lnTo>
                <a:lnTo>
                  <a:pt x="4783" y="4751"/>
                </a:lnTo>
                <a:lnTo>
                  <a:pt x="4787" y="4736"/>
                </a:lnTo>
                <a:lnTo>
                  <a:pt x="4792" y="4723"/>
                </a:lnTo>
                <a:lnTo>
                  <a:pt x="4798" y="4709"/>
                </a:lnTo>
                <a:lnTo>
                  <a:pt x="4806" y="4697"/>
                </a:lnTo>
                <a:lnTo>
                  <a:pt x="4815" y="4686"/>
                </a:lnTo>
                <a:lnTo>
                  <a:pt x="4824" y="4675"/>
                </a:lnTo>
                <a:lnTo>
                  <a:pt x="4836" y="4664"/>
                </a:lnTo>
                <a:lnTo>
                  <a:pt x="4847" y="4656"/>
                </a:lnTo>
                <a:lnTo>
                  <a:pt x="4860" y="4648"/>
                </a:lnTo>
                <a:lnTo>
                  <a:pt x="4873" y="4642"/>
                </a:lnTo>
                <a:lnTo>
                  <a:pt x="4886" y="4637"/>
                </a:lnTo>
                <a:lnTo>
                  <a:pt x="4901" y="4633"/>
                </a:lnTo>
                <a:lnTo>
                  <a:pt x="4915" y="4631"/>
                </a:lnTo>
                <a:lnTo>
                  <a:pt x="4932" y="4630"/>
                </a:lnTo>
                <a:lnTo>
                  <a:pt x="4947" y="4631"/>
                </a:lnTo>
                <a:lnTo>
                  <a:pt x="4962" y="4633"/>
                </a:lnTo>
                <a:lnTo>
                  <a:pt x="4976" y="4637"/>
                </a:lnTo>
                <a:lnTo>
                  <a:pt x="4990" y="4642"/>
                </a:lnTo>
                <a:lnTo>
                  <a:pt x="5003" y="4648"/>
                </a:lnTo>
                <a:lnTo>
                  <a:pt x="5016" y="4656"/>
                </a:lnTo>
                <a:lnTo>
                  <a:pt x="5028" y="4664"/>
                </a:lnTo>
                <a:lnTo>
                  <a:pt x="5038" y="4675"/>
                </a:lnTo>
                <a:lnTo>
                  <a:pt x="5048" y="4686"/>
                </a:lnTo>
                <a:lnTo>
                  <a:pt x="5057" y="4697"/>
                </a:lnTo>
                <a:lnTo>
                  <a:pt x="5064" y="4709"/>
                </a:lnTo>
                <a:lnTo>
                  <a:pt x="5070" y="4723"/>
                </a:lnTo>
                <a:lnTo>
                  <a:pt x="5075" y="4736"/>
                </a:lnTo>
                <a:lnTo>
                  <a:pt x="5079" y="4751"/>
                </a:lnTo>
                <a:lnTo>
                  <a:pt x="5081" y="4765"/>
                </a:lnTo>
                <a:lnTo>
                  <a:pt x="5082" y="4781"/>
                </a:lnTo>
                <a:lnTo>
                  <a:pt x="5082" y="9508"/>
                </a:lnTo>
                <a:lnTo>
                  <a:pt x="5081" y="9523"/>
                </a:lnTo>
                <a:lnTo>
                  <a:pt x="5079" y="9539"/>
                </a:lnTo>
                <a:lnTo>
                  <a:pt x="5075" y="9554"/>
                </a:lnTo>
                <a:lnTo>
                  <a:pt x="5070" y="9567"/>
                </a:lnTo>
                <a:lnTo>
                  <a:pt x="5064" y="9580"/>
                </a:lnTo>
                <a:lnTo>
                  <a:pt x="5057" y="9593"/>
                </a:lnTo>
                <a:lnTo>
                  <a:pt x="5048" y="9604"/>
                </a:lnTo>
                <a:lnTo>
                  <a:pt x="5038" y="9615"/>
                </a:lnTo>
                <a:lnTo>
                  <a:pt x="5028" y="9624"/>
                </a:lnTo>
                <a:lnTo>
                  <a:pt x="5016" y="9633"/>
                </a:lnTo>
                <a:lnTo>
                  <a:pt x="5003" y="9640"/>
                </a:lnTo>
                <a:lnTo>
                  <a:pt x="4990" y="9647"/>
                </a:lnTo>
                <a:lnTo>
                  <a:pt x="4976" y="9652"/>
                </a:lnTo>
                <a:lnTo>
                  <a:pt x="4962" y="9655"/>
                </a:lnTo>
                <a:lnTo>
                  <a:pt x="4947" y="9658"/>
                </a:lnTo>
                <a:lnTo>
                  <a:pt x="4932" y="9659"/>
                </a:lnTo>
                <a:lnTo>
                  <a:pt x="4915" y="9658"/>
                </a:lnTo>
                <a:lnTo>
                  <a:pt x="4901" y="9655"/>
                </a:lnTo>
                <a:lnTo>
                  <a:pt x="4886" y="9652"/>
                </a:lnTo>
                <a:lnTo>
                  <a:pt x="4873" y="9647"/>
                </a:lnTo>
                <a:lnTo>
                  <a:pt x="4860" y="9640"/>
                </a:lnTo>
                <a:lnTo>
                  <a:pt x="4847" y="9633"/>
                </a:lnTo>
                <a:lnTo>
                  <a:pt x="4836" y="9624"/>
                </a:lnTo>
                <a:lnTo>
                  <a:pt x="4824" y="9615"/>
                </a:lnTo>
                <a:lnTo>
                  <a:pt x="4815" y="9604"/>
                </a:lnTo>
                <a:lnTo>
                  <a:pt x="4806" y="9593"/>
                </a:lnTo>
                <a:lnTo>
                  <a:pt x="4798" y="9580"/>
                </a:lnTo>
                <a:lnTo>
                  <a:pt x="4792" y="9567"/>
                </a:lnTo>
                <a:lnTo>
                  <a:pt x="4787" y="9554"/>
                </a:lnTo>
                <a:lnTo>
                  <a:pt x="4783" y="9539"/>
                </a:lnTo>
                <a:lnTo>
                  <a:pt x="4781" y="9523"/>
                </a:lnTo>
                <a:lnTo>
                  <a:pt x="4780" y="9508"/>
                </a:lnTo>
                <a:close/>
                <a:moveTo>
                  <a:pt x="4887" y="10165"/>
                </a:moveTo>
                <a:lnTo>
                  <a:pt x="8542" y="10165"/>
                </a:lnTo>
                <a:lnTo>
                  <a:pt x="8542" y="11342"/>
                </a:lnTo>
                <a:lnTo>
                  <a:pt x="4887" y="11342"/>
                </a:lnTo>
                <a:lnTo>
                  <a:pt x="4887" y="10165"/>
                </a:lnTo>
                <a:close/>
                <a:moveTo>
                  <a:pt x="4887" y="13334"/>
                </a:moveTo>
                <a:lnTo>
                  <a:pt x="4887" y="12483"/>
                </a:lnTo>
                <a:lnTo>
                  <a:pt x="8542" y="12483"/>
                </a:lnTo>
                <a:lnTo>
                  <a:pt x="8542" y="13334"/>
                </a:lnTo>
                <a:lnTo>
                  <a:pt x="4887" y="13334"/>
                </a:lnTo>
                <a:close/>
                <a:moveTo>
                  <a:pt x="2101" y="665"/>
                </a:moveTo>
                <a:lnTo>
                  <a:pt x="2101" y="12773"/>
                </a:lnTo>
                <a:lnTo>
                  <a:pt x="2100" y="12788"/>
                </a:lnTo>
                <a:lnTo>
                  <a:pt x="2098" y="12803"/>
                </a:lnTo>
                <a:lnTo>
                  <a:pt x="2094" y="12818"/>
                </a:lnTo>
                <a:lnTo>
                  <a:pt x="2089" y="12832"/>
                </a:lnTo>
                <a:lnTo>
                  <a:pt x="2083" y="12845"/>
                </a:lnTo>
                <a:lnTo>
                  <a:pt x="2075" y="12857"/>
                </a:lnTo>
                <a:lnTo>
                  <a:pt x="2066" y="12869"/>
                </a:lnTo>
                <a:lnTo>
                  <a:pt x="2056" y="12879"/>
                </a:lnTo>
                <a:lnTo>
                  <a:pt x="2046" y="12889"/>
                </a:lnTo>
                <a:lnTo>
                  <a:pt x="2034" y="12897"/>
                </a:lnTo>
                <a:lnTo>
                  <a:pt x="2022" y="12905"/>
                </a:lnTo>
                <a:lnTo>
                  <a:pt x="2009" y="12911"/>
                </a:lnTo>
                <a:lnTo>
                  <a:pt x="1995" y="12916"/>
                </a:lnTo>
                <a:lnTo>
                  <a:pt x="1981" y="12920"/>
                </a:lnTo>
                <a:lnTo>
                  <a:pt x="1965" y="12922"/>
                </a:lnTo>
                <a:lnTo>
                  <a:pt x="1950" y="12923"/>
                </a:lnTo>
                <a:lnTo>
                  <a:pt x="1934" y="12922"/>
                </a:lnTo>
                <a:lnTo>
                  <a:pt x="1920" y="12920"/>
                </a:lnTo>
                <a:lnTo>
                  <a:pt x="1905" y="12916"/>
                </a:lnTo>
                <a:lnTo>
                  <a:pt x="1892" y="12911"/>
                </a:lnTo>
                <a:lnTo>
                  <a:pt x="1877" y="12905"/>
                </a:lnTo>
                <a:lnTo>
                  <a:pt x="1865" y="12897"/>
                </a:lnTo>
                <a:lnTo>
                  <a:pt x="1854" y="12889"/>
                </a:lnTo>
                <a:lnTo>
                  <a:pt x="1843" y="12879"/>
                </a:lnTo>
                <a:lnTo>
                  <a:pt x="1833" y="12869"/>
                </a:lnTo>
                <a:lnTo>
                  <a:pt x="1825" y="12857"/>
                </a:lnTo>
                <a:lnTo>
                  <a:pt x="1817" y="12845"/>
                </a:lnTo>
                <a:lnTo>
                  <a:pt x="1811" y="12832"/>
                </a:lnTo>
                <a:lnTo>
                  <a:pt x="1806" y="12818"/>
                </a:lnTo>
                <a:lnTo>
                  <a:pt x="1802" y="12803"/>
                </a:lnTo>
                <a:lnTo>
                  <a:pt x="1800" y="12788"/>
                </a:lnTo>
                <a:lnTo>
                  <a:pt x="1799" y="12773"/>
                </a:lnTo>
                <a:lnTo>
                  <a:pt x="1799" y="665"/>
                </a:lnTo>
                <a:lnTo>
                  <a:pt x="1800" y="650"/>
                </a:lnTo>
                <a:lnTo>
                  <a:pt x="1802" y="635"/>
                </a:lnTo>
                <a:lnTo>
                  <a:pt x="1806" y="621"/>
                </a:lnTo>
                <a:lnTo>
                  <a:pt x="1811" y="607"/>
                </a:lnTo>
                <a:lnTo>
                  <a:pt x="1817" y="594"/>
                </a:lnTo>
                <a:lnTo>
                  <a:pt x="1825" y="581"/>
                </a:lnTo>
                <a:lnTo>
                  <a:pt x="1833" y="569"/>
                </a:lnTo>
                <a:lnTo>
                  <a:pt x="1843" y="558"/>
                </a:lnTo>
                <a:lnTo>
                  <a:pt x="1854" y="549"/>
                </a:lnTo>
                <a:lnTo>
                  <a:pt x="1865" y="540"/>
                </a:lnTo>
                <a:lnTo>
                  <a:pt x="1877" y="533"/>
                </a:lnTo>
                <a:lnTo>
                  <a:pt x="1892" y="527"/>
                </a:lnTo>
                <a:lnTo>
                  <a:pt x="1905" y="521"/>
                </a:lnTo>
                <a:lnTo>
                  <a:pt x="1920" y="518"/>
                </a:lnTo>
                <a:lnTo>
                  <a:pt x="1934" y="516"/>
                </a:lnTo>
                <a:lnTo>
                  <a:pt x="1950" y="515"/>
                </a:lnTo>
                <a:lnTo>
                  <a:pt x="1965" y="516"/>
                </a:lnTo>
                <a:lnTo>
                  <a:pt x="1981" y="518"/>
                </a:lnTo>
                <a:lnTo>
                  <a:pt x="1995" y="521"/>
                </a:lnTo>
                <a:lnTo>
                  <a:pt x="2009" y="527"/>
                </a:lnTo>
                <a:lnTo>
                  <a:pt x="2022" y="533"/>
                </a:lnTo>
                <a:lnTo>
                  <a:pt x="2034" y="540"/>
                </a:lnTo>
                <a:lnTo>
                  <a:pt x="2046" y="549"/>
                </a:lnTo>
                <a:lnTo>
                  <a:pt x="2056" y="558"/>
                </a:lnTo>
                <a:lnTo>
                  <a:pt x="2066" y="569"/>
                </a:lnTo>
                <a:lnTo>
                  <a:pt x="2075" y="581"/>
                </a:lnTo>
                <a:lnTo>
                  <a:pt x="2083" y="594"/>
                </a:lnTo>
                <a:lnTo>
                  <a:pt x="2089" y="607"/>
                </a:lnTo>
                <a:lnTo>
                  <a:pt x="2094" y="621"/>
                </a:lnTo>
                <a:lnTo>
                  <a:pt x="2098" y="635"/>
                </a:lnTo>
                <a:lnTo>
                  <a:pt x="2100" y="650"/>
                </a:lnTo>
                <a:lnTo>
                  <a:pt x="2101" y="665"/>
                </a:lnTo>
                <a:close/>
                <a:moveTo>
                  <a:pt x="13058" y="9659"/>
                </a:moveTo>
                <a:lnTo>
                  <a:pt x="13043" y="9658"/>
                </a:lnTo>
                <a:lnTo>
                  <a:pt x="13028" y="9655"/>
                </a:lnTo>
                <a:lnTo>
                  <a:pt x="13014" y="9652"/>
                </a:lnTo>
                <a:lnTo>
                  <a:pt x="12999" y="9647"/>
                </a:lnTo>
                <a:lnTo>
                  <a:pt x="12986" y="9640"/>
                </a:lnTo>
                <a:lnTo>
                  <a:pt x="12974" y="9633"/>
                </a:lnTo>
                <a:lnTo>
                  <a:pt x="12962" y="9624"/>
                </a:lnTo>
                <a:lnTo>
                  <a:pt x="12952" y="9615"/>
                </a:lnTo>
                <a:lnTo>
                  <a:pt x="12942" y="9604"/>
                </a:lnTo>
                <a:lnTo>
                  <a:pt x="12934" y="9593"/>
                </a:lnTo>
                <a:lnTo>
                  <a:pt x="12926" y="9580"/>
                </a:lnTo>
                <a:lnTo>
                  <a:pt x="12920" y="9567"/>
                </a:lnTo>
                <a:lnTo>
                  <a:pt x="12915" y="9554"/>
                </a:lnTo>
                <a:lnTo>
                  <a:pt x="12910" y="9539"/>
                </a:lnTo>
                <a:lnTo>
                  <a:pt x="12908" y="9523"/>
                </a:lnTo>
                <a:lnTo>
                  <a:pt x="12907" y="9508"/>
                </a:lnTo>
                <a:lnTo>
                  <a:pt x="12907" y="4781"/>
                </a:lnTo>
                <a:lnTo>
                  <a:pt x="12908" y="4765"/>
                </a:lnTo>
                <a:lnTo>
                  <a:pt x="12910" y="4751"/>
                </a:lnTo>
                <a:lnTo>
                  <a:pt x="12915" y="4736"/>
                </a:lnTo>
                <a:lnTo>
                  <a:pt x="12920" y="4723"/>
                </a:lnTo>
                <a:lnTo>
                  <a:pt x="12926" y="4709"/>
                </a:lnTo>
                <a:lnTo>
                  <a:pt x="12934" y="4697"/>
                </a:lnTo>
                <a:lnTo>
                  <a:pt x="12942" y="4686"/>
                </a:lnTo>
                <a:lnTo>
                  <a:pt x="12952" y="4675"/>
                </a:lnTo>
                <a:lnTo>
                  <a:pt x="12962" y="4664"/>
                </a:lnTo>
                <a:lnTo>
                  <a:pt x="12974" y="4656"/>
                </a:lnTo>
                <a:lnTo>
                  <a:pt x="12986" y="4648"/>
                </a:lnTo>
                <a:lnTo>
                  <a:pt x="12999" y="4642"/>
                </a:lnTo>
                <a:lnTo>
                  <a:pt x="13014" y="4637"/>
                </a:lnTo>
                <a:lnTo>
                  <a:pt x="13028" y="4633"/>
                </a:lnTo>
                <a:lnTo>
                  <a:pt x="13043" y="4631"/>
                </a:lnTo>
                <a:lnTo>
                  <a:pt x="13058" y="4630"/>
                </a:lnTo>
                <a:lnTo>
                  <a:pt x="13074" y="4631"/>
                </a:lnTo>
                <a:lnTo>
                  <a:pt x="13088" y="4633"/>
                </a:lnTo>
                <a:lnTo>
                  <a:pt x="13104" y="4637"/>
                </a:lnTo>
                <a:lnTo>
                  <a:pt x="13118" y="4642"/>
                </a:lnTo>
                <a:lnTo>
                  <a:pt x="13131" y="4648"/>
                </a:lnTo>
                <a:lnTo>
                  <a:pt x="13143" y="4656"/>
                </a:lnTo>
                <a:lnTo>
                  <a:pt x="13154" y="4664"/>
                </a:lnTo>
                <a:lnTo>
                  <a:pt x="13165" y="4675"/>
                </a:lnTo>
                <a:lnTo>
                  <a:pt x="13175" y="4686"/>
                </a:lnTo>
                <a:lnTo>
                  <a:pt x="13183" y="4697"/>
                </a:lnTo>
                <a:lnTo>
                  <a:pt x="13192" y="4709"/>
                </a:lnTo>
                <a:lnTo>
                  <a:pt x="13198" y="4723"/>
                </a:lnTo>
                <a:lnTo>
                  <a:pt x="13203" y="4736"/>
                </a:lnTo>
                <a:lnTo>
                  <a:pt x="13207" y="4751"/>
                </a:lnTo>
                <a:lnTo>
                  <a:pt x="13209" y="4765"/>
                </a:lnTo>
                <a:lnTo>
                  <a:pt x="13210" y="4781"/>
                </a:lnTo>
                <a:lnTo>
                  <a:pt x="13210" y="9508"/>
                </a:lnTo>
                <a:lnTo>
                  <a:pt x="13209" y="9523"/>
                </a:lnTo>
                <a:lnTo>
                  <a:pt x="13207" y="9539"/>
                </a:lnTo>
                <a:lnTo>
                  <a:pt x="13203" y="9554"/>
                </a:lnTo>
                <a:lnTo>
                  <a:pt x="13198" y="9567"/>
                </a:lnTo>
                <a:lnTo>
                  <a:pt x="13192" y="9580"/>
                </a:lnTo>
                <a:lnTo>
                  <a:pt x="13183" y="9593"/>
                </a:lnTo>
                <a:lnTo>
                  <a:pt x="13175" y="9604"/>
                </a:lnTo>
                <a:lnTo>
                  <a:pt x="13165" y="9615"/>
                </a:lnTo>
                <a:lnTo>
                  <a:pt x="13154" y="9624"/>
                </a:lnTo>
                <a:lnTo>
                  <a:pt x="13143" y="9633"/>
                </a:lnTo>
                <a:lnTo>
                  <a:pt x="13131" y="9640"/>
                </a:lnTo>
                <a:lnTo>
                  <a:pt x="13118" y="9647"/>
                </a:lnTo>
                <a:lnTo>
                  <a:pt x="13104" y="9652"/>
                </a:lnTo>
                <a:lnTo>
                  <a:pt x="13088" y="9655"/>
                </a:lnTo>
                <a:lnTo>
                  <a:pt x="13074" y="9658"/>
                </a:lnTo>
                <a:lnTo>
                  <a:pt x="13058" y="9659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samosval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5529212" y="1151180"/>
            <a:ext cx="540068" cy="354330"/>
          </a:xfrm>
          <a:custGeom>
            <a:avLst/>
            <a:gdLst>
              <a:gd name="T0" fmla="*/ 6515 w 16254"/>
              <a:gd name="T1" fmla="*/ 6868 h 10664"/>
              <a:gd name="T2" fmla="*/ 4830 w 16254"/>
              <a:gd name="T3" fmla="*/ 6220 h 10664"/>
              <a:gd name="T4" fmla="*/ 3230 w 16254"/>
              <a:gd name="T5" fmla="*/ 7026 h 10664"/>
              <a:gd name="T6" fmla="*/ 2749 w 16254"/>
              <a:gd name="T7" fmla="*/ 8779 h 10664"/>
              <a:gd name="T8" fmla="*/ 3703 w 16254"/>
              <a:gd name="T9" fmla="*/ 10285 h 10664"/>
              <a:gd name="T10" fmla="*/ 5499 w 16254"/>
              <a:gd name="T11" fmla="*/ 10594 h 10664"/>
              <a:gd name="T12" fmla="*/ 6897 w 16254"/>
              <a:gd name="T13" fmla="*/ 9500 h 10664"/>
              <a:gd name="T14" fmla="*/ 16001 w 16254"/>
              <a:gd name="T15" fmla="*/ 5793 h 10664"/>
              <a:gd name="T16" fmla="*/ 5439 w 16254"/>
              <a:gd name="T17" fmla="*/ 6033 h 10664"/>
              <a:gd name="T18" fmla="*/ 7044 w 16254"/>
              <a:gd name="T19" fmla="*/ 7166 h 10664"/>
              <a:gd name="T20" fmla="*/ 7388 w 16254"/>
              <a:gd name="T21" fmla="*/ 8669 h 10664"/>
              <a:gd name="T22" fmla="*/ 9512 w 16254"/>
              <a:gd name="T23" fmla="*/ 8817 h 10664"/>
              <a:gd name="T24" fmla="*/ 9632 w 16254"/>
              <a:gd name="T25" fmla="*/ 7595 h 10664"/>
              <a:gd name="T26" fmla="*/ 10982 w 16254"/>
              <a:gd name="T27" fmla="*/ 6176 h 10664"/>
              <a:gd name="T28" fmla="*/ 13001 w 16254"/>
              <a:gd name="T29" fmla="*/ 6225 h 10664"/>
              <a:gd name="T30" fmla="*/ 14282 w 16254"/>
              <a:gd name="T31" fmla="*/ 7709 h 10664"/>
              <a:gd name="T32" fmla="*/ 14357 w 16254"/>
              <a:gd name="T33" fmla="*/ 8855 h 10664"/>
              <a:gd name="T34" fmla="*/ 16111 w 16254"/>
              <a:gd name="T35" fmla="*/ 8961 h 10664"/>
              <a:gd name="T36" fmla="*/ 16121 w 16254"/>
              <a:gd name="T37" fmla="*/ 5271 h 10664"/>
              <a:gd name="T38" fmla="*/ 12140 w 16254"/>
              <a:gd name="T39" fmla="*/ 2208 h 10664"/>
              <a:gd name="T40" fmla="*/ 15311 w 16254"/>
              <a:gd name="T41" fmla="*/ 1760 h 10664"/>
              <a:gd name="T42" fmla="*/ 10490 w 16254"/>
              <a:gd name="T43" fmla="*/ 2679 h 10664"/>
              <a:gd name="T44" fmla="*/ 14403 w 16254"/>
              <a:gd name="T45" fmla="*/ 1115 h 10664"/>
              <a:gd name="T46" fmla="*/ 14311 w 16254"/>
              <a:gd name="T47" fmla="*/ 6 h 10664"/>
              <a:gd name="T48" fmla="*/ 158 w 16254"/>
              <a:gd name="T49" fmla="*/ 759 h 10664"/>
              <a:gd name="T50" fmla="*/ 127 w 16254"/>
              <a:gd name="T51" fmla="*/ 2344 h 10664"/>
              <a:gd name="T52" fmla="*/ 6570 w 16254"/>
              <a:gd name="T53" fmla="*/ 5360 h 10664"/>
              <a:gd name="T54" fmla="*/ 4594 w 16254"/>
              <a:gd name="T55" fmla="*/ 2583 h 10664"/>
              <a:gd name="T56" fmla="*/ 6811 w 16254"/>
              <a:gd name="T57" fmla="*/ 5171 h 10664"/>
              <a:gd name="T58" fmla="*/ 6773 w 16254"/>
              <a:gd name="T59" fmla="*/ 5397 h 10664"/>
              <a:gd name="T60" fmla="*/ 6037 w 16254"/>
              <a:gd name="T61" fmla="*/ 2799 h 10664"/>
              <a:gd name="T62" fmla="*/ 6077 w 16254"/>
              <a:gd name="T63" fmla="*/ 2574 h 10664"/>
              <a:gd name="T64" fmla="*/ 8292 w 16254"/>
              <a:gd name="T65" fmla="*/ 5184 h 10664"/>
              <a:gd name="T66" fmla="*/ 8230 w 16254"/>
              <a:gd name="T67" fmla="*/ 5404 h 10664"/>
              <a:gd name="T68" fmla="*/ 5457 w 16254"/>
              <a:gd name="T69" fmla="*/ 5197 h 10664"/>
              <a:gd name="T70" fmla="*/ 5374 w 16254"/>
              <a:gd name="T71" fmla="*/ 5410 h 10664"/>
              <a:gd name="T72" fmla="*/ 3173 w 16254"/>
              <a:gd name="T73" fmla="*/ 2759 h 10664"/>
              <a:gd name="T74" fmla="*/ 3276 w 16254"/>
              <a:gd name="T75" fmla="*/ 2556 h 10664"/>
              <a:gd name="T76" fmla="*/ 14133 w 16254"/>
              <a:gd name="T77" fmla="*/ 8102 h 10664"/>
              <a:gd name="T78" fmla="*/ 13179 w 16254"/>
              <a:gd name="T79" fmla="*/ 6597 h 10664"/>
              <a:gd name="T80" fmla="*/ 11383 w 16254"/>
              <a:gd name="T81" fmla="*/ 6288 h 10664"/>
              <a:gd name="T82" fmla="*/ 9985 w 16254"/>
              <a:gd name="T83" fmla="*/ 7381 h 10664"/>
              <a:gd name="T84" fmla="*/ 9851 w 16254"/>
              <a:gd name="T85" fmla="*/ 9206 h 10664"/>
              <a:gd name="T86" fmla="*/ 11073 w 16254"/>
              <a:gd name="T87" fmla="*/ 10489 h 10664"/>
              <a:gd name="T88" fmla="*/ 12901 w 16254"/>
              <a:gd name="T89" fmla="*/ 10444 h 10664"/>
              <a:gd name="T90" fmla="*/ 14059 w 16254"/>
              <a:gd name="T91" fmla="*/ 9102 h 10664"/>
              <a:gd name="T92" fmla="*/ 12450 w 16254"/>
              <a:gd name="T93" fmla="*/ 7496 h 10664"/>
              <a:gd name="T94" fmla="*/ 12977 w 16254"/>
              <a:gd name="T95" fmla="*/ 8172 h 10664"/>
              <a:gd name="T96" fmla="*/ 12827 w 16254"/>
              <a:gd name="T97" fmla="*/ 9042 h 10664"/>
              <a:gd name="T98" fmla="*/ 12101 w 16254"/>
              <a:gd name="T99" fmla="*/ 9504 h 10664"/>
              <a:gd name="T100" fmla="*/ 11255 w 16254"/>
              <a:gd name="T101" fmla="*/ 9270 h 10664"/>
              <a:gd name="T102" fmla="*/ 10865 w 16254"/>
              <a:gd name="T103" fmla="*/ 8496 h 10664"/>
              <a:gd name="T104" fmla="*/ 11179 w 16254"/>
              <a:gd name="T105" fmla="*/ 7681 h 10664"/>
              <a:gd name="T106" fmla="*/ 4944 w 16254"/>
              <a:gd name="T107" fmla="*/ 7366 h 10664"/>
              <a:gd name="T108" fmla="*/ 5739 w 16254"/>
              <a:gd name="T109" fmla="*/ 7718 h 10664"/>
              <a:gd name="T110" fmla="*/ 6012 w 16254"/>
              <a:gd name="T111" fmla="*/ 8551 h 10664"/>
              <a:gd name="T112" fmla="*/ 5586 w 16254"/>
              <a:gd name="T113" fmla="*/ 9302 h 10664"/>
              <a:gd name="T114" fmla="*/ 4728 w 16254"/>
              <a:gd name="T115" fmla="*/ 9493 h 10664"/>
              <a:gd name="T116" fmla="*/ 4026 w 16254"/>
              <a:gd name="T117" fmla="*/ 8998 h 10664"/>
              <a:gd name="T118" fmla="*/ 3919 w 16254"/>
              <a:gd name="T119" fmla="*/ 8121 h 10664"/>
              <a:gd name="T120" fmla="*/ 4479 w 16254"/>
              <a:gd name="T121" fmla="*/ 7471 h 10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254" h="10664">
                <a:moveTo>
                  <a:pt x="7165" y="8441"/>
                </a:moveTo>
                <a:lnTo>
                  <a:pt x="7162" y="8326"/>
                </a:lnTo>
                <a:lnTo>
                  <a:pt x="7154" y="8213"/>
                </a:lnTo>
                <a:lnTo>
                  <a:pt x="7140" y="8102"/>
                </a:lnTo>
                <a:lnTo>
                  <a:pt x="7120" y="7992"/>
                </a:lnTo>
                <a:lnTo>
                  <a:pt x="7095" y="7885"/>
                </a:lnTo>
                <a:lnTo>
                  <a:pt x="7065" y="7780"/>
                </a:lnTo>
                <a:lnTo>
                  <a:pt x="7030" y="7676"/>
                </a:lnTo>
                <a:lnTo>
                  <a:pt x="6990" y="7575"/>
                </a:lnTo>
                <a:lnTo>
                  <a:pt x="6947" y="7476"/>
                </a:lnTo>
                <a:lnTo>
                  <a:pt x="6897" y="7381"/>
                </a:lnTo>
                <a:lnTo>
                  <a:pt x="6844" y="7287"/>
                </a:lnTo>
                <a:lnTo>
                  <a:pt x="6786" y="7198"/>
                </a:lnTo>
                <a:lnTo>
                  <a:pt x="6724" y="7110"/>
                </a:lnTo>
                <a:lnTo>
                  <a:pt x="6658" y="7026"/>
                </a:lnTo>
                <a:lnTo>
                  <a:pt x="6588" y="6946"/>
                </a:lnTo>
                <a:lnTo>
                  <a:pt x="6515" y="6868"/>
                </a:lnTo>
                <a:lnTo>
                  <a:pt x="6438" y="6795"/>
                </a:lnTo>
                <a:lnTo>
                  <a:pt x="6357" y="6725"/>
                </a:lnTo>
                <a:lnTo>
                  <a:pt x="6273" y="6659"/>
                </a:lnTo>
                <a:lnTo>
                  <a:pt x="6186" y="6597"/>
                </a:lnTo>
                <a:lnTo>
                  <a:pt x="6096" y="6539"/>
                </a:lnTo>
                <a:lnTo>
                  <a:pt x="6003" y="6486"/>
                </a:lnTo>
                <a:lnTo>
                  <a:pt x="5907" y="6436"/>
                </a:lnTo>
                <a:lnTo>
                  <a:pt x="5809" y="6392"/>
                </a:lnTo>
                <a:lnTo>
                  <a:pt x="5708" y="6352"/>
                </a:lnTo>
                <a:lnTo>
                  <a:pt x="5605" y="6317"/>
                </a:lnTo>
                <a:lnTo>
                  <a:pt x="5499" y="6288"/>
                </a:lnTo>
                <a:lnTo>
                  <a:pt x="5392" y="6262"/>
                </a:lnTo>
                <a:lnTo>
                  <a:pt x="5283" y="6243"/>
                </a:lnTo>
                <a:lnTo>
                  <a:pt x="5172" y="6229"/>
                </a:lnTo>
                <a:lnTo>
                  <a:pt x="5059" y="6220"/>
                </a:lnTo>
                <a:lnTo>
                  <a:pt x="4944" y="6217"/>
                </a:lnTo>
                <a:lnTo>
                  <a:pt x="4830" y="6220"/>
                </a:lnTo>
                <a:lnTo>
                  <a:pt x="4718" y="6229"/>
                </a:lnTo>
                <a:lnTo>
                  <a:pt x="4606" y="6243"/>
                </a:lnTo>
                <a:lnTo>
                  <a:pt x="4497" y="6262"/>
                </a:lnTo>
                <a:lnTo>
                  <a:pt x="4390" y="6288"/>
                </a:lnTo>
                <a:lnTo>
                  <a:pt x="4284" y="6317"/>
                </a:lnTo>
                <a:lnTo>
                  <a:pt x="4180" y="6352"/>
                </a:lnTo>
                <a:lnTo>
                  <a:pt x="4080" y="6392"/>
                </a:lnTo>
                <a:lnTo>
                  <a:pt x="3981" y="6436"/>
                </a:lnTo>
                <a:lnTo>
                  <a:pt x="3886" y="6486"/>
                </a:lnTo>
                <a:lnTo>
                  <a:pt x="3793" y="6539"/>
                </a:lnTo>
                <a:lnTo>
                  <a:pt x="3703" y="6597"/>
                </a:lnTo>
                <a:lnTo>
                  <a:pt x="3615" y="6659"/>
                </a:lnTo>
                <a:lnTo>
                  <a:pt x="3532" y="6725"/>
                </a:lnTo>
                <a:lnTo>
                  <a:pt x="3451" y="6795"/>
                </a:lnTo>
                <a:lnTo>
                  <a:pt x="3374" y="6868"/>
                </a:lnTo>
                <a:lnTo>
                  <a:pt x="3301" y="6946"/>
                </a:lnTo>
                <a:lnTo>
                  <a:pt x="3230" y="7026"/>
                </a:lnTo>
                <a:lnTo>
                  <a:pt x="3164" y="7110"/>
                </a:lnTo>
                <a:lnTo>
                  <a:pt x="3102" y="7198"/>
                </a:lnTo>
                <a:lnTo>
                  <a:pt x="3046" y="7287"/>
                </a:lnTo>
                <a:lnTo>
                  <a:pt x="2992" y="7381"/>
                </a:lnTo>
                <a:lnTo>
                  <a:pt x="2943" y="7476"/>
                </a:lnTo>
                <a:lnTo>
                  <a:pt x="2898" y="7575"/>
                </a:lnTo>
                <a:lnTo>
                  <a:pt x="2859" y="7676"/>
                </a:lnTo>
                <a:lnTo>
                  <a:pt x="2823" y="7780"/>
                </a:lnTo>
                <a:lnTo>
                  <a:pt x="2794" y="7885"/>
                </a:lnTo>
                <a:lnTo>
                  <a:pt x="2768" y="7992"/>
                </a:lnTo>
                <a:lnTo>
                  <a:pt x="2749" y="8102"/>
                </a:lnTo>
                <a:lnTo>
                  <a:pt x="2735" y="8213"/>
                </a:lnTo>
                <a:lnTo>
                  <a:pt x="2727" y="8326"/>
                </a:lnTo>
                <a:lnTo>
                  <a:pt x="2724" y="8441"/>
                </a:lnTo>
                <a:lnTo>
                  <a:pt x="2727" y="8555"/>
                </a:lnTo>
                <a:lnTo>
                  <a:pt x="2735" y="8667"/>
                </a:lnTo>
                <a:lnTo>
                  <a:pt x="2749" y="8779"/>
                </a:lnTo>
                <a:lnTo>
                  <a:pt x="2768" y="8888"/>
                </a:lnTo>
                <a:lnTo>
                  <a:pt x="2794" y="8996"/>
                </a:lnTo>
                <a:lnTo>
                  <a:pt x="2823" y="9102"/>
                </a:lnTo>
                <a:lnTo>
                  <a:pt x="2859" y="9206"/>
                </a:lnTo>
                <a:lnTo>
                  <a:pt x="2898" y="9306"/>
                </a:lnTo>
                <a:lnTo>
                  <a:pt x="2943" y="9405"/>
                </a:lnTo>
                <a:lnTo>
                  <a:pt x="2992" y="9500"/>
                </a:lnTo>
                <a:lnTo>
                  <a:pt x="3046" y="9593"/>
                </a:lnTo>
                <a:lnTo>
                  <a:pt x="3102" y="9684"/>
                </a:lnTo>
                <a:lnTo>
                  <a:pt x="3164" y="9771"/>
                </a:lnTo>
                <a:lnTo>
                  <a:pt x="3230" y="9854"/>
                </a:lnTo>
                <a:lnTo>
                  <a:pt x="3301" y="9936"/>
                </a:lnTo>
                <a:lnTo>
                  <a:pt x="3374" y="10013"/>
                </a:lnTo>
                <a:lnTo>
                  <a:pt x="3451" y="10086"/>
                </a:lnTo>
                <a:lnTo>
                  <a:pt x="3532" y="10156"/>
                </a:lnTo>
                <a:lnTo>
                  <a:pt x="3615" y="10223"/>
                </a:lnTo>
                <a:lnTo>
                  <a:pt x="3703" y="10285"/>
                </a:lnTo>
                <a:lnTo>
                  <a:pt x="3793" y="10343"/>
                </a:lnTo>
                <a:lnTo>
                  <a:pt x="3886" y="10395"/>
                </a:lnTo>
                <a:lnTo>
                  <a:pt x="3981" y="10444"/>
                </a:lnTo>
                <a:lnTo>
                  <a:pt x="4080" y="10489"/>
                </a:lnTo>
                <a:lnTo>
                  <a:pt x="4180" y="10529"/>
                </a:lnTo>
                <a:lnTo>
                  <a:pt x="4284" y="10564"/>
                </a:lnTo>
                <a:lnTo>
                  <a:pt x="4390" y="10594"/>
                </a:lnTo>
                <a:lnTo>
                  <a:pt x="4497" y="10619"/>
                </a:lnTo>
                <a:lnTo>
                  <a:pt x="4606" y="10639"/>
                </a:lnTo>
                <a:lnTo>
                  <a:pt x="4718" y="10653"/>
                </a:lnTo>
                <a:lnTo>
                  <a:pt x="4830" y="10661"/>
                </a:lnTo>
                <a:lnTo>
                  <a:pt x="4944" y="10664"/>
                </a:lnTo>
                <a:lnTo>
                  <a:pt x="5059" y="10661"/>
                </a:lnTo>
                <a:lnTo>
                  <a:pt x="5172" y="10653"/>
                </a:lnTo>
                <a:lnTo>
                  <a:pt x="5283" y="10639"/>
                </a:lnTo>
                <a:lnTo>
                  <a:pt x="5392" y="10619"/>
                </a:lnTo>
                <a:lnTo>
                  <a:pt x="5499" y="10594"/>
                </a:lnTo>
                <a:lnTo>
                  <a:pt x="5605" y="10564"/>
                </a:lnTo>
                <a:lnTo>
                  <a:pt x="5708" y="10529"/>
                </a:lnTo>
                <a:lnTo>
                  <a:pt x="5809" y="10489"/>
                </a:lnTo>
                <a:lnTo>
                  <a:pt x="5907" y="10444"/>
                </a:lnTo>
                <a:lnTo>
                  <a:pt x="6003" y="10395"/>
                </a:lnTo>
                <a:lnTo>
                  <a:pt x="6096" y="10343"/>
                </a:lnTo>
                <a:lnTo>
                  <a:pt x="6186" y="10285"/>
                </a:lnTo>
                <a:lnTo>
                  <a:pt x="6273" y="10223"/>
                </a:lnTo>
                <a:lnTo>
                  <a:pt x="6357" y="10156"/>
                </a:lnTo>
                <a:lnTo>
                  <a:pt x="6438" y="10086"/>
                </a:lnTo>
                <a:lnTo>
                  <a:pt x="6515" y="10013"/>
                </a:lnTo>
                <a:lnTo>
                  <a:pt x="6588" y="9936"/>
                </a:lnTo>
                <a:lnTo>
                  <a:pt x="6658" y="9854"/>
                </a:lnTo>
                <a:lnTo>
                  <a:pt x="6724" y="9771"/>
                </a:lnTo>
                <a:lnTo>
                  <a:pt x="6786" y="9684"/>
                </a:lnTo>
                <a:lnTo>
                  <a:pt x="6844" y="9593"/>
                </a:lnTo>
                <a:lnTo>
                  <a:pt x="6897" y="9500"/>
                </a:lnTo>
                <a:lnTo>
                  <a:pt x="6947" y="9405"/>
                </a:lnTo>
                <a:lnTo>
                  <a:pt x="6990" y="9306"/>
                </a:lnTo>
                <a:lnTo>
                  <a:pt x="7030" y="9206"/>
                </a:lnTo>
                <a:lnTo>
                  <a:pt x="7065" y="9102"/>
                </a:lnTo>
                <a:lnTo>
                  <a:pt x="7095" y="8996"/>
                </a:lnTo>
                <a:lnTo>
                  <a:pt x="7120" y="8888"/>
                </a:lnTo>
                <a:lnTo>
                  <a:pt x="7140" y="8779"/>
                </a:lnTo>
                <a:lnTo>
                  <a:pt x="7154" y="8667"/>
                </a:lnTo>
                <a:lnTo>
                  <a:pt x="7162" y="8555"/>
                </a:lnTo>
                <a:lnTo>
                  <a:pt x="7165" y="8441"/>
                </a:lnTo>
                <a:close/>
                <a:moveTo>
                  <a:pt x="253" y="1222"/>
                </a:moveTo>
                <a:lnTo>
                  <a:pt x="0" y="1222"/>
                </a:lnTo>
                <a:lnTo>
                  <a:pt x="0" y="1961"/>
                </a:lnTo>
                <a:lnTo>
                  <a:pt x="253" y="1961"/>
                </a:lnTo>
                <a:lnTo>
                  <a:pt x="253" y="1222"/>
                </a:lnTo>
                <a:close/>
                <a:moveTo>
                  <a:pt x="16254" y="5793"/>
                </a:moveTo>
                <a:lnTo>
                  <a:pt x="16001" y="5793"/>
                </a:lnTo>
                <a:lnTo>
                  <a:pt x="16001" y="6534"/>
                </a:lnTo>
                <a:lnTo>
                  <a:pt x="16254" y="6534"/>
                </a:lnTo>
                <a:lnTo>
                  <a:pt x="16254" y="5793"/>
                </a:lnTo>
                <a:close/>
                <a:moveTo>
                  <a:pt x="2676" y="3836"/>
                </a:moveTo>
                <a:lnTo>
                  <a:pt x="4402" y="6043"/>
                </a:lnTo>
                <a:lnTo>
                  <a:pt x="4467" y="6029"/>
                </a:lnTo>
                <a:lnTo>
                  <a:pt x="4534" y="6017"/>
                </a:lnTo>
                <a:lnTo>
                  <a:pt x="4601" y="6007"/>
                </a:lnTo>
                <a:lnTo>
                  <a:pt x="4668" y="5999"/>
                </a:lnTo>
                <a:lnTo>
                  <a:pt x="4737" y="5992"/>
                </a:lnTo>
                <a:lnTo>
                  <a:pt x="4805" y="5986"/>
                </a:lnTo>
                <a:lnTo>
                  <a:pt x="4874" y="5984"/>
                </a:lnTo>
                <a:lnTo>
                  <a:pt x="4944" y="5983"/>
                </a:lnTo>
                <a:lnTo>
                  <a:pt x="5070" y="5986"/>
                </a:lnTo>
                <a:lnTo>
                  <a:pt x="5195" y="5996"/>
                </a:lnTo>
                <a:lnTo>
                  <a:pt x="5318" y="6011"/>
                </a:lnTo>
                <a:lnTo>
                  <a:pt x="5439" y="6033"/>
                </a:lnTo>
                <a:lnTo>
                  <a:pt x="5558" y="6061"/>
                </a:lnTo>
                <a:lnTo>
                  <a:pt x="5675" y="6093"/>
                </a:lnTo>
                <a:lnTo>
                  <a:pt x="5788" y="6132"/>
                </a:lnTo>
                <a:lnTo>
                  <a:pt x="5900" y="6176"/>
                </a:lnTo>
                <a:lnTo>
                  <a:pt x="6009" y="6225"/>
                </a:lnTo>
                <a:lnTo>
                  <a:pt x="6115" y="6279"/>
                </a:lnTo>
                <a:lnTo>
                  <a:pt x="6217" y="6338"/>
                </a:lnTo>
                <a:lnTo>
                  <a:pt x="6317" y="6402"/>
                </a:lnTo>
                <a:lnTo>
                  <a:pt x="6413" y="6472"/>
                </a:lnTo>
                <a:lnTo>
                  <a:pt x="6506" y="6544"/>
                </a:lnTo>
                <a:lnTo>
                  <a:pt x="6595" y="6621"/>
                </a:lnTo>
                <a:lnTo>
                  <a:pt x="6680" y="6703"/>
                </a:lnTo>
                <a:lnTo>
                  <a:pt x="6762" y="6788"/>
                </a:lnTo>
                <a:lnTo>
                  <a:pt x="6839" y="6877"/>
                </a:lnTo>
                <a:lnTo>
                  <a:pt x="6911" y="6970"/>
                </a:lnTo>
                <a:lnTo>
                  <a:pt x="6980" y="7067"/>
                </a:lnTo>
                <a:lnTo>
                  <a:pt x="7044" y="7166"/>
                </a:lnTo>
                <a:lnTo>
                  <a:pt x="7103" y="7269"/>
                </a:lnTo>
                <a:lnTo>
                  <a:pt x="7157" y="7375"/>
                </a:lnTo>
                <a:lnTo>
                  <a:pt x="7207" y="7484"/>
                </a:lnTo>
                <a:lnTo>
                  <a:pt x="7250" y="7595"/>
                </a:lnTo>
                <a:lnTo>
                  <a:pt x="7289" y="7709"/>
                </a:lnTo>
                <a:lnTo>
                  <a:pt x="7321" y="7826"/>
                </a:lnTo>
                <a:lnTo>
                  <a:pt x="7349" y="7945"/>
                </a:lnTo>
                <a:lnTo>
                  <a:pt x="7371" y="8066"/>
                </a:lnTo>
                <a:lnTo>
                  <a:pt x="7386" y="8189"/>
                </a:lnTo>
                <a:lnTo>
                  <a:pt x="7396" y="8315"/>
                </a:lnTo>
                <a:lnTo>
                  <a:pt x="7399" y="8441"/>
                </a:lnTo>
                <a:lnTo>
                  <a:pt x="7399" y="8479"/>
                </a:lnTo>
                <a:lnTo>
                  <a:pt x="7398" y="8517"/>
                </a:lnTo>
                <a:lnTo>
                  <a:pt x="7397" y="8556"/>
                </a:lnTo>
                <a:lnTo>
                  <a:pt x="7395" y="8593"/>
                </a:lnTo>
                <a:lnTo>
                  <a:pt x="7392" y="8631"/>
                </a:lnTo>
                <a:lnTo>
                  <a:pt x="7388" y="8669"/>
                </a:lnTo>
                <a:lnTo>
                  <a:pt x="7384" y="8706"/>
                </a:lnTo>
                <a:lnTo>
                  <a:pt x="7380" y="8743"/>
                </a:lnTo>
                <a:lnTo>
                  <a:pt x="7375" y="8780"/>
                </a:lnTo>
                <a:lnTo>
                  <a:pt x="7370" y="8817"/>
                </a:lnTo>
                <a:lnTo>
                  <a:pt x="7364" y="8854"/>
                </a:lnTo>
                <a:lnTo>
                  <a:pt x="7358" y="8890"/>
                </a:lnTo>
                <a:lnTo>
                  <a:pt x="7351" y="8927"/>
                </a:lnTo>
                <a:lnTo>
                  <a:pt x="7344" y="8962"/>
                </a:lnTo>
                <a:lnTo>
                  <a:pt x="7336" y="8999"/>
                </a:lnTo>
                <a:lnTo>
                  <a:pt x="7326" y="9035"/>
                </a:lnTo>
                <a:lnTo>
                  <a:pt x="9555" y="9035"/>
                </a:lnTo>
                <a:lnTo>
                  <a:pt x="9546" y="8999"/>
                </a:lnTo>
                <a:lnTo>
                  <a:pt x="9538" y="8962"/>
                </a:lnTo>
                <a:lnTo>
                  <a:pt x="9531" y="8927"/>
                </a:lnTo>
                <a:lnTo>
                  <a:pt x="9524" y="8890"/>
                </a:lnTo>
                <a:lnTo>
                  <a:pt x="9518" y="8854"/>
                </a:lnTo>
                <a:lnTo>
                  <a:pt x="9512" y="8817"/>
                </a:lnTo>
                <a:lnTo>
                  <a:pt x="9507" y="8780"/>
                </a:lnTo>
                <a:lnTo>
                  <a:pt x="9501" y="8743"/>
                </a:lnTo>
                <a:lnTo>
                  <a:pt x="9497" y="8706"/>
                </a:lnTo>
                <a:lnTo>
                  <a:pt x="9493" y="8669"/>
                </a:lnTo>
                <a:lnTo>
                  <a:pt x="9490" y="8631"/>
                </a:lnTo>
                <a:lnTo>
                  <a:pt x="9487" y="8593"/>
                </a:lnTo>
                <a:lnTo>
                  <a:pt x="9485" y="8556"/>
                </a:lnTo>
                <a:lnTo>
                  <a:pt x="9484" y="8517"/>
                </a:lnTo>
                <a:lnTo>
                  <a:pt x="9483" y="8479"/>
                </a:lnTo>
                <a:lnTo>
                  <a:pt x="9483" y="8441"/>
                </a:lnTo>
                <a:lnTo>
                  <a:pt x="9486" y="8315"/>
                </a:lnTo>
                <a:lnTo>
                  <a:pt x="9495" y="8189"/>
                </a:lnTo>
                <a:lnTo>
                  <a:pt x="9511" y="8066"/>
                </a:lnTo>
                <a:lnTo>
                  <a:pt x="9533" y="7945"/>
                </a:lnTo>
                <a:lnTo>
                  <a:pt x="9560" y="7826"/>
                </a:lnTo>
                <a:lnTo>
                  <a:pt x="9593" y="7709"/>
                </a:lnTo>
                <a:lnTo>
                  <a:pt x="9632" y="7595"/>
                </a:lnTo>
                <a:lnTo>
                  <a:pt x="9675" y="7484"/>
                </a:lnTo>
                <a:lnTo>
                  <a:pt x="9725" y="7375"/>
                </a:lnTo>
                <a:lnTo>
                  <a:pt x="9779" y="7269"/>
                </a:lnTo>
                <a:lnTo>
                  <a:pt x="9838" y="7166"/>
                </a:lnTo>
                <a:lnTo>
                  <a:pt x="9902" y="7067"/>
                </a:lnTo>
                <a:lnTo>
                  <a:pt x="9971" y="6970"/>
                </a:lnTo>
                <a:lnTo>
                  <a:pt x="10043" y="6877"/>
                </a:lnTo>
                <a:lnTo>
                  <a:pt x="10120" y="6788"/>
                </a:lnTo>
                <a:lnTo>
                  <a:pt x="10201" y="6703"/>
                </a:lnTo>
                <a:lnTo>
                  <a:pt x="10287" y="6621"/>
                </a:lnTo>
                <a:lnTo>
                  <a:pt x="10376" y="6544"/>
                </a:lnTo>
                <a:lnTo>
                  <a:pt x="10469" y="6472"/>
                </a:lnTo>
                <a:lnTo>
                  <a:pt x="10565" y="6402"/>
                </a:lnTo>
                <a:lnTo>
                  <a:pt x="10665" y="6338"/>
                </a:lnTo>
                <a:lnTo>
                  <a:pt x="10767" y="6279"/>
                </a:lnTo>
                <a:lnTo>
                  <a:pt x="10873" y="6225"/>
                </a:lnTo>
                <a:lnTo>
                  <a:pt x="10982" y="6176"/>
                </a:lnTo>
                <a:lnTo>
                  <a:pt x="11093" y="6132"/>
                </a:lnTo>
                <a:lnTo>
                  <a:pt x="11207" y="6093"/>
                </a:lnTo>
                <a:lnTo>
                  <a:pt x="11324" y="6061"/>
                </a:lnTo>
                <a:lnTo>
                  <a:pt x="11443" y="6033"/>
                </a:lnTo>
                <a:lnTo>
                  <a:pt x="11564" y="6011"/>
                </a:lnTo>
                <a:lnTo>
                  <a:pt x="11687" y="5996"/>
                </a:lnTo>
                <a:lnTo>
                  <a:pt x="11812" y="5986"/>
                </a:lnTo>
                <a:lnTo>
                  <a:pt x="11938" y="5983"/>
                </a:lnTo>
                <a:lnTo>
                  <a:pt x="12064" y="5986"/>
                </a:lnTo>
                <a:lnTo>
                  <a:pt x="12188" y="5996"/>
                </a:lnTo>
                <a:lnTo>
                  <a:pt x="12311" y="6011"/>
                </a:lnTo>
                <a:lnTo>
                  <a:pt x="12432" y="6033"/>
                </a:lnTo>
                <a:lnTo>
                  <a:pt x="12551" y="6061"/>
                </a:lnTo>
                <a:lnTo>
                  <a:pt x="12667" y="6093"/>
                </a:lnTo>
                <a:lnTo>
                  <a:pt x="12782" y="6132"/>
                </a:lnTo>
                <a:lnTo>
                  <a:pt x="12892" y="6176"/>
                </a:lnTo>
                <a:lnTo>
                  <a:pt x="13001" y="6225"/>
                </a:lnTo>
                <a:lnTo>
                  <a:pt x="13108" y="6279"/>
                </a:lnTo>
                <a:lnTo>
                  <a:pt x="13210" y="6338"/>
                </a:lnTo>
                <a:lnTo>
                  <a:pt x="13310" y="6402"/>
                </a:lnTo>
                <a:lnTo>
                  <a:pt x="13407" y="6472"/>
                </a:lnTo>
                <a:lnTo>
                  <a:pt x="13499" y="6544"/>
                </a:lnTo>
                <a:lnTo>
                  <a:pt x="13588" y="6621"/>
                </a:lnTo>
                <a:lnTo>
                  <a:pt x="13673" y="6703"/>
                </a:lnTo>
                <a:lnTo>
                  <a:pt x="13755" y="6788"/>
                </a:lnTo>
                <a:lnTo>
                  <a:pt x="13831" y="6877"/>
                </a:lnTo>
                <a:lnTo>
                  <a:pt x="13904" y="6970"/>
                </a:lnTo>
                <a:lnTo>
                  <a:pt x="13973" y="7067"/>
                </a:lnTo>
                <a:lnTo>
                  <a:pt x="14036" y="7166"/>
                </a:lnTo>
                <a:lnTo>
                  <a:pt x="14096" y="7269"/>
                </a:lnTo>
                <a:lnTo>
                  <a:pt x="14150" y="7375"/>
                </a:lnTo>
                <a:lnTo>
                  <a:pt x="14199" y="7484"/>
                </a:lnTo>
                <a:lnTo>
                  <a:pt x="14244" y="7595"/>
                </a:lnTo>
                <a:lnTo>
                  <a:pt x="14282" y="7709"/>
                </a:lnTo>
                <a:lnTo>
                  <a:pt x="14315" y="7826"/>
                </a:lnTo>
                <a:lnTo>
                  <a:pt x="14342" y="7945"/>
                </a:lnTo>
                <a:lnTo>
                  <a:pt x="14363" y="8066"/>
                </a:lnTo>
                <a:lnTo>
                  <a:pt x="14380" y="8189"/>
                </a:lnTo>
                <a:lnTo>
                  <a:pt x="14389" y="8315"/>
                </a:lnTo>
                <a:lnTo>
                  <a:pt x="14392" y="8441"/>
                </a:lnTo>
                <a:lnTo>
                  <a:pt x="14392" y="8479"/>
                </a:lnTo>
                <a:lnTo>
                  <a:pt x="14391" y="8517"/>
                </a:lnTo>
                <a:lnTo>
                  <a:pt x="14390" y="8556"/>
                </a:lnTo>
                <a:lnTo>
                  <a:pt x="14388" y="8593"/>
                </a:lnTo>
                <a:lnTo>
                  <a:pt x="14385" y="8631"/>
                </a:lnTo>
                <a:lnTo>
                  <a:pt x="14382" y="8669"/>
                </a:lnTo>
                <a:lnTo>
                  <a:pt x="14378" y="8706"/>
                </a:lnTo>
                <a:lnTo>
                  <a:pt x="14374" y="8744"/>
                </a:lnTo>
                <a:lnTo>
                  <a:pt x="14369" y="8780"/>
                </a:lnTo>
                <a:lnTo>
                  <a:pt x="14363" y="8817"/>
                </a:lnTo>
                <a:lnTo>
                  <a:pt x="14357" y="8855"/>
                </a:lnTo>
                <a:lnTo>
                  <a:pt x="14351" y="8891"/>
                </a:lnTo>
                <a:lnTo>
                  <a:pt x="14344" y="8927"/>
                </a:lnTo>
                <a:lnTo>
                  <a:pt x="14336" y="8963"/>
                </a:lnTo>
                <a:lnTo>
                  <a:pt x="14328" y="8999"/>
                </a:lnTo>
                <a:lnTo>
                  <a:pt x="14320" y="9036"/>
                </a:lnTo>
                <a:lnTo>
                  <a:pt x="15987" y="9036"/>
                </a:lnTo>
                <a:lnTo>
                  <a:pt x="16001" y="9035"/>
                </a:lnTo>
                <a:lnTo>
                  <a:pt x="16015" y="9033"/>
                </a:lnTo>
                <a:lnTo>
                  <a:pt x="16028" y="9029"/>
                </a:lnTo>
                <a:lnTo>
                  <a:pt x="16042" y="9024"/>
                </a:lnTo>
                <a:lnTo>
                  <a:pt x="16054" y="9018"/>
                </a:lnTo>
                <a:lnTo>
                  <a:pt x="16066" y="9011"/>
                </a:lnTo>
                <a:lnTo>
                  <a:pt x="16076" y="9003"/>
                </a:lnTo>
                <a:lnTo>
                  <a:pt x="16086" y="8994"/>
                </a:lnTo>
                <a:lnTo>
                  <a:pt x="16096" y="8984"/>
                </a:lnTo>
                <a:lnTo>
                  <a:pt x="16104" y="8974"/>
                </a:lnTo>
                <a:lnTo>
                  <a:pt x="16111" y="8961"/>
                </a:lnTo>
                <a:lnTo>
                  <a:pt x="16117" y="8949"/>
                </a:lnTo>
                <a:lnTo>
                  <a:pt x="16121" y="8936"/>
                </a:lnTo>
                <a:lnTo>
                  <a:pt x="16125" y="8923"/>
                </a:lnTo>
                <a:lnTo>
                  <a:pt x="16127" y="8909"/>
                </a:lnTo>
                <a:lnTo>
                  <a:pt x="16127" y="8894"/>
                </a:lnTo>
                <a:lnTo>
                  <a:pt x="16127" y="6843"/>
                </a:lnTo>
                <a:lnTo>
                  <a:pt x="15847" y="6843"/>
                </a:lnTo>
                <a:lnTo>
                  <a:pt x="15691" y="6843"/>
                </a:lnTo>
                <a:lnTo>
                  <a:pt x="15691" y="6688"/>
                </a:lnTo>
                <a:lnTo>
                  <a:pt x="15691" y="5639"/>
                </a:lnTo>
                <a:lnTo>
                  <a:pt x="15691" y="5484"/>
                </a:lnTo>
                <a:lnTo>
                  <a:pt x="15847" y="5484"/>
                </a:lnTo>
                <a:lnTo>
                  <a:pt x="16127" y="5484"/>
                </a:lnTo>
                <a:lnTo>
                  <a:pt x="16127" y="5312"/>
                </a:lnTo>
                <a:lnTo>
                  <a:pt x="16127" y="5298"/>
                </a:lnTo>
                <a:lnTo>
                  <a:pt x="16125" y="5285"/>
                </a:lnTo>
                <a:lnTo>
                  <a:pt x="16121" y="5271"/>
                </a:lnTo>
                <a:lnTo>
                  <a:pt x="16117" y="5258"/>
                </a:lnTo>
                <a:lnTo>
                  <a:pt x="16111" y="5246"/>
                </a:lnTo>
                <a:lnTo>
                  <a:pt x="16104" y="5234"/>
                </a:lnTo>
                <a:lnTo>
                  <a:pt x="16096" y="5224"/>
                </a:lnTo>
                <a:lnTo>
                  <a:pt x="16086" y="5212"/>
                </a:lnTo>
                <a:lnTo>
                  <a:pt x="16076" y="5203"/>
                </a:lnTo>
                <a:lnTo>
                  <a:pt x="16065" y="5195"/>
                </a:lnTo>
                <a:lnTo>
                  <a:pt x="16053" y="5188"/>
                </a:lnTo>
                <a:lnTo>
                  <a:pt x="16041" y="5183"/>
                </a:lnTo>
                <a:lnTo>
                  <a:pt x="16027" y="5178"/>
                </a:lnTo>
                <a:lnTo>
                  <a:pt x="16014" y="5175"/>
                </a:lnTo>
                <a:lnTo>
                  <a:pt x="16001" y="5173"/>
                </a:lnTo>
                <a:lnTo>
                  <a:pt x="15987" y="5172"/>
                </a:lnTo>
                <a:lnTo>
                  <a:pt x="15436" y="5172"/>
                </a:lnTo>
                <a:lnTo>
                  <a:pt x="11194" y="5172"/>
                </a:lnTo>
                <a:lnTo>
                  <a:pt x="11194" y="3032"/>
                </a:lnTo>
                <a:lnTo>
                  <a:pt x="12140" y="2208"/>
                </a:lnTo>
                <a:lnTo>
                  <a:pt x="15437" y="2208"/>
                </a:lnTo>
                <a:lnTo>
                  <a:pt x="15437" y="1900"/>
                </a:lnTo>
                <a:lnTo>
                  <a:pt x="15437" y="1886"/>
                </a:lnTo>
                <a:lnTo>
                  <a:pt x="15434" y="1872"/>
                </a:lnTo>
                <a:lnTo>
                  <a:pt x="15431" y="1859"/>
                </a:lnTo>
                <a:lnTo>
                  <a:pt x="15427" y="1846"/>
                </a:lnTo>
                <a:lnTo>
                  <a:pt x="15421" y="1834"/>
                </a:lnTo>
                <a:lnTo>
                  <a:pt x="15414" y="1822"/>
                </a:lnTo>
                <a:lnTo>
                  <a:pt x="15406" y="1810"/>
                </a:lnTo>
                <a:lnTo>
                  <a:pt x="15397" y="1800"/>
                </a:lnTo>
                <a:lnTo>
                  <a:pt x="15386" y="1791"/>
                </a:lnTo>
                <a:lnTo>
                  <a:pt x="15375" y="1783"/>
                </a:lnTo>
                <a:lnTo>
                  <a:pt x="15363" y="1776"/>
                </a:lnTo>
                <a:lnTo>
                  <a:pt x="15351" y="1770"/>
                </a:lnTo>
                <a:lnTo>
                  <a:pt x="15338" y="1766"/>
                </a:lnTo>
                <a:lnTo>
                  <a:pt x="15324" y="1763"/>
                </a:lnTo>
                <a:lnTo>
                  <a:pt x="15311" y="1760"/>
                </a:lnTo>
                <a:lnTo>
                  <a:pt x="15297" y="1760"/>
                </a:lnTo>
                <a:lnTo>
                  <a:pt x="12654" y="1760"/>
                </a:lnTo>
                <a:lnTo>
                  <a:pt x="12028" y="1760"/>
                </a:lnTo>
                <a:lnTo>
                  <a:pt x="11514" y="2208"/>
                </a:lnTo>
                <a:lnTo>
                  <a:pt x="11194" y="2487"/>
                </a:lnTo>
                <a:lnTo>
                  <a:pt x="10746" y="2877"/>
                </a:lnTo>
                <a:lnTo>
                  <a:pt x="10746" y="3422"/>
                </a:lnTo>
                <a:lnTo>
                  <a:pt x="10746" y="5520"/>
                </a:lnTo>
                <a:lnTo>
                  <a:pt x="10746" y="5685"/>
                </a:lnTo>
                <a:lnTo>
                  <a:pt x="10586" y="5685"/>
                </a:lnTo>
                <a:lnTo>
                  <a:pt x="10437" y="5685"/>
                </a:lnTo>
                <a:lnTo>
                  <a:pt x="10437" y="5416"/>
                </a:lnTo>
                <a:lnTo>
                  <a:pt x="10437" y="5172"/>
                </a:lnTo>
                <a:lnTo>
                  <a:pt x="10437" y="2951"/>
                </a:lnTo>
                <a:lnTo>
                  <a:pt x="10437" y="2795"/>
                </a:lnTo>
                <a:lnTo>
                  <a:pt x="10437" y="2726"/>
                </a:lnTo>
                <a:lnTo>
                  <a:pt x="10490" y="2679"/>
                </a:lnTo>
                <a:lnTo>
                  <a:pt x="12171" y="1213"/>
                </a:lnTo>
                <a:lnTo>
                  <a:pt x="12175" y="1208"/>
                </a:lnTo>
                <a:lnTo>
                  <a:pt x="12180" y="1213"/>
                </a:lnTo>
                <a:lnTo>
                  <a:pt x="14269" y="1213"/>
                </a:lnTo>
                <a:lnTo>
                  <a:pt x="14283" y="1212"/>
                </a:lnTo>
                <a:lnTo>
                  <a:pt x="14297" y="1210"/>
                </a:lnTo>
                <a:lnTo>
                  <a:pt x="14311" y="1207"/>
                </a:lnTo>
                <a:lnTo>
                  <a:pt x="14324" y="1202"/>
                </a:lnTo>
                <a:lnTo>
                  <a:pt x="14336" y="1197"/>
                </a:lnTo>
                <a:lnTo>
                  <a:pt x="14348" y="1190"/>
                </a:lnTo>
                <a:lnTo>
                  <a:pt x="14358" y="1182"/>
                </a:lnTo>
                <a:lnTo>
                  <a:pt x="14369" y="1173"/>
                </a:lnTo>
                <a:lnTo>
                  <a:pt x="14378" y="1163"/>
                </a:lnTo>
                <a:lnTo>
                  <a:pt x="14386" y="1151"/>
                </a:lnTo>
                <a:lnTo>
                  <a:pt x="14393" y="1140"/>
                </a:lnTo>
                <a:lnTo>
                  <a:pt x="14399" y="1128"/>
                </a:lnTo>
                <a:lnTo>
                  <a:pt x="14403" y="1115"/>
                </a:lnTo>
                <a:lnTo>
                  <a:pt x="14407" y="1101"/>
                </a:lnTo>
                <a:lnTo>
                  <a:pt x="14409" y="1087"/>
                </a:lnTo>
                <a:lnTo>
                  <a:pt x="14410" y="1073"/>
                </a:lnTo>
                <a:lnTo>
                  <a:pt x="14410" y="140"/>
                </a:lnTo>
                <a:lnTo>
                  <a:pt x="14409" y="126"/>
                </a:lnTo>
                <a:lnTo>
                  <a:pt x="14407" y="112"/>
                </a:lnTo>
                <a:lnTo>
                  <a:pt x="14403" y="99"/>
                </a:lnTo>
                <a:lnTo>
                  <a:pt x="14399" y="85"/>
                </a:lnTo>
                <a:lnTo>
                  <a:pt x="14393" y="73"/>
                </a:lnTo>
                <a:lnTo>
                  <a:pt x="14386" y="62"/>
                </a:lnTo>
                <a:lnTo>
                  <a:pt x="14378" y="51"/>
                </a:lnTo>
                <a:lnTo>
                  <a:pt x="14369" y="41"/>
                </a:lnTo>
                <a:lnTo>
                  <a:pt x="14358" y="33"/>
                </a:lnTo>
                <a:lnTo>
                  <a:pt x="14348" y="24"/>
                </a:lnTo>
                <a:lnTo>
                  <a:pt x="14336" y="17"/>
                </a:lnTo>
                <a:lnTo>
                  <a:pt x="14324" y="11"/>
                </a:lnTo>
                <a:lnTo>
                  <a:pt x="14311" y="6"/>
                </a:lnTo>
                <a:lnTo>
                  <a:pt x="14297" y="3"/>
                </a:lnTo>
                <a:lnTo>
                  <a:pt x="14283" y="1"/>
                </a:lnTo>
                <a:lnTo>
                  <a:pt x="14269" y="0"/>
                </a:lnTo>
                <a:lnTo>
                  <a:pt x="11996" y="0"/>
                </a:lnTo>
                <a:lnTo>
                  <a:pt x="9732" y="1974"/>
                </a:lnTo>
                <a:lnTo>
                  <a:pt x="9529" y="1741"/>
                </a:lnTo>
                <a:lnTo>
                  <a:pt x="10715" y="707"/>
                </a:lnTo>
                <a:lnTo>
                  <a:pt x="266" y="707"/>
                </a:lnTo>
                <a:lnTo>
                  <a:pt x="253" y="708"/>
                </a:lnTo>
                <a:lnTo>
                  <a:pt x="239" y="710"/>
                </a:lnTo>
                <a:lnTo>
                  <a:pt x="226" y="713"/>
                </a:lnTo>
                <a:lnTo>
                  <a:pt x="212" y="717"/>
                </a:lnTo>
                <a:lnTo>
                  <a:pt x="200" y="723"/>
                </a:lnTo>
                <a:lnTo>
                  <a:pt x="189" y="730"/>
                </a:lnTo>
                <a:lnTo>
                  <a:pt x="178" y="738"/>
                </a:lnTo>
                <a:lnTo>
                  <a:pt x="168" y="748"/>
                </a:lnTo>
                <a:lnTo>
                  <a:pt x="158" y="759"/>
                </a:lnTo>
                <a:lnTo>
                  <a:pt x="149" y="769"/>
                </a:lnTo>
                <a:lnTo>
                  <a:pt x="143" y="781"/>
                </a:lnTo>
                <a:lnTo>
                  <a:pt x="137" y="793"/>
                </a:lnTo>
                <a:lnTo>
                  <a:pt x="132" y="807"/>
                </a:lnTo>
                <a:lnTo>
                  <a:pt x="129" y="820"/>
                </a:lnTo>
                <a:lnTo>
                  <a:pt x="127" y="834"/>
                </a:lnTo>
                <a:lnTo>
                  <a:pt x="126" y="847"/>
                </a:lnTo>
                <a:lnTo>
                  <a:pt x="126" y="911"/>
                </a:lnTo>
                <a:lnTo>
                  <a:pt x="407" y="911"/>
                </a:lnTo>
                <a:lnTo>
                  <a:pt x="563" y="911"/>
                </a:lnTo>
                <a:lnTo>
                  <a:pt x="563" y="1067"/>
                </a:lnTo>
                <a:lnTo>
                  <a:pt x="563" y="2116"/>
                </a:lnTo>
                <a:lnTo>
                  <a:pt x="563" y="2270"/>
                </a:lnTo>
                <a:lnTo>
                  <a:pt x="407" y="2270"/>
                </a:lnTo>
                <a:lnTo>
                  <a:pt x="127" y="2270"/>
                </a:lnTo>
                <a:lnTo>
                  <a:pt x="127" y="2335"/>
                </a:lnTo>
                <a:lnTo>
                  <a:pt x="127" y="2344"/>
                </a:lnTo>
                <a:lnTo>
                  <a:pt x="128" y="2354"/>
                </a:lnTo>
                <a:lnTo>
                  <a:pt x="130" y="2363"/>
                </a:lnTo>
                <a:lnTo>
                  <a:pt x="132" y="2372"/>
                </a:lnTo>
                <a:lnTo>
                  <a:pt x="135" y="2381"/>
                </a:lnTo>
                <a:lnTo>
                  <a:pt x="138" y="2390"/>
                </a:lnTo>
                <a:lnTo>
                  <a:pt x="142" y="2398"/>
                </a:lnTo>
                <a:lnTo>
                  <a:pt x="146" y="2406"/>
                </a:lnTo>
                <a:lnTo>
                  <a:pt x="151" y="2414"/>
                </a:lnTo>
                <a:lnTo>
                  <a:pt x="156" y="2422"/>
                </a:lnTo>
                <a:lnTo>
                  <a:pt x="163" y="2429"/>
                </a:lnTo>
                <a:lnTo>
                  <a:pt x="169" y="2435"/>
                </a:lnTo>
                <a:lnTo>
                  <a:pt x="176" y="2441"/>
                </a:lnTo>
                <a:lnTo>
                  <a:pt x="183" y="2447"/>
                </a:lnTo>
                <a:lnTo>
                  <a:pt x="191" y="2453"/>
                </a:lnTo>
                <a:lnTo>
                  <a:pt x="199" y="2457"/>
                </a:lnTo>
                <a:lnTo>
                  <a:pt x="2676" y="3836"/>
                </a:lnTo>
                <a:close/>
                <a:moveTo>
                  <a:pt x="6570" y="5360"/>
                </a:moveTo>
                <a:lnTo>
                  <a:pt x="4566" y="2799"/>
                </a:lnTo>
                <a:lnTo>
                  <a:pt x="4557" y="2787"/>
                </a:lnTo>
                <a:lnTo>
                  <a:pt x="4550" y="2773"/>
                </a:lnTo>
                <a:lnTo>
                  <a:pt x="4544" y="2759"/>
                </a:lnTo>
                <a:lnTo>
                  <a:pt x="4540" y="2745"/>
                </a:lnTo>
                <a:lnTo>
                  <a:pt x="4536" y="2730"/>
                </a:lnTo>
                <a:lnTo>
                  <a:pt x="4535" y="2716"/>
                </a:lnTo>
                <a:lnTo>
                  <a:pt x="4534" y="2700"/>
                </a:lnTo>
                <a:lnTo>
                  <a:pt x="4535" y="2686"/>
                </a:lnTo>
                <a:lnTo>
                  <a:pt x="4538" y="2671"/>
                </a:lnTo>
                <a:lnTo>
                  <a:pt x="4542" y="2657"/>
                </a:lnTo>
                <a:lnTo>
                  <a:pt x="4547" y="2643"/>
                </a:lnTo>
                <a:lnTo>
                  <a:pt x="4553" y="2629"/>
                </a:lnTo>
                <a:lnTo>
                  <a:pt x="4561" y="2617"/>
                </a:lnTo>
                <a:lnTo>
                  <a:pt x="4570" y="2605"/>
                </a:lnTo>
                <a:lnTo>
                  <a:pt x="4582" y="2594"/>
                </a:lnTo>
                <a:lnTo>
                  <a:pt x="4594" y="2583"/>
                </a:lnTo>
                <a:lnTo>
                  <a:pt x="4606" y="2574"/>
                </a:lnTo>
                <a:lnTo>
                  <a:pt x="4619" y="2566"/>
                </a:lnTo>
                <a:lnTo>
                  <a:pt x="4633" y="2560"/>
                </a:lnTo>
                <a:lnTo>
                  <a:pt x="4648" y="2556"/>
                </a:lnTo>
                <a:lnTo>
                  <a:pt x="4663" y="2553"/>
                </a:lnTo>
                <a:lnTo>
                  <a:pt x="4677" y="2551"/>
                </a:lnTo>
                <a:lnTo>
                  <a:pt x="4692" y="2551"/>
                </a:lnTo>
                <a:lnTo>
                  <a:pt x="4707" y="2552"/>
                </a:lnTo>
                <a:lnTo>
                  <a:pt x="4722" y="2554"/>
                </a:lnTo>
                <a:lnTo>
                  <a:pt x="4736" y="2558"/>
                </a:lnTo>
                <a:lnTo>
                  <a:pt x="4749" y="2563"/>
                </a:lnTo>
                <a:lnTo>
                  <a:pt x="4763" y="2570"/>
                </a:lnTo>
                <a:lnTo>
                  <a:pt x="4776" y="2578"/>
                </a:lnTo>
                <a:lnTo>
                  <a:pt x="4788" y="2587"/>
                </a:lnTo>
                <a:lnTo>
                  <a:pt x="4799" y="2598"/>
                </a:lnTo>
                <a:lnTo>
                  <a:pt x="4809" y="2610"/>
                </a:lnTo>
                <a:lnTo>
                  <a:pt x="6811" y="5171"/>
                </a:lnTo>
                <a:lnTo>
                  <a:pt x="6821" y="5184"/>
                </a:lnTo>
                <a:lnTo>
                  <a:pt x="6829" y="5197"/>
                </a:lnTo>
                <a:lnTo>
                  <a:pt x="6835" y="5211"/>
                </a:lnTo>
                <a:lnTo>
                  <a:pt x="6839" y="5226"/>
                </a:lnTo>
                <a:lnTo>
                  <a:pt x="6842" y="5240"/>
                </a:lnTo>
                <a:lnTo>
                  <a:pt x="6844" y="5255"/>
                </a:lnTo>
                <a:lnTo>
                  <a:pt x="6845" y="5269"/>
                </a:lnTo>
                <a:lnTo>
                  <a:pt x="6843" y="5285"/>
                </a:lnTo>
                <a:lnTo>
                  <a:pt x="6841" y="5299"/>
                </a:lnTo>
                <a:lnTo>
                  <a:pt x="6837" y="5313"/>
                </a:lnTo>
                <a:lnTo>
                  <a:pt x="6832" y="5327"/>
                </a:lnTo>
                <a:lnTo>
                  <a:pt x="6825" y="5341"/>
                </a:lnTo>
                <a:lnTo>
                  <a:pt x="6818" y="5354"/>
                </a:lnTo>
                <a:lnTo>
                  <a:pt x="6807" y="5365"/>
                </a:lnTo>
                <a:lnTo>
                  <a:pt x="6797" y="5377"/>
                </a:lnTo>
                <a:lnTo>
                  <a:pt x="6785" y="5387"/>
                </a:lnTo>
                <a:lnTo>
                  <a:pt x="6773" y="5397"/>
                </a:lnTo>
                <a:lnTo>
                  <a:pt x="6759" y="5404"/>
                </a:lnTo>
                <a:lnTo>
                  <a:pt x="6745" y="5410"/>
                </a:lnTo>
                <a:lnTo>
                  <a:pt x="6731" y="5415"/>
                </a:lnTo>
                <a:lnTo>
                  <a:pt x="6716" y="5418"/>
                </a:lnTo>
                <a:lnTo>
                  <a:pt x="6702" y="5419"/>
                </a:lnTo>
                <a:lnTo>
                  <a:pt x="6686" y="5420"/>
                </a:lnTo>
                <a:lnTo>
                  <a:pt x="6672" y="5419"/>
                </a:lnTo>
                <a:lnTo>
                  <a:pt x="6657" y="5416"/>
                </a:lnTo>
                <a:lnTo>
                  <a:pt x="6643" y="5412"/>
                </a:lnTo>
                <a:lnTo>
                  <a:pt x="6629" y="5407"/>
                </a:lnTo>
                <a:lnTo>
                  <a:pt x="6615" y="5401"/>
                </a:lnTo>
                <a:lnTo>
                  <a:pt x="6603" y="5393"/>
                </a:lnTo>
                <a:lnTo>
                  <a:pt x="6591" y="5383"/>
                </a:lnTo>
                <a:lnTo>
                  <a:pt x="6580" y="5372"/>
                </a:lnTo>
                <a:lnTo>
                  <a:pt x="6570" y="5360"/>
                </a:lnTo>
                <a:close/>
                <a:moveTo>
                  <a:pt x="8040" y="5360"/>
                </a:moveTo>
                <a:lnTo>
                  <a:pt x="6037" y="2799"/>
                </a:lnTo>
                <a:lnTo>
                  <a:pt x="6028" y="2787"/>
                </a:lnTo>
                <a:lnTo>
                  <a:pt x="6021" y="2773"/>
                </a:lnTo>
                <a:lnTo>
                  <a:pt x="6015" y="2759"/>
                </a:lnTo>
                <a:lnTo>
                  <a:pt x="6010" y="2745"/>
                </a:lnTo>
                <a:lnTo>
                  <a:pt x="6007" y="2730"/>
                </a:lnTo>
                <a:lnTo>
                  <a:pt x="6005" y="2716"/>
                </a:lnTo>
                <a:lnTo>
                  <a:pt x="6005" y="2700"/>
                </a:lnTo>
                <a:lnTo>
                  <a:pt x="6006" y="2686"/>
                </a:lnTo>
                <a:lnTo>
                  <a:pt x="6009" y="2671"/>
                </a:lnTo>
                <a:lnTo>
                  <a:pt x="6012" y="2657"/>
                </a:lnTo>
                <a:lnTo>
                  <a:pt x="6018" y="2643"/>
                </a:lnTo>
                <a:lnTo>
                  <a:pt x="6024" y="2629"/>
                </a:lnTo>
                <a:lnTo>
                  <a:pt x="6032" y="2617"/>
                </a:lnTo>
                <a:lnTo>
                  <a:pt x="6041" y="2605"/>
                </a:lnTo>
                <a:lnTo>
                  <a:pt x="6053" y="2594"/>
                </a:lnTo>
                <a:lnTo>
                  <a:pt x="6064" y="2583"/>
                </a:lnTo>
                <a:lnTo>
                  <a:pt x="6077" y="2574"/>
                </a:lnTo>
                <a:lnTo>
                  <a:pt x="6090" y="2566"/>
                </a:lnTo>
                <a:lnTo>
                  <a:pt x="6104" y="2560"/>
                </a:lnTo>
                <a:lnTo>
                  <a:pt x="6119" y="2556"/>
                </a:lnTo>
                <a:lnTo>
                  <a:pt x="6133" y="2553"/>
                </a:lnTo>
                <a:lnTo>
                  <a:pt x="6148" y="2551"/>
                </a:lnTo>
                <a:lnTo>
                  <a:pt x="6162" y="2551"/>
                </a:lnTo>
                <a:lnTo>
                  <a:pt x="6178" y="2552"/>
                </a:lnTo>
                <a:lnTo>
                  <a:pt x="6192" y="2554"/>
                </a:lnTo>
                <a:lnTo>
                  <a:pt x="6206" y="2558"/>
                </a:lnTo>
                <a:lnTo>
                  <a:pt x="6220" y="2563"/>
                </a:lnTo>
                <a:lnTo>
                  <a:pt x="6233" y="2570"/>
                </a:lnTo>
                <a:lnTo>
                  <a:pt x="6247" y="2578"/>
                </a:lnTo>
                <a:lnTo>
                  <a:pt x="6259" y="2587"/>
                </a:lnTo>
                <a:lnTo>
                  <a:pt x="6270" y="2598"/>
                </a:lnTo>
                <a:lnTo>
                  <a:pt x="6280" y="2610"/>
                </a:lnTo>
                <a:lnTo>
                  <a:pt x="8282" y="5171"/>
                </a:lnTo>
                <a:lnTo>
                  <a:pt x="8292" y="5184"/>
                </a:lnTo>
                <a:lnTo>
                  <a:pt x="8300" y="5197"/>
                </a:lnTo>
                <a:lnTo>
                  <a:pt x="8306" y="5211"/>
                </a:lnTo>
                <a:lnTo>
                  <a:pt x="8310" y="5226"/>
                </a:lnTo>
                <a:lnTo>
                  <a:pt x="8313" y="5240"/>
                </a:lnTo>
                <a:lnTo>
                  <a:pt x="8315" y="5255"/>
                </a:lnTo>
                <a:lnTo>
                  <a:pt x="8315" y="5269"/>
                </a:lnTo>
                <a:lnTo>
                  <a:pt x="8314" y="5285"/>
                </a:lnTo>
                <a:lnTo>
                  <a:pt x="8312" y="5299"/>
                </a:lnTo>
                <a:lnTo>
                  <a:pt x="8308" y="5313"/>
                </a:lnTo>
                <a:lnTo>
                  <a:pt x="8303" y="5327"/>
                </a:lnTo>
                <a:lnTo>
                  <a:pt x="8296" y="5341"/>
                </a:lnTo>
                <a:lnTo>
                  <a:pt x="8288" y="5354"/>
                </a:lnTo>
                <a:lnTo>
                  <a:pt x="8278" y="5365"/>
                </a:lnTo>
                <a:lnTo>
                  <a:pt x="8268" y="5377"/>
                </a:lnTo>
                <a:lnTo>
                  <a:pt x="8256" y="5387"/>
                </a:lnTo>
                <a:lnTo>
                  <a:pt x="8244" y="5397"/>
                </a:lnTo>
                <a:lnTo>
                  <a:pt x="8230" y="5404"/>
                </a:lnTo>
                <a:lnTo>
                  <a:pt x="8216" y="5410"/>
                </a:lnTo>
                <a:lnTo>
                  <a:pt x="8201" y="5415"/>
                </a:lnTo>
                <a:lnTo>
                  <a:pt x="8187" y="5418"/>
                </a:lnTo>
                <a:lnTo>
                  <a:pt x="8173" y="5419"/>
                </a:lnTo>
                <a:lnTo>
                  <a:pt x="8157" y="5420"/>
                </a:lnTo>
                <a:lnTo>
                  <a:pt x="8142" y="5419"/>
                </a:lnTo>
                <a:lnTo>
                  <a:pt x="8128" y="5416"/>
                </a:lnTo>
                <a:lnTo>
                  <a:pt x="8114" y="5412"/>
                </a:lnTo>
                <a:lnTo>
                  <a:pt x="8100" y="5407"/>
                </a:lnTo>
                <a:lnTo>
                  <a:pt x="8086" y="5401"/>
                </a:lnTo>
                <a:lnTo>
                  <a:pt x="8074" y="5393"/>
                </a:lnTo>
                <a:lnTo>
                  <a:pt x="8062" y="5383"/>
                </a:lnTo>
                <a:lnTo>
                  <a:pt x="8051" y="5372"/>
                </a:lnTo>
                <a:lnTo>
                  <a:pt x="8040" y="5360"/>
                </a:lnTo>
                <a:close/>
                <a:moveTo>
                  <a:pt x="5440" y="5171"/>
                </a:moveTo>
                <a:lnTo>
                  <a:pt x="5449" y="5184"/>
                </a:lnTo>
                <a:lnTo>
                  <a:pt x="5457" y="5197"/>
                </a:lnTo>
                <a:lnTo>
                  <a:pt x="5463" y="5211"/>
                </a:lnTo>
                <a:lnTo>
                  <a:pt x="5467" y="5226"/>
                </a:lnTo>
                <a:lnTo>
                  <a:pt x="5470" y="5240"/>
                </a:lnTo>
                <a:lnTo>
                  <a:pt x="5473" y="5255"/>
                </a:lnTo>
                <a:lnTo>
                  <a:pt x="5473" y="5269"/>
                </a:lnTo>
                <a:lnTo>
                  <a:pt x="5472" y="5285"/>
                </a:lnTo>
                <a:lnTo>
                  <a:pt x="5469" y="5299"/>
                </a:lnTo>
                <a:lnTo>
                  <a:pt x="5465" y="5313"/>
                </a:lnTo>
                <a:lnTo>
                  <a:pt x="5460" y="5327"/>
                </a:lnTo>
                <a:lnTo>
                  <a:pt x="5453" y="5341"/>
                </a:lnTo>
                <a:lnTo>
                  <a:pt x="5446" y="5354"/>
                </a:lnTo>
                <a:lnTo>
                  <a:pt x="5436" y="5365"/>
                </a:lnTo>
                <a:lnTo>
                  <a:pt x="5426" y="5377"/>
                </a:lnTo>
                <a:lnTo>
                  <a:pt x="5414" y="5387"/>
                </a:lnTo>
                <a:lnTo>
                  <a:pt x="5401" y="5397"/>
                </a:lnTo>
                <a:lnTo>
                  <a:pt x="5387" y="5404"/>
                </a:lnTo>
                <a:lnTo>
                  <a:pt x="5374" y="5410"/>
                </a:lnTo>
                <a:lnTo>
                  <a:pt x="5359" y="5415"/>
                </a:lnTo>
                <a:lnTo>
                  <a:pt x="5345" y="5418"/>
                </a:lnTo>
                <a:lnTo>
                  <a:pt x="5330" y="5419"/>
                </a:lnTo>
                <a:lnTo>
                  <a:pt x="5315" y="5420"/>
                </a:lnTo>
                <a:lnTo>
                  <a:pt x="5301" y="5419"/>
                </a:lnTo>
                <a:lnTo>
                  <a:pt x="5286" y="5416"/>
                </a:lnTo>
                <a:lnTo>
                  <a:pt x="5271" y="5412"/>
                </a:lnTo>
                <a:lnTo>
                  <a:pt x="5257" y="5407"/>
                </a:lnTo>
                <a:lnTo>
                  <a:pt x="5244" y="5401"/>
                </a:lnTo>
                <a:lnTo>
                  <a:pt x="5232" y="5393"/>
                </a:lnTo>
                <a:lnTo>
                  <a:pt x="5220" y="5383"/>
                </a:lnTo>
                <a:lnTo>
                  <a:pt x="5208" y="5372"/>
                </a:lnTo>
                <a:lnTo>
                  <a:pt x="5198" y="5360"/>
                </a:lnTo>
                <a:lnTo>
                  <a:pt x="3195" y="2799"/>
                </a:lnTo>
                <a:lnTo>
                  <a:pt x="3186" y="2787"/>
                </a:lnTo>
                <a:lnTo>
                  <a:pt x="3179" y="2773"/>
                </a:lnTo>
                <a:lnTo>
                  <a:pt x="3173" y="2759"/>
                </a:lnTo>
                <a:lnTo>
                  <a:pt x="3167" y="2745"/>
                </a:lnTo>
                <a:lnTo>
                  <a:pt x="3164" y="2730"/>
                </a:lnTo>
                <a:lnTo>
                  <a:pt x="3162" y="2716"/>
                </a:lnTo>
                <a:lnTo>
                  <a:pt x="3162" y="2700"/>
                </a:lnTo>
                <a:lnTo>
                  <a:pt x="3163" y="2686"/>
                </a:lnTo>
                <a:lnTo>
                  <a:pt x="3166" y="2671"/>
                </a:lnTo>
                <a:lnTo>
                  <a:pt x="3171" y="2657"/>
                </a:lnTo>
                <a:lnTo>
                  <a:pt x="3176" y="2643"/>
                </a:lnTo>
                <a:lnTo>
                  <a:pt x="3182" y="2629"/>
                </a:lnTo>
                <a:lnTo>
                  <a:pt x="3190" y="2617"/>
                </a:lnTo>
                <a:lnTo>
                  <a:pt x="3199" y="2605"/>
                </a:lnTo>
                <a:lnTo>
                  <a:pt x="3210" y="2594"/>
                </a:lnTo>
                <a:lnTo>
                  <a:pt x="3221" y="2583"/>
                </a:lnTo>
                <a:lnTo>
                  <a:pt x="3235" y="2574"/>
                </a:lnTo>
                <a:lnTo>
                  <a:pt x="3248" y="2566"/>
                </a:lnTo>
                <a:lnTo>
                  <a:pt x="3262" y="2560"/>
                </a:lnTo>
                <a:lnTo>
                  <a:pt x="3276" y="2556"/>
                </a:lnTo>
                <a:lnTo>
                  <a:pt x="3291" y="2553"/>
                </a:lnTo>
                <a:lnTo>
                  <a:pt x="3306" y="2551"/>
                </a:lnTo>
                <a:lnTo>
                  <a:pt x="3321" y="2551"/>
                </a:lnTo>
                <a:lnTo>
                  <a:pt x="3335" y="2552"/>
                </a:lnTo>
                <a:lnTo>
                  <a:pt x="3350" y="2554"/>
                </a:lnTo>
                <a:lnTo>
                  <a:pt x="3365" y="2558"/>
                </a:lnTo>
                <a:lnTo>
                  <a:pt x="3378" y="2563"/>
                </a:lnTo>
                <a:lnTo>
                  <a:pt x="3391" y="2570"/>
                </a:lnTo>
                <a:lnTo>
                  <a:pt x="3404" y="2578"/>
                </a:lnTo>
                <a:lnTo>
                  <a:pt x="3416" y="2587"/>
                </a:lnTo>
                <a:lnTo>
                  <a:pt x="3428" y="2598"/>
                </a:lnTo>
                <a:lnTo>
                  <a:pt x="3438" y="2610"/>
                </a:lnTo>
                <a:lnTo>
                  <a:pt x="5440" y="5171"/>
                </a:lnTo>
                <a:close/>
                <a:moveTo>
                  <a:pt x="14158" y="8441"/>
                </a:moveTo>
                <a:lnTo>
                  <a:pt x="14155" y="8326"/>
                </a:lnTo>
                <a:lnTo>
                  <a:pt x="14147" y="8213"/>
                </a:lnTo>
                <a:lnTo>
                  <a:pt x="14133" y="8102"/>
                </a:lnTo>
                <a:lnTo>
                  <a:pt x="14114" y="7992"/>
                </a:lnTo>
                <a:lnTo>
                  <a:pt x="14088" y="7885"/>
                </a:lnTo>
                <a:lnTo>
                  <a:pt x="14059" y="7780"/>
                </a:lnTo>
                <a:lnTo>
                  <a:pt x="14023" y="7676"/>
                </a:lnTo>
                <a:lnTo>
                  <a:pt x="13984" y="7575"/>
                </a:lnTo>
                <a:lnTo>
                  <a:pt x="13939" y="7476"/>
                </a:lnTo>
                <a:lnTo>
                  <a:pt x="13890" y="7381"/>
                </a:lnTo>
                <a:lnTo>
                  <a:pt x="13837" y="7287"/>
                </a:lnTo>
                <a:lnTo>
                  <a:pt x="13779" y="7198"/>
                </a:lnTo>
                <a:lnTo>
                  <a:pt x="13717" y="7110"/>
                </a:lnTo>
                <a:lnTo>
                  <a:pt x="13651" y="7026"/>
                </a:lnTo>
                <a:lnTo>
                  <a:pt x="13581" y="6946"/>
                </a:lnTo>
                <a:lnTo>
                  <a:pt x="13508" y="6868"/>
                </a:lnTo>
                <a:lnTo>
                  <a:pt x="13431" y="6795"/>
                </a:lnTo>
                <a:lnTo>
                  <a:pt x="13350" y="6725"/>
                </a:lnTo>
                <a:lnTo>
                  <a:pt x="13266" y="6659"/>
                </a:lnTo>
                <a:lnTo>
                  <a:pt x="13179" y="6597"/>
                </a:lnTo>
                <a:lnTo>
                  <a:pt x="13089" y="6539"/>
                </a:lnTo>
                <a:lnTo>
                  <a:pt x="12996" y="6486"/>
                </a:lnTo>
                <a:lnTo>
                  <a:pt x="12901" y="6436"/>
                </a:lnTo>
                <a:lnTo>
                  <a:pt x="12802" y="6392"/>
                </a:lnTo>
                <a:lnTo>
                  <a:pt x="12701" y="6352"/>
                </a:lnTo>
                <a:lnTo>
                  <a:pt x="12598" y="6317"/>
                </a:lnTo>
                <a:lnTo>
                  <a:pt x="12492" y="6288"/>
                </a:lnTo>
                <a:lnTo>
                  <a:pt x="12385" y="6262"/>
                </a:lnTo>
                <a:lnTo>
                  <a:pt x="12276" y="6243"/>
                </a:lnTo>
                <a:lnTo>
                  <a:pt x="12164" y="6229"/>
                </a:lnTo>
                <a:lnTo>
                  <a:pt x="12051" y="6220"/>
                </a:lnTo>
                <a:lnTo>
                  <a:pt x="11938" y="6217"/>
                </a:lnTo>
                <a:lnTo>
                  <a:pt x="11823" y="6220"/>
                </a:lnTo>
                <a:lnTo>
                  <a:pt x="11710" y="6229"/>
                </a:lnTo>
                <a:lnTo>
                  <a:pt x="11599" y="6243"/>
                </a:lnTo>
                <a:lnTo>
                  <a:pt x="11490" y="6262"/>
                </a:lnTo>
                <a:lnTo>
                  <a:pt x="11383" y="6288"/>
                </a:lnTo>
                <a:lnTo>
                  <a:pt x="11277" y="6317"/>
                </a:lnTo>
                <a:lnTo>
                  <a:pt x="11174" y="6352"/>
                </a:lnTo>
                <a:lnTo>
                  <a:pt x="11073" y="6392"/>
                </a:lnTo>
                <a:lnTo>
                  <a:pt x="10974" y="6436"/>
                </a:lnTo>
                <a:lnTo>
                  <a:pt x="10879" y="6486"/>
                </a:lnTo>
                <a:lnTo>
                  <a:pt x="10786" y="6539"/>
                </a:lnTo>
                <a:lnTo>
                  <a:pt x="10696" y="6597"/>
                </a:lnTo>
                <a:lnTo>
                  <a:pt x="10609" y="6659"/>
                </a:lnTo>
                <a:lnTo>
                  <a:pt x="10524" y="6725"/>
                </a:lnTo>
                <a:lnTo>
                  <a:pt x="10444" y="6795"/>
                </a:lnTo>
                <a:lnTo>
                  <a:pt x="10367" y="6868"/>
                </a:lnTo>
                <a:lnTo>
                  <a:pt x="10294" y="6946"/>
                </a:lnTo>
                <a:lnTo>
                  <a:pt x="10224" y="7026"/>
                </a:lnTo>
                <a:lnTo>
                  <a:pt x="10158" y="7110"/>
                </a:lnTo>
                <a:lnTo>
                  <a:pt x="10096" y="7198"/>
                </a:lnTo>
                <a:lnTo>
                  <a:pt x="10038" y="7287"/>
                </a:lnTo>
                <a:lnTo>
                  <a:pt x="9985" y="7381"/>
                </a:lnTo>
                <a:lnTo>
                  <a:pt x="9935" y="7476"/>
                </a:lnTo>
                <a:lnTo>
                  <a:pt x="9892" y="7575"/>
                </a:lnTo>
                <a:lnTo>
                  <a:pt x="9851" y="7676"/>
                </a:lnTo>
                <a:lnTo>
                  <a:pt x="9816" y="7780"/>
                </a:lnTo>
                <a:lnTo>
                  <a:pt x="9787" y="7885"/>
                </a:lnTo>
                <a:lnTo>
                  <a:pt x="9762" y="7992"/>
                </a:lnTo>
                <a:lnTo>
                  <a:pt x="9742" y="8102"/>
                </a:lnTo>
                <a:lnTo>
                  <a:pt x="9728" y="8213"/>
                </a:lnTo>
                <a:lnTo>
                  <a:pt x="9720" y="8326"/>
                </a:lnTo>
                <a:lnTo>
                  <a:pt x="9717" y="8441"/>
                </a:lnTo>
                <a:lnTo>
                  <a:pt x="9720" y="8555"/>
                </a:lnTo>
                <a:lnTo>
                  <a:pt x="9728" y="8667"/>
                </a:lnTo>
                <a:lnTo>
                  <a:pt x="9742" y="8779"/>
                </a:lnTo>
                <a:lnTo>
                  <a:pt x="9762" y="8888"/>
                </a:lnTo>
                <a:lnTo>
                  <a:pt x="9787" y="8996"/>
                </a:lnTo>
                <a:lnTo>
                  <a:pt x="9816" y="9102"/>
                </a:lnTo>
                <a:lnTo>
                  <a:pt x="9851" y="9206"/>
                </a:lnTo>
                <a:lnTo>
                  <a:pt x="9892" y="9306"/>
                </a:lnTo>
                <a:lnTo>
                  <a:pt x="9935" y="9405"/>
                </a:lnTo>
                <a:lnTo>
                  <a:pt x="9985" y="9500"/>
                </a:lnTo>
                <a:lnTo>
                  <a:pt x="10038" y="9593"/>
                </a:lnTo>
                <a:lnTo>
                  <a:pt x="10096" y="9684"/>
                </a:lnTo>
                <a:lnTo>
                  <a:pt x="10158" y="9771"/>
                </a:lnTo>
                <a:lnTo>
                  <a:pt x="10224" y="9854"/>
                </a:lnTo>
                <a:lnTo>
                  <a:pt x="10294" y="9936"/>
                </a:lnTo>
                <a:lnTo>
                  <a:pt x="10367" y="10013"/>
                </a:lnTo>
                <a:lnTo>
                  <a:pt x="10444" y="10086"/>
                </a:lnTo>
                <a:lnTo>
                  <a:pt x="10524" y="10156"/>
                </a:lnTo>
                <a:lnTo>
                  <a:pt x="10609" y="10223"/>
                </a:lnTo>
                <a:lnTo>
                  <a:pt x="10696" y="10285"/>
                </a:lnTo>
                <a:lnTo>
                  <a:pt x="10786" y="10343"/>
                </a:lnTo>
                <a:lnTo>
                  <a:pt x="10879" y="10395"/>
                </a:lnTo>
                <a:lnTo>
                  <a:pt x="10974" y="10444"/>
                </a:lnTo>
                <a:lnTo>
                  <a:pt x="11073" y="10489"/>
                </a:lnTo>
                <a:lnTo>
                  <a:pt x="11174" y="10529"/>
                </a:lnTo>
                <a:lnTo>
                  <a:pt x="11277" y="10564"/>
                </a:lnTo>
                <a:lnTo>
                  <a:pt x="11383" y="10594"/>
                </a:lnTo>
                <a:lnTo>
                  <a:pt x="11490" y="10619"/>
                </a:lnTo>
                <a:lnTo>
                  <a:pt x="11599" y="10639"/>
                </a:lnTo>
                <a:lnTo>
                  <a:pt x="11710" y="10653"/>
                </a:lnTo>
                <a:lnTo>
                  <a:pt x="11823" y="10661"/>
                </a:lnTo>
                <a:lnTo>
                  <a:pt x="11938" y="10664"/>
                </a:lnTo>
                <a:lnTo>
                  <a:pt x="12051" y="10661"/>
                </a:lnTo>
                <a:lnTo>
                  <a:pt x="12164" y="10653"/>
                </a:lnTo>
                <a:lnTo>
                  <a:pt x="12276" y="10639"/>
                </a:lnTo>
                <a:lnTo>
                  <a:pt x="12385" y="10619"/>
                </a:lnTo>
                <a:lnTo>
                  <a:pt x="12492" y="10594"/>
                </a:lnTo>
                <a:lnTo>
                  <a:pt x="12598" y="10564"/>
                </a:lnTo>
                <a:lnTo>
                  <a:pt x="12701" y="10529"/>
                </a:lnTo>
                <a:lnTo>
                  <a:pt x="12802" y="10489"/>
                </a:lnTo>
                <a:lnTo>
                  <a:pt x="12901" y="10444"/>
                </a:lnTo>
                <a:lnTo>
                  <a:pt x="12996" y="10395"/>
                </a:lnTo>
                <a:lnTo>
                  <a:pt x="13089" y="10343"/>
                </a:lnTo>
                <a:lnTo>
                  <a:pt x="13179" y="10285"/>
                </a:lnTo>
                <a:lnTo>
                  <a:pt x="13266" y="10223"/>
                </a:lnTo>
                <a:lnTo>
                  <a:pt x="13350" y="10156"/>
                </a:lnTo>
                <a:lnTo>
                  <a:pt x="13431" y="10086"/>
                </a:lnTo>
                <a:lnTo>
                  <a:pt x="13508" y="10013"/>
                </a:lnTo>
                <a:lnTo>
                  <a:pt x="13581" y="9936"/>
                </a:lnTo>
                <a:lnTo>
                  <a:pt x="13651" y="9854"/>
                </a:lnTo>
                <a:lnTo>
                  <a:pt x="13717" y="9771"/>
                </a:lnTo>
                <a:lnTo>
                  <a:pt x="13779" y="9684"/>
                </a:lnTo>
                <a:lnTo>
                  <a:pt x="13837" y="9593"/>
                </a:lnTo>
                <a:lnTo>
                  <a:pt x="13890" y="9500"/>
                </a:lnTo>
                <a:lnTo>
                  <a:pt x="13939" y="9405"/>
                </a:lnTo>
                <a:lnTo>
                  <a:pt x="13984" y="9306"/>
                </a:lnTo>
                <a:lnTo>
                  <a:pt x="14023" y="9206"/>
                </a:lnTo>
                <a:lnTo>
                  <a:pt x="14059" y="9102"/>
                </a:lnTo>
                <a:lnTo>
                  <a:pt x="14088" y="8996"/>
                </a:lnTo>
                <a:lnTo>
                  <a:pt x="14114" y="8888"/>
                </a:lnTo>
                <a:lnTo>
                  <a:pt x="14133" y="8779"/>
                </a:lnTo>
                <a:lnTo>
                  <a:pt x="14147" y="8667"/>
                </a:lnTo>
                <a:lnTo>
                  <a:pt x="14155" y="8555"/>
                </a:lnTo>
                <a:lnTo>
                  <a:pt x="14158" y="8441"/>
                </a:lnTo>
                <a:close/>
                <a:moveTo>
                  <a:pt x="11938" y="7366"/>
                </a:moveTo>
                <a:lnTo>
                  <a:pt x="11992" y="7367"/>
                </a:lnTo>
                <a:lnTo>
                  <a:pt x="12047" y="7372"/>
                </a:lnTo>
                <a:lnTo>
                  <a:pt x="12101" y="7378"/>
                </a:lnTo>
                <a:lnTo>
                  <a:pt x="12154" y="7388"/>
                </a:lnTo>
                <a:lnTo>
                  <a:pt x="12206" y="7399"/>
                </a:lnTo>
                <a:lnTo>
                  <a:pt x="12257" y="7414"/>
                </a:lnTo>
                <a:lnTo>
                  <a:pt x="12306" y="7431"/>
                </a:lnTo>
                <a:lnTo>
                  <a:pt x="12355" y="7450"/>
                </a:lnTo>
                <a:lnTo>
                  <a:pt x="12403" y="7471"/>
                </a:lnTo>
                <a:lnTo>
                  <a:pt x="12450" y="7496"/>
                </a:lnTo>
                <a:lnTo>
                  <a:pt x="12494" y="7521"/>
                </a:lnTo>
                <a:lnTo>
                  <a:pt x="12538" y="7550"/>
                </a:lnTo>
                <a:lnTo>
                  <a:pt x="12580" y="7579"/>
                </a:lnTo>
                <a:lnTo>
                  <a:pt x="12620" y="7611"/>
                </a:lnTo>
                <a:lnTo>
                  <a:pt x="12659" y="7645"/>
                </a:lnTo>
                <a:lnTo>
                  <a:pt x="12696" y="7681"/>
                </a:lnTo>
                <a:lnTo>
                  <a:pt x="12732" y="7718"/>
                </a:lnTo>
                <a:lnTo>
                  <a:pt x="12765" y="7757"/>
                </a:lnTo>
                <a:lnTo>
                  <a:pt x="12798" y="7798"/>
                </a:lnTo>
                <a:lnTo>
                  <a:pt x="12827" y="7840"/>
                </a:lnTo>
                <a:lnTo>
                  <a:pt x="12856" y="7883"/>
                </a:lnTo>
                <a:lnTo>
                  <a:pt x="12881" y="7928"/>
                </a:lnTo>
                <a:lnTo>
                  <a:pt x="12906" y="7975"/>
                </a:lnTo>
                <a:lnTo>
                  <a:pt x="12927" y="8023"/>
                </a:lnTo>
                <a:lnTo>
                  <a:pt x="12946" y="8071"/>
                </a:lnTo>
                <a:lnTo>
                  <a:pt x="12963" y="8121"/>
                </a:lnTo>
                <a:lnTo>
                  <a:pt x="12977" y="8172"/>
                </a:lnTo>
                <a:lnTo>
                  <a:pt x="12989" y="8224"/>
                </a:lnTo>
                <a:lnTo>
                  <a:pt x="12999" y="8277"/>
                </a:lnTo>
                <a:lnTo>
                  <a:pt x="13005" y="8331"/>
                </a:lnTo>
                <a:lnTo>
                  <a:pt x="13009" y="8386"/>
                </a:lnTo>
                <a:lnTo>
                  <a:pt x="13011" y="8441"/>
                </a:lnTo>
                <a:lnTo>
                  <a:pt x="13009" y="8496"/>
                </a:lnTo>
                <a:lnTo>
                  <a:pt x="13005" y="8551"/>
                </a:lnTo>
                <a:lnTo>
                  <a:pt x="12999" y="8604"/>
                </a:lnTo>
                <a:lnTo>
                  <a:pt x="12989" y="8657"/>
                </a:lnTo>
                <a:lnTo>
                  <a:pt x="12977" y="8709"/>
                </a:lnTo>
                <a:lnTo>
                  <a:pt x="12963" y="8760"/>
                </a:lnTo>
                <a:lnTo>
                  <a:pt x="12946" y="8810"/>
                </a:lnTo>
                <a:lnTo>
                  <a:pt x="12927" y="8859"/>
                </a:lnTo>
                <a:lnTo>
                  <a:pt x="12906" y="8906"/>
                </a:lnTo>
                <a:lnTo>
                  <a:pt x="12881" y="8953"/>
                </a:lnTo>
                <a:lnTo>
                  <a:pt x="12856" y="8998"/>
                </a:lnTo>
                <a:lnTo>
                  <a:pt x="12827" y="9042"/>
                </a:lnTo>
                <a:lnTo>
                  <a:pt x="12798" y="9083"/>
                </a:lnTo>
                <a:lnTo>
                  <a:pt x="12765" y="9124"/>
                </a:lnTo>
                <a:lnTo>
                  <a:pt x="12732" y="9163"/>
                </a:lnTo>
                <a:lnTo>
                  <a:pt x="12696" y="9200"/>
                </a:lnTo>
                <a:lnTo>
                  <a:pt x="12659" y="9236"/>
                </a:lnTo>
                <a:lnTo>
                  <a:pt x="12620" y="9270"/>
                </a:lnTo>
                <a:lnTo>
                  <a:pt x="12580" y="9302"/>
                </a:lnTo>
                <a:lnTo>
                  <a:pt x="12538" y="9332"/>
                </a:lnTo>
                <a:lnTo>
                  <a:pt x="12494" y="9360"/>
                </a:lnTo>
                <a:lnTo>
                  <a:pt x="12450" y="9386"/>
                </a:lnTo>
                <a:lnTo>
                  <a:pt x="12403" y="9410"/>
                </a:lnTo>
                <a:lnTo>
                  <a:pt x="12355" y="9431"/>
                </a:lnTo>
                <a:lnTo>
                  <a:pt x="12306" y="9451"/>
                </a:lnTo>
                <a:lnTo>
                  <a:pt x="12257" y="9467"/>
                </a:lnTo>
                <a:lnTo>
                  <a:pt x="12206" y="9481"/>
                </a:lnTo>
                <a:lnTo>
                  <a:pt x="12154" y="9493"/>
                </a:lnTo>
                <a:lnTo>
                  <a:pt x="12101" y="9504"/>
                </a:lnTo>
                <a:lnTo>
                  <a:pt x="12047" y="9510"/>
                </a:lnTo>
                <a:lnTo>
                  <a:pt x="11992" y="9514"/>
                </a:lnTo>
                <a:lnTo>
                  <a:pt x="11938" y="9516"/>
                </a:lnTo>
                <a:lnTo>
                  <a:pt x="11883" y="9514"/>
                </a:lnTo>
                <a:lnTo>
                  <a:pt x="11828" y="9510"/>
                </a:lnTo>
                <a:lnTo>
                  <a:pt x="11774" y="9504"/>
                </a:lnTo>
                <a:lnTo>
                  <a:pt x="11721" y="9493"/>
                </a:lnTo>
                <a:lnTo>
                  <a:pt x="11669" y="9481"/>
                </a:lnTo>
                <a:lnTo>
                  <a:pt x="11619" y="9467"/>
                </a:lnTo>
                <a:lnTo>
                  <a:pt x="11569" y="9451"/>
                </a:lnTo>
                <a:lnTo>
                  <a:pt x="11520" y="9431"/>
                </a:lnTo>
                <a:lnTo>
                  <a:pt x="11472" y="9410"/>
                </a:lnTo>
                <a:lnTo>
                  <a:pt x="11426" y="9386"/>
                </a:lnTo>
                <a:lnTo>
                  <a:pt x="11381" y="9360"/>
                </a:lnTo>
                <a:lnTo>
                  <a:pt x="11337" y="9332"/>
                </a:lnTo>
                <a:lnTo>
                  <a:pt x="11296" y="9302"/>
                </a:lnTo>
                <a:lnTo>
                  <a:pt x="11255" y="9270"/>
                </a:lnTo>
                <a:lnTo>
                  <a:pt x="11215" y="9236"/>
                </a:lnTo>
                <a:lnTo>
                  <a:pt x="11179" y="9200"/>
                </a:lnTo>
                <a:lnTo>
                  <a:pt x="11143" y="9163"/>
                </a:lnTo>
                <a:lnTo>
                  <a:pt x="11109" y="9124"/>
                </a:lnTo>
                <a:lnTo>
                  <a:pt x="11077" y="9083"/>
                </a:lnTo>
                <a:lnTo>
                  <a:pt x="11048" y="9042"/>
                </a:lnTo>
                <a:lnTo>
                  <a:pt x="11019" y="8998"/>
                </a:lnTo>
                <a:lnTo>
                  <a:pt x="10994" y="8953"/>
                </a:lnTo>
                <a:lnTo>
                  <a:pt x="10969" y="8906"/>
                </a:lnTo>
                <a:lnTo>
                  <a:pt x="10948" y="8859"/>
                </a:lnTo>
                <a:lnTo>
                  <a:pt x="10929" y="8810"/>
                </a:lnTo>
                <a:lnTo>
                  <a:pt x="10913" y="8760"/>
                </a:lnTo>
                <a:lnTo>
                  <a:pt x="10897" y="8709"/>
                </a:lnTo>
                <a:lnTo>
                  <a:pt x="10886" y="8657"/>
                </a:lnTo>
                <a:lnTo>
                  <a:pt x="10876" y="8604"/>
                </a:lnTo>
                <a:lnTo>
                  <a:pt x="10870" y="8551"/>
                </a:lnTo>
                <a:lnTo>
                  <a:pt x="10865" y="8496"/>
                </a:lnTo>
                <a:lnTo>
                  <a:pt x="10864" y="8441"/>
                </a:lnTo>
                <a:lnTo>
                  <a:pt x="10865" y="8386"/>
                </a:lnTo>
                <a:lnTo>
                  <a:pt x="10870" y="8331"/>
                </a:lnTo>
                <a:lnTo>
                  <a:pt x="10876" y="8277"/>
                </a:lnTo>
                <a:lnTo>
                  <a:pt x="10886" y="8224"/>
                </a:lnTo>
                <a:lnTo>
                  <a:pt x="10897" y="8172"/>
                </a:lnTo>
                <a:lnTo>
                  <a:pt x="10913" y="8121"/>
                </a:lnTo>
                <a:lnTo>
                  <a:pt x="10929" y="8071"/>
                </a:lnTo>
                <a:lnTo>
                  <a:pt x="10948" y="8023"/>
                </a:lnTo>
                <a:lnTo>
                  <a:pt x="10969" y="7975"/>
                </a:lnTo>
                <a:lnTo>
                  <a:pt x="10994" y="7928"/>
                </a:lnTo>
                <a:lnTo>
                  <a:pt x="11019" y="7883"/>
                </a:lnTo>
                <a:lnTo>
                  <a:pt x="11048" y="7840"/>
                </a:lnTo>
                <a:lnTo>
                  <a:pt x="11077" y="7798"/>
                </a:lnTo>
                <a:lnTo>
                  <a:pt x="11109" y="7757"/>
                </a:lnTo>
                <a:lnTo>
                  <a:pt x="11143" y="7718"/>
                </a:lnTo>
                <a:lnTo>
                  <a:pt x="11179" y="7681"/>
                </a:lnTo>
                <a:lnTo>
                  <a:pt x="11215" y="7645"/>
                </a:lnTo>
                <a:lnTo>
                  <a:pt x="11255" y="7611"/>
                </a:lnTo>
                <a:lnTo>
                  <a:pt x="11296" y="7579"/>
                </a:lnTo>
                <a:lnTo>
                  <a:pt x="11337" y="7550"/>
                </a:lnTo>
                <a:lnTo>
                  <a:pt x="11381" y="7521"/>
                </a:lnTo>
                <a:lnTo>
                  <a:pt x="11426" y="7496"/>
                </a:lnTo>
                <a:lnTo>
                  <a:pt x="11472" y="7471"/>
                </a:lnTo>
                <a:lnTo>
                  <a:pt x="11520" y="7450"/>
                </a:lnTo>
                <a:lnTo>
                  <a:pt x="11569" y="7431"/>
                </a:lnTo>
                <a:lnTo>
                  <a:pt x="11619" y="7414"/>
                </a:lnTo>
                <a:lnTo>
                  <a:pt x="11669" y="7399"/>
                </a:lnTo>
                <a:lnTo>
                  <a:pt x="11721" y="7388"/>
                </a:lnTo>
                <a:lnTo>
                  <a:pt x="11774" y="7378"/>
                </a:lnTo>
                <a:lnTo>
                  <a:pt x="11828" y="7372"/>
                </a:lnTo>
                <a:lnTo>
                  <a:pt x="11883" y="7367"/>
                </a:lnTo>
                <a:lnTo>
                  <a:pt x="11938" y="7366"/>
                </a:lnTo>
                <a:close/>
                <a:moveTo>
                  <a:pt x="4944" y="7366"/>
                </a:moveTo>
                <a:lnTo>
                  <a:pt x="4999" y="7367"/>
                </a:lnTo>
                <a:lnTo>
                  <a:pt x="5054" y="7372"/>
                </a:lnTo>
                <a:lnTo>
                  <a:pt x="5108" y="7378"/>
                </a:lnTo>
                <a:lnTo>
                  <a:pt x="5161" y="7388"/>
                </a:lnTo>
                <a:lnTo>
                  <a:pt x="5212" y="7399"/>
                </a:lnTo>
                <a:lnTo>
                  <a:pt x="5263" y="7414"/>
                </a:lnTo>
                <a:lnTo>
                  <a:pt x="5313" y="7431"/>
                </a:lnTo>
                <a:lnTo>
                  <a:pt x="5362" y="7450"/>
                </a:lnTo>
                <a:lnTo>
                  <a:pt x="5410" y="7471"/>
                </a:lnTo>
                <a:lnTo>
                  <a:pt x="5456" y="7496"/>
                </a:lnTo>
                <a:lnTo>
                  <a:pt x="5501" y="7521"/>
                </a:lnTo>
                <a:lnTo>
                  <a:pt x="5545" y="7550"/>
                </a:lnTo>
                <a:lnTo>
                  <a:pt x="5586" y="7579"/>
                </a:lnTo>
                <a:lnTo>
                  <a:pt x="5627" y="7611"/>
                </a:lnTo>
                <a:lnTo>
                  <a:pt x="5667" y="7645"/>
                </a:lnTo>
                <a:lnTo>
                  <a:pt x="5703" y="7681"/>
                </a:lnTo>
                <a:lnTo>
                  <a:pt x="5739" y="7718"/>
                </a:lnTo>
                <a:lnTo>
                  <a:pt x="5773" y="7757"/>
                </a:lnTo>
                <a:lnTo>
                  <a:pt x="5805" y="7798"/>
                </a:lnTo>
                <a:lnTo>
                  <a:pt x="5834" y="7840"/>
                </a:lnTo>
                <a:lnTo>
                  <a:pt x="5863" y="7883"/>
                </a:lnTo>
                <a:lnTo>
                  <a:pt x="5888" y="7928"/>
                </a:lnTo>
                <a:lnTo>
                  <a:pt x="5912" y="7975"/>
                </a:lnTo>
                <a:lnTo>
                  <a:pt x="5934" y="8023"/>
                </a:lnTo>
                <a:lnTo>
                  <a:pt x="5953" y="8071"/>
                </a:lnTo>
                <a:lnTo>
                  <a:pt x="5969" y="8121"/>
                </a:lnTo>
                <a:lnTo>
                  <a:pt x="5985" y="8172"/>
                </a:lnTo>
                <a:lnTo>
                  <a:pt x="5996" y="8224"/>
                </a:lnTo>
                <a:lnTo>
                  <a:pt x="6006" y="8277"/>
                </a:lnTo>
                <a:lnTo>
                  <a:pt x="6012" y="8331"/>
                </a:lnTo>
                <a:lnTo>
                  <a:pt x="6017" y="8386"/>
                </a:lnTo>
                <a:lnTo>
                  <a:pt x="6018" y="8441"/>
                </a:lnTo>
                <a:lnTo>
                  <a:pt x="6017" y="8496"/>
                </a:lnTo>
                <a:lnTo>
                  <a:pt x="6012" y="8551"/>
                </a:lnTo>
                <a:lnTo>
                  <a:pt x="6006" y="8604"/>
                </a:lnTo>
                <a:lnTo>
                  <a:pt x="5996" y="8657"/>
                </a:lnTo>
                <a:lnTo>
                  <a:pt x="5985" y="8709"/>
                </a:lnTo>
                <a:lnTo>
                  <a:pt x="5969" y="8760"/>
                </a:lnTo>
                <a:lnTo>
                  <a:pt x="5953" y="8810"/>
                </a:lnTo>
                <a:lnTo>
                  <a:pt x="5934" y="8859"/>
                </a:lnTo>
                <a:lnTo>
                  <a:pt x="5912" y="8906"/>
                </a:lnTo>
                <a:lnTo>
                  <a:pt x="5888" y="8953"/>
                </a:lnTo>
                <a:lnTo>
                  <a:pt x="5863" y="8998"/>
                </a:lnTo>
                <a:lnTo>
                  <a:pt x="5834" y="9042"/>
                </a:lnTo>
                <a:lnTo>
                  <a:pt x="5805" y="9083"/>
                </a:lnTo>
                <a:lnTo>
                  <a:pt x="5773" y="9124"/>
                </a:lnTo>
                <a:lnTo>
                  <a:pt x="5739" y="9163"/>
                </a:lnTo>
                <a:lnTo>
                  <a:pt x="5703" y="9200"/>
                </a:lnTo>
                <a:lnTo>
                  <a:pt x="5667" y="9236"/>
                </a:lnTo>
                <a:lnTo>
                  <a:pt x="5627" y="9270"/>
                </a:lnTo>
                <a:lnTo>
                  <a:pt x="5586" y="9302"/>
                </a:lnTo>
                <a:lnTo>
                  <a:pt x="5545" y="9332"/>
                </a:lnTo>
                <a:lnTo>
                  <a:pt x="5501" y="9360"/>
                </a:lnTo>
                <a:lnTo>
                  <a:pt x="5456" y="9386"/>
                </a:lnTo>
                <a:lnTo>
                  <a:pt x="5410" y="9410"/>
                </a:lnTo>
                <a:lnTo>
                  <a:pt x="5362" y="9431"/>
                </a:lnTo>
                <a:lnTo>
                  <a:pt x="5313" y="9451"/>
                </a:lnTo>
                <a:lnTo>
                  <a:pt x="5263" y="9467"/>
                </a:lnTo>
                <a:lnTo>
                  <a:pt x="5212" y="9481"/>
                </a:lnTo>
                <a:lnTo>
                  <a:pt x="5161" y="9493"/>
                </a:lnTo>
                <a:lnTo>
                  <a:pt x="5108" y="9504"/>
                </a:lnTo>
                <a:lnTo>
                  <a:pt x="5054" y="9510"/>
                </a:lnTo>
                <a:lnTo>
                  <a:pt x="4999" y="9514"/>
                </a:lnTo>
                <a:lnTo>
                  <a:pt x="4944" y="9516"/>
                </a:lnTo>
                <a:lnTo>
                  <a:pt x="4889" y="9514"/>
                </a:lnTo>
                <a:lnTo>
                  <a:pt x="4835" y="9510"/>
                </a:lnTo>
                <a:lnTo>
                  <a:pt x="4781" y="9504"/>
                </a:lnTo>
                <a:lnTo>
                  <a:pt x="4728" y="9493"/>
                </a:lnTo>
                <a:lnTo>
                  <a:pt x="4676" y="9481"/>
                </a:lnTo>
                <a:lnTo>
                  <a:pt x="4625" y="9467"/>
                </a:lnTo>
                <a:lnTo>
                  <a:pt x="4576" y="9451"/>
                </a:lnTo>
                <a:lnTo>
                  <a:pt x="4527" y="9431"/>
                </a:lnTo>
                <a:lnTo>
                  <a:pt x="4479" y="9410"/>
                </a:lnTo>
                <a:lnTo>
                  <a:pt x="4432" y="9386"/>
                </a:lnTo>
                <a:lnTo>
                  <a:pt x="4388" y="9360"/>
                </a:lnTo>
                <a:lnTo>
                  <a:pt x="4344" y="9332"/>
                </a:lnTo>
                <a:lnTo>
                  <a:pt x="4302" y="9302"/>
                </a:lnTo>
                <a:lnTo>
                  <a:pt x="4262" y="9270"/>
                </a:lnTo>
                <a:lnTo>
                  <a:pt x="4223" y="9236"/>
                </a:lnTo>
                <a:lnTo>
                  <a:pt x="4185" y="9200"/>
                </a:lnTo>
                <a:lnTo>
                  <a:pt x="4150" y="9163"/>
                </a:lnTo>
                <a:lnTo>
                  <a:pt x="4116" y="9124"/>
                </a:lnTo>
                <a:lnTo>
                  <a:pt x="4084" y="9083"/>
                </a:lnTo>
                <a:lnTo>
                  <a:pt x="4054" y="9042"/>
                </a:lnTo>
                <a:lnTo>
                  <a:pt x="4026" y="8998"/>
                </a:lnTo>
                <a:lnTo>
                  <a:pt x="4001" y="8953"/>
                </a:lnTo>
                <a:lnTo>
                  <a:pt x="3976" y="8906"/>
                </a:lnTo>
                <a:lnTo>
                  <a:pt x="3955" y="8859"/>
                </a:lnTo>
                <a:lnTo>
                  <a:pt x="3935" y="8810"/>
                </a:lnTo>
                <a:lnTo>
                  <a:pt x="3919" y="8760"/>
                </a:lnTo>
                <a:lnTo>
                  <a:pt x="3905" y="8709"/>
                </a:lnTo>
                <a:lnTo>
                  <a:pt x="3893" y="8657"/>
                </a:lnTo>
                <a:lnTo>
                  <a:pt x="3883" y="8604"/>
                </a:lnTo>
                <a:lnTo>
                  <a:pt x="3877" y="8551"/>
                </a:lnTo>
                <a:lnTo>
                  <a:pt x="3873" y="8496"/>
                </a:lnTo>
                <a:lnTo>
                  <a:pt x="3870" y="8441"/>
                </a:lnTo>
                <a:lnTo>
                  <a:pt x="3873" y="8386"/>
                </a:lnTo>
                <a:lnTo>
                  <a:pt x="3877" y="8331"/>
                </a:lnTo>
                <a:lnTo>
                  <a:pt x="3883" y="8277"/>
                </a:lnTo>
                <a:lnTo>
                  <a:pt x="3893" y="8224"/>
                </a:lnTo>
                <a:lnTo>
                  <a:pt x="3905" y="8172"/>
                </a:lnTo>
                <a:lnTo>
                  <a:pt x="3919" y="8121"/>
                </a:lnTo>
                <a:lnTo>
                  <a:pt x="3935" y="8071"/>
                </a:lnTo>
                <a:lnTo>
                  <a:pt x="3955" y="8023"/>
                </a:lnTo>
                <a:lnTo>
                  <a:pt x="3976" y="7975"/>
                </a:lnTo>
                <a:lnTo>
                  <a:pt x="4001" y="7928"/>
                </a:lnTo>
                <a:lnTo>
                  <a:pt x="4026" y="7883"/>
                </a:lnTo>
                <a:lnTo>
                  <a:pt x="4054" y="7840"/>
                </a:lnTo>
                <a:lnTo>
                  <a:pt x="4084" y="7798"/>
                </a:lnTo>
                <a:lnTo>
                  <a:pt x="4116" y="7757"/>
                </a:lnTo>
                <a:lnTo>
                  <a:pt x="4150" y="7718"/>
                </a:lnTo>
                <a:lnTo>
                  <a:pt x="4185" y="7681"/>
                </a:lnTo>
                <a:lnTo>
                  <a:pt x="4223" y="7645"/>
                </a:lnTo>
                <a:lnTo>
                  <a:pt x="4262" y="7611"/>
                </a:lnTo>
                <a:lnTo>
                  <a:pt x="4302" y="7579"/>
                </a:lnTo>
                <a:lnTo>
                  <a:pt x="4344" y="7550"/>
                </a:lnTo>
                <a:lnTo>
                  <a:pt x="4388" y="7521"/>
                </a:lnTo>
                <a:lnTo>
                  <a:pt x="4432" y="7496"/>
                </a:lnTo>
                <a:lnTo>
                  <a:pt x="4479" y="7471"/>
                </a:lnTo>
                <a:lnTo>
                  <a:pt x="4527" y="7450"/>
                </a:lnTo>
                <a:lnTo>
                  <a:pt x="4576" y="7431"/>
                </a:lnTo>
                <a:lnTo>
                  <a:pt x="4625" y="7414"/>
                </a:lnTo>
                <a:lnTo>
                  <a:pt x="4676" y="7399"/>
                </a:lnTo>
                <a:lnTo>
                  <a:pt x="4728" y="7388"/>
                </a:lnTo>
                <a:lnTo>
                  <a:pt x="4781" y="7378"/>
                </a:lnTo>
                <a:lnTo>
                  <a:pt x="4835" y="7372"/>
                </a:lnTo>
                <a:lnTo>
                  <a:pt x="4889" y="7367"/>
                </a:lnTo>
                <a:lnTo>
                  <a:pt x="4944" y="7366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asfal_uklad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6393308" y="1147752"/>
            <a:ext cx="709140" cy="362188"/>
          </a:xfrm>
          <a:custGeom>
            <a:avLst/>
            <a:gdLst>
              <a:gd name="T0" fmla="*/ 13411 w 16308"/>
              <a:gd name="T1" fmla="*/ 7039 h 8316"/>
              <a:gd name="T2" fmla="*/ 13665 w 16308"/>
              <a:gd name="T3" fmla="*/ 7155 h 8316"/>
              <a:gd name="T4" fmla="*/ 13785 w 16308"/>
              <a:gd name="T5" fmla="*/ 7396 h 8316"/>
              <a:gd name="T6" fmla="*/ 13716 w 16308"/>
              <a:gd name="T7" fmla="*/ 7659 h 8316"/>
              <a:gd name="T8" fmla="*/ 13493 w 16308"/>
              <a:gd name="T9" fmla="*/ 7818 h 8316"/>
              <a:gd name="T10" fmla="*/ 4884 w 16308"/>
              <a:gd name="T11" fmla="*/ 7811 h 8316"/>
              <a:gd name="T12" fmla="*/ 4670 w 16308"/>
              <a:gd name="T13" fmla="*/ 7643 h 8316"/>
              <a:gd name="T14" fmla="*/ 4614 w 16308"/>
              <a:gd name="T15" fmla="*/ 7376 h 8316"/>
              <a:gd name="T16" fmla="*/ 4747 w 16308"/>
              <a:gd name="T17" fmla="*/ 7141 h 8316"/>
              <a:gd name="T18" fmla="*/ 5007 w 16308"/>
              <a:gd name="T19" fmla="*/ 7037 h 8316"/>
              <a:gd name="T20" fmla="*/ 10429 w 16308"/>
              <a:gd name="T21" fmla="*/ 4834 h 8316"/>
              <a:gd name="T22" fmla="*/ 10381 w 16308"/>
              <a:gd name="T23" fmla="*/ 6385 h 8316"/>
              <a:gd name="T24" fmla="*/ 10198 w 16308"/>
              <a:gd name="T25" fmla="*/ 6330 h 8316"/>
              <a:gd name="T26" fmla="*/ 8899 w 16308"/>
              <a:gd name="T27" fmla="*/ 4790 h 8316"/>
              <a:gd name="T28" fmla="*/ 9076 w 16308"/>
              <a:gd name="T29" fmla="*/ 6330 h 8316"/>
              <a:gd name="T30" fmla="*/ 8893 w 16308"/>
              <a:gd name="T31" fmla="*/ 6385 h 8316"/>
              <a:gd name="T32" fmla="*/ 8845 w 16308"/>
              <a:gd name="T33" fmla="*/ 4834 h 8316"/>
              <a:gd name="T34" fmla="*/ 9484 w 16308"/>
              <a:gd name="T35" fmla="*/ 4791 h 8316"/>
              <a:gd name="T36" fmla="*/ 9526 w 16308"/>
              <a:gd name="T37" fmla="*/ 6346 h 8316"/>
              <a:gd name="T38" fmla="*/ 9329 w 16308"/>
              <a:gd name="T39" fmla="*/ 6381 h 8316"/>
              <a:gd name="T40" fmla="*/ 9305 w 16308"/>
              <a:gd name="T41" fmla="*/ 4814 h 8316"/>
              <a:gd name="T42" fmla="*/ 9955 w 16308"/>
              <a:gd name="T43" fmla="*/ 4799 h 8316"/>
              <a:gd name="T44" fmla="*/ 9963 w 16308"/>
              <a:gd name="T45" fmla="*/ 6368 h 8316"/>
              <a:gd name="T46" fmla="*/ 9755 w 16308"/>
              <a:gd name="T47" fmla="*/ 6360 h 8316"/>
              <a:gd name="T48" fmla="*/ 9780 w 16308"/>
              <a:gd name="T49" fmla="*/ 4794 h 8316"/>
              <a:gd name="T50" fmla="*/ 6106 w 16308"/>
              <a:gd name="T51" fmla="*/ 2812 h 8316"/>
              <a:gd name="T52" fmla="*/ 5757 w 16308"/>
              <a:gd name="T53" fmla="*/ 2398 h 8316"/>
              <a:gd name="T54" fmla="*/ 5663 w 16308"/>
              <a:gd name="T55" fmla="*/ 2239 h 8316"/>
              <a:gd name="T56" fmla="*/ 5690 w 16308"/>
              <a:gd name="T57" fmla="*/ 2053 h 8316"/>
              <a:gd name="T58" fmla="*/ 5829 w 16308"/>
              <a:gd name="T59" fmla="*/ 1927 h 8316"/>
              <a:gd name="T60" fmla="*/ 6015 w 16308"/>
              <a:gd name="T61" fmla="*/ 1918 h 8316"/>
              <a:gd name="T62" fmla="*/ 6167 w 16308"/>
              <a:gd name="T63" fmla="*/ 2031 h 8316"/>
              <a:gd name="T64" fmla="*/ 6212 w 16308"/>
              <a:gd name="T65" fmla="*/ 2211 h 8316"/>
              <a:gd name="T66" fmla="*/ 6108 w 16308"/>
              <a:gd name="T67" fmla="*/ 2401 h 8316"/>
              <a:gd name="T68" fmla="*/ 9149 w 16308"/>
              <a:gd name="T69" fmla="*/ 1668 h 8316"/>
              <a:gd name="T70" fmla="*/ 9288 w 16308"/>
              <a:gd name="T71" fmla="*/ 79 h 8316"/>
              <a:gd name="T72" fmla="*/ 9493 w 16308"/>
              <a:gd name="T73" fmla="*/ 54 h 8316"/>
              <a:gd name="T74" fmla="*/ 9596 w 16308"/>
              <a:gd name="T75" fmla="*/ 1634 h 8316"/>
              <a:gd name="T76" fmla="*/ 9693 w 16308"/>
              <a:gd name="T77" fmla="*/ 3859 h 8316"/>
              <a:gd name="T78" fmla="*/ 16308 w 16308"/>
              <a:gd name="T79" fmla="*/ 7828 h 8316"/>
              <a:gd name="T80" fmla="*/ 13925 w 16308"/>
              <a:gd name="T81" fmla="*/ 8153 h 8316"/>
              <a:gd name="T82" fmla="*/ 13607 w 16308"/>
              <a:gd name="T83" fmla="*/ 8292 h 8316"/>
              <a:gd name="T84" fmla="*/ 4711 w 16308"/>
              <a:gd name="T85" fmla="*/ 8270 h 8316"/>
              <a:gd name="T86" fmla="*/ 4246 w 16308"/>
              <a:gd name="T87" fmla="*/ 7924 h 8316"/>
              <a:gd name="T88" fmla="*/ 4097 w 16308"/>
              <a:gd name="T89" fmla="*/ 7423 h 8316"/>
              <a:gd name="T90" fmla="*/ 2318 w 16308"/>
              <a:gd name="T91" fmla="*/ 8316 h 8316"/>
              <a:gd name="T92" fmla="*/ 138 w 16308"/>
              <a:gd name="T93" fmla="*/ 6880 h 8316"/>
              <a:gd name="T94" fmla="*/ 218 w 16308"/>
              <a:gd name="T95" fmla="*/ 6298 h 8316"/>
              <a:gd name="T96" fmla="*/ 438 w 16308"/>
              <a:gd name="T97" fmla="*/ 6134 h 8316"/>
              <a:gd name="T98" fmla="*/ 2304 w 16308"/>
              <a:gd name="T99" fmla="*/ 5619 h 8316"/>
              <a:gd name="T100" fmla="*/ 2383 w 16308"/>
              <a:gd name="T101" fmla="*/ 5452 h 8316"/>
              <a:gd name="T102" fmla="*/ 2537 w 16308"/>
              <a:gd name="T103" fmla="*/ 5374 h 8316"/>
              <a:gd name="T104" fmla="*/ 14295 w 16308"/>
              <a:gd name="T105" fmla="*/ 7534 h 8316"/>
              <a:gd name="T106" fmla="*/ 14205 w 16308"/>
              <a:gd name="T107" fmla="*/ 7041 h 8316"/>
              <a:gd name="T108" fmla="*/ 3695 w 16308"/>
              <a:gd name="T109" fmla="*/ 5647 h 8316"/>
              <a:gd name="T110" fmla="*/ 3631 w 16308"/>
              <a:gd name="T111" fmla="*/ 5472 h 8316"/>
              <a:gd name="T112" fmla="*/ 3487 w 16308"/>
              <a:gd name="T113" fmla="*/ 5379 h 8316"/>
              <a:gd name="T114" fmla="*/ 1785 w 16308"/>
              <a:gd name="T115" fmla="*/ 6214 h 8316"/>
              <a:gd name="T116" fmla="*/ 2579 w 16308"/>
              <a:gd name="T117" fmla="*/ 5647 h 8316"/>
              <a:gd name="T118" fmla="*/ 547 w 16308"/>
              <a:gd name="T119" fmla="*/ 6392 h 8316"/>
              <a:gd name="T120" fmla="*/ 424 w 16308"/>
              <a:gd name="T121" fmla="*/ 6516 h 8316"/>
              <a:gd name="T122" fmla="*/ 276 w 16308"/>
              <a:gd name="T123" fmla="*/ 7459 h 8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308" h="8316">
                <a:moveTo>
                  <a:pt x="13428" y="6563"/>
                </a:moveTo>
                <a:lnTo>
                  <a:pt x="11732" y="6563"/>
                </a:lnTo>
                <a:lnTo>
                  <a:pt x="11732" y="4710"/>
                </a:lnTo>
                <a:lnTo>
                  <a:pt x="15091" y="4710"/>
                </a:lnTo>
                <a:lnTo>
                  <a:pt x="15865" y="5157"/>
                </a:lnTo>
                <a:lnTo>
                  <a:pt x="15865" y="6570"/>
                </a:lnTo>
                <a:lnTo>
                  <a:pt x="13536" y="6570"/>
                </a:lnTo>
                <a:lnTo>
                  <a:pt x="13509" y="6567"/>
                </a:lnTo>
                <a:lnTo>
                  <a:pt x="13482" y="6565"/>
                </a:lnTo>
                <a:lnTo>
                  <a:pt x="13454" y="6563"/>
                </a:lnTo>
                <a:lnTo>
                  <a:pt x="13428" y="6563"/>
                </a:lnTo>
                <a:close/>
                <a:moveTo>
                  <a:pt x="13370" y="7037"/>
                </a:moveTo>
                <a:lnTo>
                  <a:pt x="13391" y="7037"/>
                </a:lnTo>
                <a:lnTo>
                  <a:pt x="13411" y="7039"/>
                </a:lnTo>
                <a:lnTo>
                  <a:pt x="13433" y="7041"/>
                </a:lnTo>
                <a:lnTo>
                  <a:pt x="13453" y="7045"/>
                </a:lnTo>
                <a:lnTo>
                  <a:pt x="13473" y="7049"/>
                </a:lnTo>
                <a:lnTo>
                  <a:pt x="13493" y="7056"/>
                </a:lnTo>
                <a:lnTo>
                  <a:pt x="13512" y="7062"/>
                </a:lnTo>
                <a:lnTo>
                  <a:pt x="13532" y="7069"/>
                </a:lnTo>
                <a:lnTo>
                  <a:pt x="13550" y="7077"/>
                </a:lnTo>
                <a:lnTo>
                  <a:pt x="13568" y="7085"/>
                </a:lnTo>
                <a:lnTo>
                  <a:pt x="13586" y="7095"/>
                </a:lnTo>
                <a:lnTo>
                  <a:pt x="13603" y="7106"/>
                </a:lnTo>
                <a:lnTo>
                  <a:pt x="13619" y="7117"/>
                </a:lnTo>
                <a:lnTo>
                  <a:pt x="13635" y="7129"/>
                </a:lnTo>
                <a:lnTo>
                  <a:pt x="13650" y="7141"/>
                </a:lnTo>
                <a:lnTo>
                  <a:pt x="13665" y="7155"/>
                </a:lnTo>
                <a:lnTo>
                  <a:pt x="13678" y="7169"/>
                </a:lnTo>
                <a:lnTo>
                  <a:pt x="13692" y="7183"/>
                </a:lnTo>
                <a:lnTo>
                  <a:pt x="13704" y="7198"/>
                </a:lnTo>
                <a:lnTo>
                  <a:pt x="13716" y="7214"/>
                </a:lnTo>
                <a:lnTo>
                  <a:pt x="13727" y="7230"/>
                </a:lnTo>
                <a:lnTo>
                  <a:pt x="13737" y="7246"/>
                </a:lnTo>
                <a:lnTo>
                  <a:pt x="13747" y="7264"/>
                </a:lnTo>
                <a:lnTo>
                  <a:pt x="13755" y="7282"/>
                </a:lnTo>
                <a:lnTo>
                  <a:pt x="13762" y="7299"/>
                </a:lnTo>
                <a:lnTo>
                  <a:pt x="13769" y="7319"/>
                </a:lnTo>
                <a:lnTo>
                  <a:pt x="13775" y="7337"/>
                </a:lnTo>
                <a:lnTo>
                  <a:pt x="13779" y="7356"/>
                </a:lnTo>
                <a:lnTo>
                  <a:pt x="13783" y="7376"/>
                </a:lnTo>
                <a:lnTo>
                  <a:pt x="13785" y="7396"/>
                </a:lnTo>
                <a:lnTo>
                  <a:pt x="13787" y="7416"/>
                </a:lnTo>
                <a:lnTo>
                  <a:pt x="13788" y="7436"/>
                </a:lnTo>
                <a:lnTo>
                  <a:pt x="13787" y="7457"/>
                </a:lnTo>
                <a:lnTo>
                  <a:pt x="13785" y="7477"/>
                </a:lnTo>
                <a:lnTo>
                  <a:pt x="13783" y="7497"/>
                </a:lnTo>
                <a:lnTo>
                  <a:pt x="13779" y="7517"/>
                </a:lnTo>
                <a:lnTo>
                  <a:pt x="13775" y="7536"/>
                </a:lnTo>
                <a:lnTo>
                  <a:pt x="13769" y="7554"/>
                </a:lnTo>
                <a:lnTo>
                  <a:pt x="13762" y="7574"/>
                </a:lnTo>
                <a:lnTo>
                  <a:pt x="13755" y="7591"/>
                </a:lnTo>
                <a:lnTo>
                  <a:pt x="13747" y="7609"/>
                </a:lnTo>
                <a:lnTo>
                  <a:pt x="13737" y="7627"/>
                </a:lnTo>
                <a:lnTo>
                  <a:pt x="13727" y="7643"/>
                </a:lnTo>
                <a:lnTo>
                  <a:pt x="13716" y="7659"/>
                </a:lnTo>
                <a:lnTo>
                  <a:pt x="13704" y="7675"/>
                </a:lnTo>
                <a:lnTo>
                  <a:pt x="13692" y="7690"/>
                </a:lnTo>
                <a:lnTo>
                  <a:pt x="13678" y="7704"/>
                </a:lnTo>
                <a:lnTo>
                  <a:pt x="13665" y="7718"/>
                </a:lnTo>
                <a:lnTo>
                  <a:pt x="13650" y="7732"/>
                </a:lnTo>
                <a:lnTo>
                  <a:pt x="13635" y="7744"/>
                </a:lnTo>
                <a:lnTo>
                  <a:pt x="13619" y="7756"/>
                </a:lnTo>
                <a:lnTo>
                  <a:pt x="13603" y="7767"/>
                </a:lnTo>
                <a:lnTo>
                  <a:pt x="13586" y="7778"/>
                </a:lnTo>
                <a:lnTo>
                  <a:pt x="13568" y="7788"/>
                </a:lnTo>
                <a:lnTo>
                  <a:pt x="13550" y="7796"/>
                </a:lnTo>
                <a:lnTo>
                  <a:pt x="13532" y="7804"/>
                </a:lnTo>
                <a:lnTo>
                  <a:pt x="13512" y="7811"/>
                </a:lnTo>
                <a:lnTo>
                  <a:pt x="13493" y="7818"/>
                </a:lnTo>
                <a:lnTo>
                  <a:pt x="13473" y="7823"/>
                </a:lnTo>
                <a:lnTo>
                  <a:pt x="13453" y="7828"/>
                </a:lnTo>
                <a:lnTo>
                  <a:pt x="13433" y="7832"/>
                </a:lnTo>
                <a:lnTo>
                  <a:pt x="13411" y="7834"/>
                </a:lnTo>
                <a:lnTo>
                  <a:pt x="13391" y="7836"/>
                </a:lnTo>
                <a:lnTo>
                  <a:pt x="13370" y="7836"/>
                </a:lnTo>
                <a:lnTo>
                  <a:pt x="5028" y="7836"/>
                </a:lnTo>
                <a:lnTo>
                  <a:pt x="5007" y="7836"/>
                </a:lnTo>
                <a:lnTo>
                  <a:pt x="4985" y="7834"/>
                </a:lnTo>
                <a:lnTo>
                  <a:pt x="4964" y="7832"/>
                </a:lnTo>
                <a:lnTo>
                  <a:pt x="4943" y="7828"/>
                </a:lnTo>
                <a:lnTo>
                  <a:pt x="4923" y="7823"/>
                </a:lnTo>
                <a:lnTo>
                  <a:pt x="4904" y="7818"/>
                </a:lnTo>
                <a:lnTo>
                  <a:pt x="4884" y="7811"/>
                </a:lnTo>
                <a:lnTo>
                  <a:pt x="4865" y="7804"/>
                </a:lnTo>
                <a:lnTo>
                  <a:pt x="4847" y="7796"/>
                </a:lnTo>
                <a:lnTo>
                  <a:pt x="4829" y="7788"/>
                </a:lnTo>
                <a:lnTo>
                  <a:pt x="4811" y="7778"/>
                </a:lnTo>
                <a:lnTo>
                  <a:pt x="4795" y="7767"/>
                </a:lnTo>
                <a:lnTo>
                  <a:pt x="4778" y="7756"/>
                </a:lnTo>
                <a:lnTo>
                  <a:pt x="4762" y="7744"/>
                </a:lnTo>
                <a:lnTo>
                  <a:pt x="4747" y="7732"/>
                </a:lnTo>
                <a:lnTo>
                  <a:pt x="4732" y="7718"/>
                </a:lnTo>
                <a:lnTo>
                  <a:pt x="4718" y="7704"/>
                </a:lnTo>
                <a:lnTo>
                  <a:pt x="4705" y="7690"/>
                </a:lnTo>
                <a:lnTo>
                  <a:pt x="4693" y="7675"/>
                </a:lnTo>
                <a:lnTo>
                  <a:pt x="4680" y="7659"/>
                </a:lnTo>
                <a:lnTo>
                  <a:pt x="4670" y="7643"/>
                </a:lnTo>
                <a:lnTo>
                  <a:pt x="4660" y="7627"/>
                </a:lnTo>
                <a:lnTo>
                  <a:pt x="4651" y="7609"/>
                </a:lnTo>
                <a:lnTo>
                  <a:pt x="4642" y="7591"/>
                </a:lnTo>
                <a:lnTo>
                  <a:pt x="4635" y="7574"/>
                </a:lnTo>
                <a:lnTo>
                  <a:pt x="4627" y="7554"/>
                </a:lnTo>
                <a:lnTo>
                  <a:pt x="4622" y="7536"/>
                </a:lnTo>
                <a:lnTo>
                  <a:pt x="4617" y="7517"/>
                </a:lnTo>
                <a:lnTo>
                  <a:pt x="4614" y="7497"/>
                </a:lnTo>
                <a:lnTo>
                  <a:pt x="4611" y="7477"/>
                </a:lnTo>
                <a:lnTo>
                  <a:pt x="4609" y="7457"/>
                </a:lnTo>
                <a:lnTo>
                  <a:pt x="4609" y="7436"/>
                </a:lnTo>
                <a:lnTo>
                  <a:pt x="4609" y="7416"/>
                </a:lnTo>
                <a:lnTo>
                  <a:pt x="4611" y="7396"/>
                </a:lnTo>
                <a:lnTo>
                  <a:pt x="4614" y="7376"/>
                </a:lnTo>
                <a:lnTo>
                  <a:pt x="4617" y="7356"/>
                </a:lnTo>
                <a:lnTo>
                  <a:pt x="4622" y="7337"/>
                </a:lnTo>
                <a:lnTo>
                  <a:pt x="4627" y="7319"/>
                </a:lnTo>
                <a:lnTo>
                  <a:pt x="4635" y="7299"/>
                </a:lnTo>
                <a:lnTo>
                  <a:pt x="4642" y="7282"/>
                </a:lnTo>
                <a:lnTo>
                  <a:pt x="4651" y="7264"/>
                </a:lnTo>
                <a:lnTo>
                  <a:pt x="4660" y="7246"/>
                </a:lnTo>
                <a:lnTo>
                  <a:pt x="4670" y="7230"/>
                </a:lnTo>
                <a:lnTo>
                  <a:pt x="4680" y="7214"/>
                </a:lnTo>
                <a:lnTo>
                  <a:pt x="4693" y="7198"/>
                </a:lnTo>
                <a:lnTo>
                  <a:pt x="4705" y="7183"/>
                </a:lnTo>
                <a:lnTo>
                  <a:pt x="4718" y="7169"/>
                </a:lnTo>
                <a:lnTo>
                  <a:pt x="4732" y="7155"/>
                </a:lnTo>
                <a:lnTo>
                  <a:pt x="4747" y="7141"/>
                </a:lnTo>
                <a:lnTo>
                  <a:pt x="4762" y="7129"/>
                </a:lnTo>
                <a:lnTo>
                  <a:pt x="4778" y="7117"/>
                </a:lnTo>
                <a:lnTo>
                  <a:pt x="4795" y="7106"/>
                </a:lnTo>
                <a:lnTo>
                  <a:pt x="4811" y="7095"/>
                </a:lnTo>
                <a:lnTo>
                  <a:pt x="4829" y="7085"/>
                </a:lnTo>
                <a:lnTo>
                  <a:pt x="4847" y="7077"/>
                </a:lnTo>
                <a:lnTo>
                  <a:pt x="4865" y="7069"/>
                </a:lnTo>
                <a:lnTo>
                  <a:pt x="4884" y="7062"/>
                </a:lnTo>
                <a:lnTo>
                  <a:pt x="4904" y="7056"/>
                </a:lnTo>
                <a:lnTo>
                  <a:pt x="4923" y="7049"/>
                </a:lnTo>
                <a:lnTo>
                  <a:pt x="4943" y="7045"/>
                </a:lnTo>
                <a:lnTo>
                  <a:pt x="4964" y="7041"/>
                </a:lnTo>
                <a:lnTo>
                  <a:pt x="4985" y="7039"/>
                </a:lnTo>
                <a:lnTo>
                  <a:pt x="5007" y="7037"/>
                </a:lnTo>
                <a:lnTo>
                  <a:pt x="5028" y="7037"/>
                </a:lnTo>
                <a:lnTo>
                  <a:pt x="13370" y="7037"/>
                </a:lnTo>
                <a:close/>
                <a:moveTo>
                  <a:pt x="10253" y="4790"/>
                </a:moveTo>
                <a:lnTo>
                  <a:pt x="10375" y="4790"/>
                </a:lnTo>
                <a:lnTo>
                  <a:pt x="10381" y="4790"/>
                </a:lnTo>
                <a:lnTo>
                  <a:pt x="10386" y="4791"/>
                </a:lnTo>
                <a:lnTo>
                  <a:pt x="10391" y="4792"/>
                </a:lnTo>
                <a:lnTo>
                  <a:pt x="10396" y="4794"/>
                </a:lnTo>
                <a:lnTo>
                  <a:pt x="10407" y="4799"/>
                </a:lnTo>
                <a:lnTo>
                  <a:pt x="10414" y="4806"/>
                </a:lnTo>
                <a:lnTo>
                  <a:pt x="10421" y="4814"/>
                </a:lnTo>
                <a:lnTo>
                  <a:pt x="10426" y="4823"/>
                </a:lnTo>
                <a:lnTo>
                  <a:pt x="10428" y="4828"/>
                </a:lnTo>
                <a:lnTo>
                  <a:pt x="10429" y="4834"/>
                </a:lnTo>
                <a:lnTo>
                  <a:pt x="10430" y="4839"/>
                </a:lnTo>
                <a:lnTo>
                  <a:pt x="10430" y="4845"/>
                </a:lnTo>
                <a:lnTo>
                  <a:pt x="10430" y="6330"/>
                </a:lnTo>
                <a:lnTo>
                  <a:pt x="10430" y="6336"/>
                </a:lnTo>
                <a:lnTo>
                  <a:pt x="10429" y="6341"/>
                </a:lnTo>
                <a:lnTo>
                  <a:pt x="10428" y="6346"/>
                </a:lnTo>
                <a:lnTo>
                  <a:pt x="10426" y="6351"/>
                </a:lnTo>
                <a:lnTo>
                  <a:pt x="10421" y="6360"/>
                </a:lnTo>
                <a:lnTo>
                  <a:pt x="10414" y="6368"/>
                </a:lnTo>
                <a:lnTo>
                  <a:pt x="10407" y="6375"/>
                </a:lnTo>
                <a:lnTo>
                  <a:pt x="10396" y="6381"/>
                </a:lnTo>
                <a:lnTo>
                  <a:pt x="10391" y="6383"/>
                </a:lnTo>
                <a:lnTo>
                  <a:pt x="10386" y="6384"/>
                </a:lnTo>
                <a:lnTo>
                  <a:pt x="10381" y="6385"/>
                </a:lnTo>
                <a:lnTo>
                  <a:pt x="10375" y="6385"/>
                </a:lnTo>
                <a:lnTo>
                  <a:pt x="10253" y="6385"/>
                </a:lnTo>
                <a:lnTo>
                  <a:pt x="10247" y="6385"/>
                </a:lnTo>
                <a:lnTo>
                  <a:pt x="10241" y="6384"/>
                </a:lnTo>
                <a:lnTo>
                  <a:pt x="10236" y="6383"/>
                </a:lnTo>
                <a:lnTo>
                  <a:pt x="10231" y="6381"/>
                </a:lnTo>
                <a:lnTo>
                  <a:pt x="10222" y="6375"/>
                </a:lnTo>
                <a:lnTo>
                  <a:pt x="10214" y="6368"/>
                </a:lnTo>
                <a:lnTo>
                  <a:pt x="10207" y="6360"/>
                </a:lnTo>
                <a:lnTo>
                  <a:pt x="10202" y="6351"/>
                </a:lnTo>
                <a:lnTo>
                  <a:pt x="10200" y="6346"/>
                </a:lnTo>
                <a:lnTo>
                  <a:pt x="10199" y="6341"/>
                </a:lnTo>
                <a:lnTo>
                  <a:pt x="10198" y="6336"/>
                </a:lnTo>
                <a:lnTo>
                  <a:pt x="10198" y="6330"/>
                </a:lnTo>
                <a:lnTo>
                  <a:pt x="10198" y="4845"/>
                </a:lnTo>
                <a:lnTo>
                  <a:pt x="10198" y="4839"/>
                </a:lnTo>
                <a:lnTo>
                  <a:pt x="10199" y="4834"/>
                </a:lnTo>
                <a:lnTo>
                  <a:pt x="10200" y="4828"/>
                </a:lnTo>
                <a:lnTo>
                  <a:pt x="10202" y="4823"/>
                </a:lnTo>
                <a:lnTo>
                  <a:pt x="10207" y="4814"/>
                </a:lnTo>
                <a:lnTo>
                  <a:pt x="10214" y="4806"/>
                </a:lnTo>
                <a:lnTo>
                  <a:pt x="10222" y="4799"/>
                </a:lnTo>
                <a:lnTo>
                  <a:pt x="10231" y="4794"/>
                </a:lnTo>
                <a:lnTo>
                  <a:pt x="10236" y="4792"/>
                </a:lnTo>
                <a:lnTo>
                  <a:pt x="10241" y="4791"/>
                </a:lnTo>
                <a:lnTo>
                  <a:pt x="10247" y="4790"/>
                </a:lnTo>
                <a:lnTo>
                  <a:pt x="10253" y="4790"/>
                </a:lnTo>
                <a:close/>
                <a:moveTo>
                  <a:pt x="8899" y="4790"/>
                </a:moveTo>
                <a:lnTo>
                  <a:pt x="9022" y="4790"/>
                </a:lnTo>
                <a:lnTo>
                  <a:pt x="9027" y="4790"/>
                </a:lnTo>
                <a:lnTo>
                  <a:pt x="9033" y="4791"/>
                </a:lnTo>
                <a:lnTo>
                  <a:pt x="9039" y="4792"/>
                </a:lnTo>
                <a:lnTo>
                  <a:pt x="9044" y="4794"/>
                </a:lnTo>
                <a:lnTo>
                  <a:pt x="9053" y="4799"/>
                </a:lnTo>
                <a:lnTo>
                  <a:pt x="9061" y="4806"/>
                </a:lnTo>
                <a:lnTo>
                  <a:pt x="9067" y="4814"/>
                </a:lnTo>
                <a:lnTo>
                  <a:pt x="9072" y="4823"/>
                </a:lnTo>
                <a:lnTo>
                  <a:pt x="9074" y="4828"/>
                </a:lnTo>
                <a:lnTo>
                  <a:pt x="9075" y="4834"/>
                </a:lnTo>
                <a:lnTo>
                  <a:pt x="9076" y="4839"/>
                </a:lnTo>
                <a:lnTo>
                  <a:pt x="9076" y="4845"/>
                </a:lnTo>
                <a:lnTo>
                  <a:pt x="9076" y="6330"/>
                </a:lnTo>
                <a:lnTo>
                  <a:pt x="9076" y="6336"/>
                </a:lnTo>
                <a:lnTo>
                  <a:pt x="9075" y="6341"/>
                </a:lnTo>
                <a:lnTo>
                  <a:pt x="9074" y="6346"/>
                </a:lnTo>
                <a:lnTo>
                  <a:pt x="9072" y="6351"/>
                </a:lnTo>
                <a:lnTo>
                  <a:pt x="9067" y="6360"/>
                </a:lnTo>
                <a:lnTo>
                  <a:pt x="9061" y="6368"/>
                </a:lnTo>
                <a:lnTo>
                  <a:pt x="9053" y="6375"/>
                </a:lnTo>
                <a:lnTo>
                  <a:pt x="9044" y="6381"/>
                </a:lnTo>
                <a:lnTo>
                  <a:pt x="9039" y="6383"/>
                </a:lnTo>
                <a:lnTo>
                  <a:pt x="9033" y="6384"/>
                </a:lnTo>
                <a:lnTo>
                  <a:pt x="9027" y="6385"/>
                </a:lnTo>
                <a:lnTo>
                  <a:pt x="9022" y="6385"/>
                </a:lnTo>
                <a:lnTo>
                  <a:pt x="8899" y="6385"/>
                </a:lnTo>
                <a:lnTo>
                  <a:pt x="8893" y="6385"/>
                </a:lnTo>
                <a:lnTo>
                  <a:pt x="8888" y="6384"/>
                </a:lnTo>
                <a:lnTo>
                  <a:pt x="8883" y="6383"/>
                </a:lnTo>
                <a:lnTo>
                  <a:pt x="8878" y="6381"/>
                </a:lnTo>
                <a:lnTo>
                  <a:pt x="8868" y="6375"/>
                </a:lnTo>
                <a:lnTo>
                  <a:pt x="8860" y="6368"/>
                </a:lnTo>
                <a:lnTo>
                  <a:pt x="8853" y="6360"/>
                </a:lnTo>
                <a:lnTo>
                  <a:pt x="8848" y="6351"/>
                </a:lnTo>
                <a:lnTo>
                  <a:pt x="8846" y="6346"/>
                </a:lnTo>
                <a:lnTo>
                  <a:pt x="8845" y="6341"/>
                </a:lnTo>
                <a:lnTo>
                  <a:pt x="8844" y="6336"/>
                </a:lnTo>
                <a:lnTo>
                  <a:pt x="8844" y="6330"/>
                </a:lnTo>
                <a:lnTo>
                  <a:pt x="8844" y="4845"/>
                </a:lnTo>
                <a:lnTo>
                  <a:pt x="8844" y="4839"/>
                </a:lnTo>
                <a:lnTo>
                  <a:pt x="8845" y="4834"/>
                </a:lnTo>
                <a:lnTo>
                  <a:pt x="8846" y="4828"/>
                </a:lnTo>
                <a:lnTo>
                  <a:pt x="8848" y="4823"/>
                </a:lnTo>
                <a:lnTo>
                  <a:pt x="8853" y="4814"/>
                </a:lnTo>
                <a:lnTo>
                  <a:pt x="8860" y="4806"/>
                </a:lnTo>
                <a:lnTo>
                  <a:pt x="8868" y="4799"/>
                </a:lnTo>
                <a:lnTo>
                  <a:pt x="8878" y="4794"/>
                </a:lnTo>
                <a:lnTo>
                  <a:pt x="8883" y="4792"/>
                </a:lnTo>
                <a:lnTo>
                  <a:pt x="8888" y="4791"/>
                </a:lnTo>
                <a:lnTo>
                  <a:pt x="8893" y="4790"/>
                </a:lnTo>
                <a:lnTo>
                  <a:pt x="8899" y="4790"/>
                </a:lnTo>
                <a:close/>
                <a:moveTo>
                  <a:pt x="9350" y="4790"/>
                </a:moveTo>
                <a:lnTo>
                  <a:pt x="9473" y="4790"/>
                </a:lnTo>
                <a:lnTo>
                  <a:pt x="9479" y="4790"/>
                </a:lnTo>
                <a:lnTo>
                  <a:pt x="9484" y="4791"/>
                </a:lnTo>
                <a:lnTo>
                  <a:pt x="9489" y="4792"/>
                </a:lnTo>
                <a:lnTo>
                  <a:pt x="9494" y="4794"/>
                </a:lnTo>
                <a:lnTo>
                  <a:pt x="9503" y="4799"/>
                </a:lnTo>
                <a:lnTo>
                  <a:pt x="9512" y="4806"/>
                </a:lnTo>
                <a:lnTo>
                  <a:pt x="9519" y="4814"/>
                </a:lnTo>
                <a:lnTo>
                  <a:pt x="9524" y="4823"/>
                </a:lnTo>
                <a:lnTo>
                  <a:pt x="9526" y="4828"/>
                </a:lnTo>
                <a:lnTo>
                  <a:pt x="9527" y="4834"/>
                </a:lnTo>
                <a:lnTo>
                  <a:pt x="9528" y="4839"/>
                </a:lnTo>
                <a:lnTo>
                  <a:pt x="9528" y="4845"/>
                </a:lnTo>
                <a:lnTo>
                  <a:pt x="9528" y="6330"/>
                </a:lnTo>
                <a:lnTo>
                  <a:pt x="9528" y="6336"/>
                </a:lnTo>
                <a:lnTo>
                  <a:pt x="9527" y="6341"/>
                </a:lnTo>
                <a:lnTo>
                  <a:pt x="9526" y="6346"/>
                </a:lnTo>
                <a:lnTo>
                  <a:pt x="9524" y="6351"/>
                </a:lnTo>
                <a:lnTo>
                  <a:pt x="9519" y="6360"/>
                </a:lnTo>
                <a:lnTo>
                  <a:pt x="9512" y="6368"/>
                </a:lnTo>
                <a:lnTo>
                  <a:pt x="9503" y="6375"/>
                </a:lnTo>
                <a:lnTo>
                  <a:pt x="9494" y="6381"/>
                </a:lnTo>
                <a:lnTo>
                  <a:pt x="9489" y="6383"/>
                </a:lnTo>
                <a:lnTo>
                  <a:pt x="9484" y="6384"/>
                </a:lnTo>
                <a:lnTo>
                  <a:pt x="9479" y="6385"/>
                </a:lnTo>
                <a:lnTo>
                  <a:pt x="9473" y="6385"/>
                </a:lnTo>
                <a:lnTo>
                  <a:pt x="9350" y="6385"/>
                </a:lnTo>
                <a:lnTo>
                  <a:pt x="9344" y="6385"/>
                </a:lnTo>
                <a:lnTo>
                  <a:pt x="9339" y="6384"/>
                </a:lnTo>
                <a:lnTo>
                  <a:pt x="9333" y="6383"/>
                </a:lnTo>
                <a:lnTo>
                  <a:pt x="9329" y="6381"/>
                </a:lnTo>
                <a:lnTo>
                  <a:pt x="9319" y="6375"/>
                </a:lnTo>
                <a:lnTo>
                  <a:pt x="9311" y="6368"/>
                </a:lnTo>
                <a:lnTo>
                  <a:pt x="9305" y="6360"/>
                </a:lnTo>
                <a:lnTo>
                  <a:pt x="9300" y="6351"/>
                </a:lnTo>
                <a:lnTo>
                  <a:pt x="9298" y="6346"/>
                </a:lnTo>
                <a:lnTo>
                  <a:pt x="9297" y="6341"/>
                </a:lnTo>
                <a:lnTo>
                  <a:pt x="9296" y="6336"/>
                </a:lnTo>
                <a:lnTo>
                  <a:pt x="9296" y="6330"/>
                </a:lnTo>
                <a:lnTo>
                  <a:pt x="9296" y="4845"/>
                </a:lnTo>
                <a:lnTo>
                  <a:pt x="9296" y="4839"/>
                </a:lnTo>
                <a:lnTo>
                  <a:pt x="9297" y="4834"/>
                </a:lnTo>
                <a:lnTo>
                  <a:pt x="9298" y="4828"/>
                </a:lnTo>
                <a:lnTo>
                  <a:pt x="9300" y="4823"/>
                </a:lnTo>
                <a:lnTo>
                  <a:pt x="9305" y="4814"/>
                </a:lnTo>
                <a:lnTo>
                  <a:pt x="9311" y="4806"/>
                </a:lnTo>
                <a:lnTo>
                  <a:pt x="9319" y="4799"/>
                </a:lnTo>
                <a:lnTo>
                  <a:pt x="9329" y="4794"/>
                </a:lnTo>
                <a:lnTo>
                  <a:pt x="9333" y="4792"/>
                </a:lnTo>
                <a:lnTo>
                  <a:pt x="9339" y="4791"/>
                </a:lnTo>
                <a:lnTo>
                  <a:pt x="9344" y="4790"/>
                </a:lnTo>
                <a:lnTo>
                  <a:pt x="9350" y="4790"/>
                </a:lnTo>
                <a:close/>
                <a:moveTo>
                  <a:pt x="9801" y="4790"/>
                </a:moveTo>
                <a:lnTo>
                  <a:pt x="9924" y="4790"/>
                </a:lnTo>
                <a:lnTo>
                  <a:pt x="9930" y="4790"/>
                </a:lnTo>
                <a:lnTo>
                  <a:pt x="9936" y="4791"/>
                </a:lnTo>
                <a:lnTo>
                  <a:pt x="9941" y="4792"/>
                </a:lnTo>
                <a:lnTo>
                  <a:pt x="9946" y="4794"/>
                </a:lnTo>
                <a:lnTo>
                  <a:pt x="9955" y="4799"/>
                </a:lnTo>
                <a:lnTo>
                  <a:pt x="9963" y="4806"/>
                </a:lnTo>
                <a:lnTo>
                  <a:pt x="9969" y="4814"/>
                </a:lnTo>
                <a:lnTo>
                  <a:pt x="9974" y="4823"/>
                </a:lnTo>
                <a:lnTo>
                  <a:pt x="9976" y="4828"/>
                </a:lnTo>
                <a:lnTo>
                  <a:pt x="9977" y="4834"/>
                </a:lnTo>
                <a:lnTo>
                  <a:pt x="9978" y="4839"/>
                </a:lnTo>
                <a:lnTo>
                  <a:pt x="9979" y="4845"/>
                </a:lnTo>
                <a:lnTo>
                  <a:pt x="9979" y="6330"/>
                </a:lnTo>
                <a:lnTo>
                  <a:pt x="9978" y="6336"/>
                </a:lnTo>
                <a:lnTo>
                  <a:pt x="9977" y="6341"/>
                </a:lnTo>
                <a:lnTo>
                  <a:pt x="9976" y="6346"/>
                </a:lnTo>
                <a:lnTo>
                  <a:pt x="9974" y="6351"/>
                </a:lnTo>
                <a:lnTo>
                  <a:pt x="9969" y="6360"/>
                </a:lnTo>
                <a:lnTo>
                  <a:pt x="9963" y="6368"/>
                </a:lnTo>
                <a:lnTo>
                  <a:pt x="9955" y="6375"/>
                </a:lnTo>
                <a:lnTo>
                  <a:pt x="9946" y="6381"/>
                </a:lnTo>
                <a:lnTo>
                  <a:pt x="9941" y="6383"/>
                </a:lnTo>
                <a:lnTo>
                  <a:pt x="9936" y="6384"/>
                </a:lnTo>
                <a:lnTo>
                  <a:pt x="9930" y="6385"/>
                </a:lnTo>
                <a:lnTo>
                  <a:pt x="9924" y="6385"/>
                </a:lnTo>
                <a:lnTo>
                  <a:pt x="9801" y="6385"/>
                </a:lnTo>
                <a:lnTo>
                  <a:pt x="9796" y="6385"/>
                </a:lnTo>
                <a:lnTo>
                  <a:pt x="9790" y="6384"/>
                </a:lnTo>
                <a:lnTo>
                  <a:pt x="9785" y="6383"/>
                </a:lnTo>
                <a:lnTo>
                  <a:pt x="9780" y="6381"/>
                </a:lnTo>
                <a:lnTo>
                  <a:pt x="9771" y="6375"/>
                </a:lnTo>
                <a:lnTo>
                  <a:pt x="9762" y="6368"/>
                </a:lnTo>
                <a:lnTo>
                  <a:pt x="9755" y="6360"/>
                </a:lnTo>
                <a:lnTo>
                  <a:pt x="9750" y="6351"/>
                </a:lnTo>
                <a:lnTo>
                  <a:pt x="9749" y="6346"/>
                </a:lnTo>
                <a:lnTo>
                  <a:pt x="9747" y="6341"/>
                </a:lnTo>
                <a:lnTo>
                  <a:pt x="9746" y="6336"/>
                </a:lnTo>
                <a:lnTo>
                  <a:pt x="9746" y="6330"/>
                </a:lnTo>
                <a:lnTo>
                  <a:pt x="9746" y="4845"/>
                </a:lnTo>
                <a:lnTo>
                  <a:pt x="9746" y="4839"/>
                </a:lnTo>
                <a:lnTo>
                  <a:pt x="9747" y="4834"/>
                </a:lnTo>
                <a:lnTo>
                  <a:pt x="9749" y="4828"/>
                </a:lnTo>
                <a:lnTo>
                  <a:pt x="9750" y="4823"/>
                </a:lnTo>
                <a:lnTo>
                  <a:pt x="9755" y="4814"/>
                </a:lnTo>
                <a:lnTo>
                  <a:pt x="9762" y="4806"/>
                </a:lnTo>
                <a:lnTo>
                  <a:pt x="9771" y="4799"/>
                </a:lnTo>
                <a:lnTo>
                  <a:pt x="9780" y="4794"/>
                </a:lnTo>
                <a:lnTo>
                  <a:pt x="9785" y="4792"/>
                </a:lnTo>
                <a:lnTo>
                  <a:pt x="9790" y="4791"/>
                </a:lnTo>
                <a:lnTo>
                  <a:pt x="9796" y="4790"/>
                </a:lnTo>
                <a:lnTo>
                  <a:pt x="9801" y="4790"/>
                </a:lnTo>
                <a:close/>
                <a:moveTo>
                  <a:pt x="3710" y="2812"/>
                </a:moveTo>
                <a:lnTo>
                  <a:pt x="3710" y="685"/>
                </a:lnTo>
                <a:lnTo>
                  <a:pt x="2995" y="685"/>
                </a:lnTo>
                <a:lnTo>
                  <a:pt x="2996" y="355"/>
                </a:lnTo>
                <a:lnTo>
                  <a:pt x="3485" y="0"/>
                </a:lnTo>
                <a:lnTo>
                  <a:pt x="7844" y="397"/>
                </a:lnTo>
                <a:lnTo>
                  <a:pt x="7844" y="685"/>
                </a:lnTo>
                <a:lnTo>
                  <a:pt x="3986" y="685"/>
                </a:lnTo>
                <a:lnTo>
                  <a:pt x="3986" y="2812"/>
                </a:lnTo>
                <a:lnTo>
                  <a:pt x="6106" y="2812"/>
                </a:lnTo>
                <a:lnTo>
                  <a:pt x="5967" y="2461"/>
                </a:lnTo>
                <a:lnTo>
                  <a:pt x="5948" y="2463"/>
                </a:lnTo>
                <a:lnTo>
                  <a:pt x="5929" y="2463"/>
                </a:lnTo>
                <a:lnTo>
                  <a:pt x="5910" y="2462"/>
                </a:lnTo>
                <a:lnTo>
                  <a:pt x="5891" y="2459"/>
                </a:lnTo>
                <a:lnTo>
                  <a:pt x="5872" y="2456"/>
                </a:lnTo>
                <a:lnTo>
                  <a:pt x="5853" y="2450"/>
                </a:lnTo>
                <a:lnTo>
                  <a:pt x="5834" y="2443"/>
                </a:lnTo>
                <a:lnTo>
                  <a:pt x="5816" y="2435"/>
                </a:lnTo>
                <a:lnTo>
                  <a:pt x="5803" y="2429"/>
                </a:lnTo>
                <a:lnTo>
                  <a:pt x="5790" y="2422"/>
                </a:lnTo>
                <a:lnTo>
                  <a:pt x="5779" y="2415"/>
                </a:lnTo>
                <a:lnTo>
                  <a:pt x="5768" y="2407"/>
                </a:lnTo>
                <a:lnTo>
                  <a:pt x="5757" y="2398"/>
                </a:lnTo>
                <a:lnTo>
                  <a:pt x="5747" y="2389"/>
                </a:lnTo>
                <a:lnTo>
                  <a:pt x="5736" y="2379"/>
                </a:lnTo>
                <a:lnTo>
                  <a:pt x="5727" y="2370"/>
                </a:lnTo>
                <a:lnTo>
                  <a:pt x="5719" y="2360"/>
                </a:lnTo>
                <a:lnTo>
                  <a:pt x="5711" y="2348"/>
                </a:lnTo>
                <a:lnTo>
                  <a:pt x="5703" y="2337"/>
                </a:lnTo>
                <a:lnTo>
                  <a:pt x="5696" y="2326"/>
                </a:lnTo>
                <a:lnTo>
                  <a:pt x="5689" y="2315"/>
                </a:lnTo>
                <a:lnTo>
                  <a:pt x="5683" y="2303"/>
                </a:lnTo>
                <a:lnTo>
                  <a:pt x="5678" y="2290"/>
                </a:lnTo>
                <a:lnTo>
                  <a:pt x="5673" y="2277"/>
                </a:lnTo>
                <a:lnTo>
                  <a:pt x="5669" y="2265"/>
                </a:lnTo>
                <a:lnTo>
                  <a:pt x="5666" y="2252"/>
                </a:lnTo>
                <a:lnTo>
                  <a:pt x="5663" y="2239"/>
                </a:lnTo>
                <a:lnTo>
                  <a:pt x="5660" y="2226"/>
                </a:lnTo>
                <a:lnTo>
                  <a:pt x="5659" y="2213"/>
                </a:lnTo>
                <a:lnTo>
                  <a:pt x="5658" y="2200"/>
                </a:lnTo>
                <a:lnTo>
                  <a:pt x="5657" y="2185"/>
                </a:lnTo>
                <a:lnTo>
                  <a:pt x="5658" y="2172"/>
                </a:lnTo>
                <a:lnTo>
                  <a:pt x="5658" y="2159"/>
                </a:lnTo>
                <a:lnTo>
                  <a:pt x="5660" y="2146"/>
                </a:lnTo>
                <a:lnTo>
                  <a:pt x="5662" y="2131"/>
                </a:lnTo>
                <a:lnTo>
                  <a:pt x="5665" y="2118"/>
                </a:lnTo>
                <a:lnTo>
                  <a:pt x="5669" y="2105"/>
                </a:lnTo>
                <a:lnTo>
                  <a:pt x="5673" y="2091"/>
                </a:lnTo>
                <a:lnTo>
                  <a:pt x="5678" y="2078"/>
                </a:lnTo>
                <a:lnTo>
                  <a:pt x="5684" y="2065"/>
                </a:lnTo>
                <a:lnTo>
                  <a:pt x="5690" y="2053"/>
                </a:lnTo>
                <a:lnTo>
                  <a:pt x="5698" y="2041"/>
                </a:lnTo>
                <a:lnTo>
                  <a:pt x="5705" y="2028"/>
                </a:lnTo>
                <a:lnTo>
                  <a:pt x="5713" y="2017"/>
                </a:lnTo>
                <a:lnTo>
                  <a:pt x="5722" y="2006"/>
                </a:lnTo>
                <a:lnTo>
                  <a:pt x="5731" y="1996"/>
                </a:lnTo>
                <a:lnTo>
                  <a:pt x="5740" y="1986"/>
                </a:lnTo>
                <a:lnTo>
                  <a:pt x="5751" y="1977"/>
                </a:lnTo>
                <a:lnTo>
                  <a:pt x="5761" y="1968"/>
                </a:lnTo>
                <a:lnTo>
                  <a:pt x="5771" y="1960"/>
                </a:lnTo>
                <a:lnTo>
                  <a:pt x="5782" y="1952"/>
                </a:lnTo>
                <a:lnTo>
                  <a:pt x="5793" y="1946"/>
                </a:lnTo>
                <a:lnTo>
                  <a:pt x="5806" y="1939"/>
                </a:lnTo>
                <a:lnTo>
                  <a:pt x="5817" y="1932"/>
                </a:lnTo>
                <a:lnTo>
                  <a:pt x="5829" y="1927"/>
                </a:lnTo>
                <a:lnTo>
                  <a:pt x="5842" y="1922"/>
                </a:lnTo>
                <a:lnTo>
                  <a:pt x="5855" y="1918"/>
                </a:lnTo>
                <a:lnTo>
                  <a:pt x="5868" y="1915"/>
                </a:lnTo>
                <a:lnTo>
                  <a:pt x="5880" y="1912"/>
                </a:lnTo>
                <a:lnTo>
                  <a:pt x="5893" y="1910"/>
                </a:lnTo>
                <a:lnTo>
                  <a:pt x="5907" y="1908"/>
                </a:lnTo>
                <a:lnTo>
                  <a:pt x="5921" y="1907"/>
                </a:lnTo>
                <a:lnTo>
                  <a:pt x="5934" y="1907"/>
                </a:lnTo>
                <a:lnTo>
                  <a:pt x="5947" y="1907"/>
                </a:lnTo>
                <a:lnTo>
                  <a:pt x="5961" y="1908"/>
                </a:lnTo>
                <a:lnTo>
                  <a:pt x="5975" y="1909"/>
                </a:lnTo>
                <a:lnTo>
                  <a:pt x="5988" y="1912"/>
                </a:lnTo>
                <a:lnTo>
                  <a:pt x="6001" y="1914"/>
                </a:lnTo>
                <a:lnTo>
                  <a:pt x="6015" y="1918"/>
                </a:lnTo>
                <a:lnTo>
                  <a:pt x="6028" y="1922"/>
                </a:lnTo>
                <a:lnTo>
                  <a:pt x="6041" y="1927"/>
                </a:lnTo>
                <a:lnTo>
                  <a:pt x="6054" y="1933"/>
                </a:lnTo>
                <a:lnTo>
                  <a:pt x="6068" y="1940"/>
                </a:lnTo>
                <a:lnTo>
                  <a:pt x="6080" y="1947"/>
                </a:lnTo>
                <a:lnTo>
                  <a:pt x="6091" y="1955"/>
                </a:lnTo>
                <a:lnTo>
                  <a:pt x="6102" y="1963"/>
                </a:lnTo>
                <a:lnTo>
                  <a:pt x="6113" y="1971"/>
                </a:lnTo>
                <a:lnTo>
                  <a:pt x="6124" y="1980"/>
                </a:lnTo>
                <a:lnTo>
                  <a:pt x="6134" y="1990"/>
                </a:lnTo>
                <a:lnTo>
                  <a:pt x="6143" y="2000"/>
                </a:lnTo>
                <a:lnTo>
                  <a:pt x="6151" y="2010"/>
                </a:lnTo>
                <a:lnTo>
                  <a:pt x="6159" y="2020"/>
                </a:lnTo>
                <a:lnTo>
                  <a:pt x="6167" y="2031"/>
                </a:lnTo>
                <a:lnTo>
                  <a:pt x="6175" y="2043"/>
                </a:lnTo>
                <a:lnTo>
                  <a:pt x="6181" y="2055"/>
                </a:lnTo>
                <a:lnTo>
                  <a:pt x="6187" y="2067"/>
                </a:lnTo>
                <a:lnTo>
                  <a:pt x="6192" y="2079"/>
                </a:lnTo>
                <a:lnTo>
                  <a:pt x="6197" y="2091"/>
                </a:lnTo>
                <a:lnTo>
                  <a:pt x="6201" y="2104"/>
                </a:lnTo>
                <a:lnTo>
                  <a:pt x="6204" y="2117"/>
                </a:lnTo>
                <a:lnTo>
                  <a:pt x="6207" y="2130"/>
                </a:lnTo>
                <a:lnTo>
                  <a:pt x="6210" y="2143"/>
                </a:lnTo>
                <a:lnTo>
                  <a:pt x="6211" y="2157"/>
                </a:lnTo>
                <a:lnTo>
                  <a:pt x="6212" y="2170"/>
                </a:lnTo>
                <a:lnTo>
                  <a:pt x="6213" y="2183"/>
                </a:lnTo>
                <a:lnTo>
                  <a:pt x="6212" y="2197"/>
                </a:lnTo>
                <a:lnTo>
                  <a:pt x="6212" y="2211"/>
                </a:lnTo>
                <a:lnTo>
                  <a:pt x="6210" y="2224"/>
                </a:lnTo>
                <a:lnTo>
                  <a:pt x="6208" y="2237"/>
                </a:lnTo>
                <a:lnTo>
                  <a:pt x="6205" y="2251"/>
                </a:lnTo>
                <a:lnTo>
                  <a:pt x="6201" y="2265"/>
                </a:lnTo>
                <a:lnTo>
                  <a:pt x="6197" y="2278"/>
                </a:lnTo>
                <a:lnTo>
                  <a:pt x="6192" y="2291"/>
                </a:lnTo>
                <a:lnTo>
                  <a:pt x="6186" y="2304"/>
                </a:lnTo>
                <a:lnTo>
                  <a:pt x="6178" y="2321"/>
                </a:lnTo>
                <a:lnTo>
                  <a:pt x="6169" y="2336"/>
                </a:lnTo>
                <a:lnTo>
                  <a:pt x="6158" y="2351"/>
                </a:lnTo>
                <a:lnTo>
                  <a:pt x="6147" y="2365"/>
                </a:lnTo>
                <a:lnTo>
                  <a:pt x="6135" y="2378"/>
                </a:lnTo>
                <a:lnTo>
                  <a:pt x="6122" y="2390"/>
                </a:lnTo>
                <a:lnTo>
                  <a:pt x="6108" y="2401"/>
                </a:lnTo>
                <a:lnTo>
                  <a:pt x="6094" y="2412"/>
                </a:lnTo>
                <a:lnTo>
                  <a:pt x="6254" y="2812"/>
                </a:lnTo>
                <a:lnTo>
                  <a:pt x="6428" y="2812"/>
                </a:lnTo>
                <a:lnTo>
                  <a:pt x="6611" y="2446"/>
                </a:lnTo>
                <a:lnTo>
                  <a:pt x="9108" y="3608"/>
                </a:lnTo>
                <a:lnTo>
                  <a:pt x="9108" y="1765"/>
                </a:lnTo>
                <a:lnTo>
                  <a:pt x="9109" y="1752"/>
                </a:lnTo>
                <a:lnTo>
                  <a:pt x="9111" y="1738"/>
                </a:lnTo>
                <a:lnTo>
                  <a:pt x="9114" y="1724"/>
                </a:lnTo>
                <a:lnTo>
                  <a:pt x="9119" y="1712"/>
                </a:lnTo>
                <a:lnTo>
                  <a:pt x="9125" y="1700"/>
                </a:lnTo>
                <a:lnTo>
                  <a:pt x="9131" y="1689"/>
                </a:lnTo>
                <a:lnTo>
                  <a:pt x="9140" y="1677"/>
                </a:lnTo>
                <a:lnTo>
                  <a:pt x="9149" y="1668"/>
                </a:lnTo>
                <a:lnTo>
                  <a:pt x="9159" y="1659"/>
                </a:lnTo>
                <a:lnTo>
                  <a:pt x="9169" y="1651"/>
                </a:lnTo>
                <a:lnTo>
                  <a:pt x="9180" y="1644"/>
                </a:lnTo>
                <a:lnTo>
                  <a:pt x="9193" y="1638"/>
                </a:lnTo>
                <a:lnTo>
                  <a:pt x="9206" y="1634"/>
                </a:lnTo>
                <a:lnTo>
                  <a:pt x="9219" y="1630"/>
                </a:lnTo>
                <a:lnTo>
                  <a:pt x="9232" y="1628"/>
                </a:lnTo>
                <a:lnTo>
                  <a:pt x="9247" y="1628"/>
                </a:lnTo>
                <a:lnTo>
                  <a:pt x="9284" y="1628"/>
                </a:lnTo>
                <a:lnTo>
                  <a:pt x="9284" y="100"/>
                </a:lnTo>
                <a:lnTo>
                  <a:pt x="9284" y="94"/>
                </a:lnTo>
                <a:lnTo>
                  <a:pt x="9285" y="89"/>
                </a:lnTo>
                <a:lnTo>
                  <a:pt x="9286" y="84"/>
                </a:lnTo>
                <a:lnTo>
                  <a:pt x="9288" y="79"/>
                </a:lnTo>
                <a:lnTo>
                  <a:pt x="9294" y="68"/>
                </a:lnTo>
                <a:lnTo>
                  <a:pt x="9301" y="60"/>
                </a:lnTo>
                <a:lnTo>
                  <a:pt x="9309" y="54"/>
                </a:lnTo>
                <a:lnTo>
                  <a:pt x="9318" y="49"/>
                </a:lnTo>
                <a:lnTo>
                  <a:pt x="9323" y="47"/>
                </a:lnTo>
                <a:lnTo>
                  <a:pt x="9328" y="46"/>
                </a:lnTo>
                <a:lnTo>
                  <a:pt x="9333" y="45"/>
                </a:lnTo>
                <a:lnTo>
                  <a:pt x="9339" y="45"/>
                </a:lnTo>
                <a:lnTo>
                  <a:pt x="9463" y="45"/>
                </a:lnTo>
                <a:lnTo>
                  <a:pt x="9468" y="45"/>
                </a:lnTo>
                <a:lnTo>
                  <a:pt x="9473" y="46"/>
                </a:lnTo>
                <a:lnTo>
                  <a:pt x="9479" y="47"/>
                </a:lnTo>
                <a:lnTo>
                  <a:pt x="9484" y="49"/>
                </a:lnTo>
                <a:lnTo>
                  <a:pt x="9493" y="54"/>
                </a:lnTo>
                <a:lnTo>
                  <a:pt x="9501" y="60"/>
                </a:lnTo>
                <a:lnTo>
                  <a:pt x="9505" y="64"/>
                </a:lnTo>
                <a:lnTo>
                  <a:pt x="9508" y="68"/>
                </a:lnTo>
                <a:lnTo>
                  <a:pt x="9511" y="73"/>
                </a:lnTo>
                <a:lnTo>
                  <a:pt x="9513" y="79"/>
                </a:lnTo>
                <a:lnTo>
                  <a:pt x="9515" y="84"/>
                </a:lnTo>
                <a:lnTo>
                  <a:pt x="9516" y="89"/>
                </a:lnTo>
                <a:lnTo>
                  <a:pt x="9517" y="94"/>
                </a:lnTo>
                <a:lnTo>
                  <a:pt x="9517" y="100"/>
                </a:lnTo>
                <a:lnTo>
                  <a:pt x="9517" y="1628"/>
                </a:lnTo>
                <a:lnTo>
                  <a:pt x="9555" y="1628"/>
                </a:lnTo>
                <a:lnTo>
                  <a:pt x="9569" y="1628"/>
                </a:lnTo>
                <a:lnTo>
                  <a:pt x="9583" y="1630"/>
                </a:lnTo>
                <a:lnTo>
                  <a:pt x="9596" y="1634"/>
                </a:lnTo>
                <a:lnTo>
                  <a:pt x="9608" y="1638"/>
                </a:lnTo>
                <a:lnTo>
                  <a:pt x="9621" y="1644"/>
                </a:lnTo>
                <a:lnTo>
                  <a:pt x="9632" y="1651"/>
                </a:lnTo>
                <a:lnTo>
                  <a:pt x="9643" y="1659"/>
                </a:lnTo>
                <a:lnTo>
                  <a:pt x="9652" y="1668"/>
                </a:lnTo>
                <a:lnTo>
                  <a:pt x="9661" y="1677"/>
                </a:lnTo>
                <a:lnTo>
                  <a:pt x="9670" y="1689"/>
                </a:lnTo>
                <a:lnTo>
                  <a:pt x="9677" y="1700"/>
                </a:lnTo>
                <a:lnTo>
                  <a:pt x="9683" y="1712"/>
                </a:lnTo>
                <a:lnTo>
                  <a:pt x="9687" y="1724"/>
                </a:lnTo>
                <a:lnTo>
                  <a:pt x="9690" y="1738"/>
                </a:lnTo>
                <a:lnTo>
                  <a:pt x="9693" y="1752"/>
                </a:lnTo>
                <a:lnTo>
                  <a:pt x="9693" y="1765"/>
                </a:lnTo>
                <a:lnTo>
                  <a:pt x="9693" y="3859"/>
                </a:lnTo>
                <a:lnTo>
                  <a:pt x="9693" y="3869"/>
                </a:lnTo>
                <a:lnTo>
                  <a:pt x="9692" y="3879"/>
                </a:lnTo>
                <a:lnTo>
                  <a:pt x="10884" y="4433"/>
                </a:lnTo>
                <a:lnTo>
                  <a:pt x="15127" y="4433"/>
                </a:lnTo>
                <a:lnTo>
                  <a:pt x="15162" y="4433"/>
                </a:lnTo>
                <a:lnTo>
                  <a:pt x="15195" y="4452"/>
                </a:lnTo>
                <a:lnTo>
                  <a:pt x="16072" y="4958"/>
                </a:lnTo>
                <a:lnTo>
                  <a:pt x="16141" y="4999"/>
                </a:lnTo>
                <a:lnTo>
                  <a:pt x="16141" y="5077"/>
                </a:lnTo>
                <a:lnTo>
                  <a:pt x="16141" y="6570"/>
                </a:lnTo>
                <a:lnTo>
                  <a:pt x="16169" y="6570"/>
                </a:lnTo>
                <a:lnTo>
                  <a:pt x="16308" y="6570"/>
                </a:lnTo>
                <a:lnTo>
                  <a:pt x="16308" y="6708"/>
                </a:lnTo>
                <a:lnTo>
                  <a:pt x="16308" y="7828"/>
                </a:lnTo>
                <a:lnTo>
                  <a:pt x="16308" y="7966"/>
                </a:lnTo>
                <a:lnTo>
                  <a:pt x="16169" y="7966"/>
                </a:lnTo>
                <a:lnTo>
                  <a:pt x="14120" y="7966"/>
                </a:lnTo>
                <a:lnTo>
                  <a:pt x="14105" y="7986"/>
                </a:lnTo>
                <a:lnTo>
                  <a:pt x="14089" y="8004"/>
                </a:lnTo>
                <a:lnTo>
                  <a:pt x="14073" y="8022"/>
                </a:lnTo>
                <a:lnTo>
                  <a:pt x="14056" y="8041"/>
                </a:lnTo>
                <a:lnTo>
                  <a:pt x="14039" y="8058"/>
                </a:lnTo>
                <a:lnTo>
                  <a:pt x="14021" y="8075"/>
                </a:lnTo>
                <a:lnTo>
                  <a:pt x="14002" y="8092"/>
                </a:lnTo>
                <a:lnTo>
                  <a:pt x="13984" y="8108"/>
                </a:lnTo>
                <a:lnTo>
                  <a:pt x="13965" y="8123"/>
                </a:lnTo>
                <a:lnTo>
                  <a:pt x="13945" y="8139"/>
                </a:lnTo>
                <a:lnTo>
                  <a:pt x="13925" y="8153"/>
                </a:lnTo>
                <a:lnTo>
                  <a:pt x="13905" y="8166"/>
                </a:lnTo>
                <a:lnTo>
                  <a:pt x="13884" y="8180"/>
                </a:lnTo>
                <a:lnTo>
                  <a:pt x="13863" y="8193"/>
                </a:lnTo>
                <a:lnTo>
                  <a:pt x="13841" y="8205"/>
                </a:lnTo>
                <a:lnTo>
                  <a:pt x="13819" y="8216"/>
                </a:lnTo>
                <a:lnTo>
                  <a:pt x="13798" y="8227"/>
                </a:lnTo>
                <a:lnTo>
                  <a:pt x="13774" y="8237"/>
                </a:lnTo>
                <a:lnTo>
                  <a:pt x="13752" y="8248"/>
                </a:lnTo>
                <a:lnTo>
                  <a:pt x="13728" y="8256"/>
                </a:lnTo>
                <a:lnTo>
                  <a:pt x="13705" y="8265"/>
                </a:lnTo>
                <a:lnTo>
                  <a:pt x="13680" y="8272"/>
                </a:lnTo>
                <a:lnTo>
                  <a:pt x="13656" y="8279"/>
                </a:lnTo>
                <a:lnTo>
                  <a:pt x="13631" y="8285"/>
                </a:lnTo>
                <a:lnTo>
                  <a:pt x="13607" y="8292"/>
                </a:lnTo>
                <a:lnTo>
                  <a:pt x="13583" y="8297"/>
                </a:lnTo>
                <a:lnTo>
                  <a:pt x="13557" y="8301"/>
                </a:lnTo>
                <a:lnTo>
                  <a:pt x="13532" y="8304"/>
                </a:lnTo>
                <a:lnTo>
                  <a:pt x="13506" y="8307"/>
                </a:lnTo>
                <a:lnTo>
                  <a:pt x="13480" y="8309"/>
                </a:lnTo>
                <a:lnTo>
                  <a:pt x="13453" y="8310"/>
                </a:lnTo>
                <a:lnTo>
                  <a:pt x="13428" y="8310"/>
                </a:lnTo>
                <a:lnTo>
                  <a:pt x="4970" y="8310"/>
                </a:lnTo>
                <a:lnTo>
                  <a:pt x="4925" y="8309"/>
                </a:lnTo>
                <a:lnTo>
                  <a:pt x="4881" y="8306"/>
                </a:lnTo>
                <a:lnTo>
                  <a:pt x="4837" y="8300"/>
                </a:lnTo>
                <a:lnTo>
                  <a:pt x="4795" y="8293"/>
                </a:lnTo>
                <a:lnTo>
                  <a:pt x="4753" y="8282"/>
                </a:lnTo>
                <a:lnTo>
                  <a:pt x="4711" y="8270"/>
                </a:lnTo>
                <a:lnTo>
                  <a:pt x="4670" y="8257"/>
                </a:lnTo>
                <a:lnTo>
                  <a:pt x="4630" y="8242"/>
                </a:lnTo>
                <a:lnTo>
                  <a:pt x="4592" y="8223"/>
                </a:lnTo>
                <a:lnTo>
                  <a:pt x="4555" y="8204"/>
                </a:lnTo>
                <a:lnTo>
                  <a:pt x="4518" y="8183"/>
                </a:lnTo>
                <a:lnTo>
                  <a:pt x="4483" y="8160"/>
                </a:lnTo>
                <a:lnTo>
                  <a:pt x="4448" y="8136"/>
                </a:lnTo>
                <a:lnTo>
                  <a:pt x="4415" y="8110"/>
                </a:lnTo>
                <a:lnTo>
                  <a:pt x="4384" y="8082"/>
                </a:lnTo>
                <a:lnTo>
                  <a:pt x="4353" y="8054"/>
                </a:lnTo>
                <a:lnTo>
                  <a:pt x="4325" y="8023"/>
                </a:lnTo>
                <a:lnTo>
                  <a:pt x="4297" y="7992"/>
                </a:lnTo>
                <a:lnTo>
                  <a:pt x="4271" y="7958"/>
                </a:lnTo>
                <a:lnTo>
                  <a:pt x="4246" y="7924"/>
                </a:lnTo>
                <a:lnTo>
                  <a:pt x="4224" y="7889"/>
                </a:lnTo>
                <a:lnTo>
                  <a:pt x="4202" y="7852"/>
                </a:lnTo>
                <a:lnTo>
                  <a:pt x="4183" y="7814"/>
                </a:lnTo>
                <a:lnTo>
                  <a:pt x="4166" y="7776"/>
                </a:lnTo>
                <a:lnTo>
                  <a:pt x="4150" y="7736"/>
                </a:lnTo>
                <a:lnTo>
                  <a:pt x="4136" y="7696"/>
                </a:lnTo>
                <a:lnTo>
                  <a:pt x="4124" y="7654"/>
                </a:lnTo>
                <a:lnTo>
                  <a:pt x="4115" y="7612"/>
                </a:lnTo>
                <a:lnTo>
                  <a:pt x="4107" y="7570"/>
                </a:lnTo>
                <a:lnTo>
                  <a:pt x="4101" y="7526"/>
                </a:lnTo>
                <a:lnTo>
                  <a:pt x="4098" y="7482"/>
                </a:lnTo>
                <a:lnTo>
                  <a:pt x="4096" y="7437"/>
                </a:lnTo>
                <a:lnTo>
                  <a:pt x="4096" y="7436"/>
                </a:lnTo>
                <a:lnTo>
                  <a:pt x="4097" y="7423"/>
                </a:lnTo>
                <a:lnTo>
                  <a:pt x="4096" y="7428"/>
                </a:lnTo>
                <a:lnTo>
                  <a:pt x="3950" y="7428"/>
                </a:lnTo>
                <a:lnTo>
                  <a:pt x="3950" y="7157"/>
                </a:lnTo>
                <a:lnTo>
                  <a:pt x="3791" y="7157"/>
                </a:lnTo>
                <a:lnTo>
                  <a:pt x="4142" y="8131"/>
                </a:lnTo>
                <a:lnTo>
                  <a:pt x="4208" y="8316"/>
                </a:lnTo>
                <a:lnTo>
                  <a:pt x="4013" y="8316"/>
                </a:lnTo>
                <a:lnTo>
                  <a:pt x="3770" y="8316"/>
                </a:lnTo>
                <a:lnTo>
                  <a:pt x="3529" y="8316"/>
                </a:lnTo>
                <a:lnTo>
                  <a:pt x="3286" y="8316"/>
                </a:lnTo>
                <a:lnTo>
                  <a:pt x="3044" y="8316"/>
                </a:lnTo>
                <a:lnTo>
                  <a:pt x="2802" y="8316"/>
                </a:lnTo>
                <a:lnTo>
                  <a:pt x="2560" y="8316"/>
                </a:lnTo>
                <a:lnTo>
                  <a:pt x="2318" y="8316"/>
                </a:lnTo>
                <a:lnTo>
                  <a:pt x="2076" y="8316"/>
                </a:lnTo>
                <a:lnTo>
                  <a:pt x="1835" y="8316"/>
                </a:lnTo>
                <a:lnTo>
                  <a:pt x="1592" y="8316"/>
                </a:lnTo>
                <a:lnTo>
                  <a:pt x="1351" y="8316"/>
                </a:lnTo>
                <a:lnTo>
                  <a:pt x="1108" y="8316"/>
                </a:lnTo>
                <a:lnTo>
                  <a:pt x="866" y="8316"/>
                </a:lnTo>
                <a:lnTo>
                  <a:pt x="624" y="8316"/>
                </a:lnTo>
                <a:lnTo>
                  <a:pt x="382" y="8316"/>
                </a:lnTo>
                <a:lnTo>
                  <a:pt x="140" y="8316"/>
                </a:lnTo>
                <a:lnTo>
                  <a:pt x="2" y="8316"/>
                </a:lnTo>
                <a:lnTo>
                  <a:pt x="2" y="8177"/>
                </a:lnTo>
                <a:lnTo>
                  <a:pt x="0" y="7018"/>
                </a:lnTo>
                <a:lnTo>
                  <a:pt x="0" y="6880"/>
                </a:lnTo>
                <a:lnTo>
                  <a:pt x="138" y="6880"/>
                </a:lnTo>
                <a:lnTo>
                  <a:pt x="147" y="6880"/>
                </a:lnTo>
                <a:lnTo>
                  <a:pt x="147" y="6529"/>
                </a:lnTo>
                <a:lnTo>
                  <a:pt x="148" y="6508"/>
                </a:lnTo>
                <a:lnTo>
                  <a:pt x="150" y="6488"/>
                </a:lnTo>
                <a:lnTo>
                  <a:pt x="152" y="6466"/>
                </a:lnTo>
                <a:lnTo>
                  <a:pt x="156" y="6446"/>
                </a:lnTo>
                <a:lnTo>
                  <a:pt x="160" y="6426"/>
                </a:lnTo>
                <a:lnTo>
                  <a:pt x="166" y="6406"/>
                </a:lnTo>
                <a:lnTo>
                  <a:pt x="172" y="6388"/>
                </a:lnTo>
                <a:lnTo>
                  <a:pt x="180" y="6368"/>
                </a:lnTo>
                <a:lnTo>
                  <a:pt x="189" y="6350"/>
                </a:lnTo>
                <a:lnTo>
                  <a:pt x="198" y="6333"/>
                </a:lnTo>
                <a:lnTo>
                  <a:pt x="208" y="6315"/>
                </a:lnTo>
                <a:lnTo>
                  <a:pt x="218" y="6298"/>
                </a:lnTo>
                <a:lnTo>
                  <a:pt x="229" y="6282"/>
                </a:lnTo>
                <a:lnTo>
                  <a:pt x="243" y="6266"/>
                </a:lnTo>
                <a:lnTo>
                  <a:pt x="255" y="6251"/>
                </a:lnTo>
                <a:lnTo>
                  <a:pt x="269" y="6237"/>
                </a:lnTo>
                <a:lnTo>
                  <a:pt x="283" y="6222"/>
                </a:lnTo>
                <a:lnTo>
                  <a:pt x="299" y="6210"/>
                </a:lnTo>
                <a:lnTo>
                  <a:pt x="314" y="6198"/>
                </a:lnTo>
                <a:lnTo>
                  <a:pt x="330" y="6186"/>
                </a:lnTo>
                <a:lnTo>
                  <a:pt x="347" y="6176"/>
                </a:lnTo>
                <a:lnTo>
                  <a:pt x="365" y="6165"/>
                </a:lnTo>
                <a:lnTo>
                  <a:pt x="382" y="6156"/>
                </a:lnTo>
                <a:lnTo>
                  <a:pt x="401" y="6148"/>
                </a:lnTo>
                <a:lnTo>
                  <a:pt x="420" y="6140"/>
                </a:lnTo>
                <a:lnTo>
                  <a:pt x="438" y="6134"/>
                </a:lnTo>
                <a:lnTo>
                  <a:pt x="459" y="6128"/>
                </a:lnTo>
                <a:lnTo>
                  <a:pt x="478" y="6124"/>
                </a:lnTo>
                <a:lnTo>
                  <a:pt x="498" y="6119"/>
                </a:lnTo>
                <a:lnTo>
                  <a:pt x="520" y="6117"/>
                </a:lnTo>
                <a:lnTo>
                  <a:pt x="540" y="6115"/>
                </a:lnTo>
                <a:lnTo>
                  <a:pt x="562" y="6115"/>
                </a:lnTo>
                <a:lnTo>
                  <a:pt x="1507" y="6115"/>
                </a:lnTo>
                <a:lnTo>
                  <a:pt x="1507" y="6076"/>
                </a:lnTo>
                <a:lnTo>
                  <a:pt x="1507" y="5938"/>
                </a:lnTo>
                <a:lnTo>
                  <a:pt x="1646" y="5938"/>
                </a:lnTo>
                <a:lnTo>
                  <a:pt x="2302" y="5938"/>
                </a:lnTo>
                <a:lnTo>
                  <a:pt x="2302" y="5647"/>
                </a:lnTo>
                <a:lnTo>
                  <a:pt x="2302" y="5633"/>
                </a:lnTo>
                <a:lnTo>
                  <a:pt x="2304" y="5619"/>
                </a:lnTo>
                <a:lnTo>
                  <a:pt x="2306" y="5605"/>
                </a:lnTo>
                <a:lnTo>
                  <a:pt x="2308" y="5591"/>
                </a:lnTo>
                <a:lnTo>
                  <a:pt x="2311" y="5578"/>
                </a:lnTo>
                <a:lnTo>
                  <a:pt x="2315" y="5565"/>
                </a:lnTo>
                <a:lnTo>
                  <a:pt x="2319" y="5552"/>
                </a:lnTo>
                <a:lnTo>
                  <a:pt x="2324" y="5539"/>
                </a:lnTo>
                <a:lnTo>
                  <a:pt x="2330" y="5527"/>
                </a:lnTo>
                <a:lnTo>
                  <a:pt x="2336" y="5515"/>
                </a:lnTo>
                <a:lnTo>
                  <a:pt x="2342" y="5504"/>
                </a:lnTo>
                <a:lnTo>
                  <a:pt x="2349" y="5492"/>
                </a:lnTo>
                <a:lnTo>
                  <a:pt x="2358" y="5481"/>
                </a:lnTo>
                <a:lnTo>
                  <a:pt x="2366" y="5471"/>
                </a:lnTo>
                <a:lnTo>
                  <a:pt x="2374" y="5461"/>
                </a:lnTo>
                <a:lnTo>
                  <a:pt x="2383" y="5452"/>
                </a:lnTo>
                <a:lnTo>
                  <a:pt x="2384" y="5452"/>
                </a:lnTo>
                <a:lnTo>
                  <a:pt x="2393" y="5442"/>
                </a:lnTo>
                <a:lnTo>
                  <a:pt x="2403" y="5434"/>
                </a:lnTo>
                <a:lnTo>
                  <a:pt x="2414" y="5426"/>
                </a:lnTo>
                <a:lnTo>
                  <a:pt x="2425" y="5418"/>
                </a:lnTo>
                <a:lnTo>
                  <a:pt x="2436" y="5411"/>
                </a:lnTo>
                <a:lnTo>
                  <a:pt x="2447" y="5404"/>
                </a:lnTo>
                <a:lnTo>
                  <a:pt x="2459" y="5397"/>
                </a:lnTo>
                <a:lnTo>
                  <a:pt x="2472" y="5392"/>
                </a:lnTo>
                <a:lnTo>
                  <a:pt x="2484" y="5387"/>
                </a:lnTo>
                <a:lnTo>
                  <a:pt x="2497" y="5383"/>
                </a:lnTo>
                <a:lnTo>
                  <a:pt x="2510" y="5379"/>
                </a:lnTo>
                <a:lnTo>
                  <a:pt x="2524" y="5376"/>
                </a:lnTo>
                <a:lnTo>
                  <a:pt x="2537" y="5374"/>
                </a:lnTo>
                <a:lnTo>
                  <a:pt x="2551" y="5372"/>
                </a:lnTo>
                <a:lnTo>
                  <a:pt x="2564" y="5371"/>
                </a:lnTo>
                <a:lnTo>
                  <a:pt x="2579" y="5370"/>
                </a:lnTo>
                <a:lnTo>
                  <a:pt x="3076" y="5370"/>
                </a:lnTo>
                <a:lnTo>
                  <a:pt x="3705" y="3047"/>
                </a:lnTo>
                <a:lnTo>
                  <a:pt x="3708" y="3048"/>
                </a:lnTo>
                <a:lnTo>
                  <a:pt x="3708" y="2812"/>
                </a:lnTo>
                <a:lnTo>
                  <a:pt x="3710" y="2812"/>
                </a:lnTo>
                <a:close/>
                <a:moveTo>
                  <a:pt x="14262" y="7689"/>
                </a:moveTo>
                <a:lnTo>
                  <a:pt x="14272" y="7659"/>
                </a:lnTo>
                <a:lnTo>
                  <a:pt x="14279" y="7629"/>
                </a:lnTo>
                <a:lnTo>
                  <a:pt x="14285" y="7597"/>
                </a:lnTo>
                <a:lnTo>
                  <a:pt x="14291" y="7565"/>
                </a:lnTo>
                <a:lnTo>
                  <a:pt x="14295" y="7534"/>
                </a:lnTo>
                <a:lnTo>
                  <a:pt x="14298" y="7502"/>
                </a:lnTo>
                <a:lnTo>
                  <a:pt x="14299" y="7470"/>
                </a:lnTo>
                <a:lnTo>
                  <a:pt x="14300" y="7437"/>
                </a:lnTo>
                <a:lnTo>
                  <a:pt x="14300" y="7436"/>
                </a:lnTo>
                <a:lnTo>
                  <a:pt x="14299" y="7394"/>
                </a:lnTo>
                <a:lnTo>
                  <a:pt x="14296" y="7352"/>
                </a:lnTo>
                <a:lnTo>
                  <a:pt x="14291" y="7312"/>
                </a:lnTo>
                <a:lnTo>
                  <a:pt x="14284" y="7271"/>
                </a:lnTo>
                <a:lnTo>
                  <a:pt x="14276" y="7230"/>
                </a:lnTo>
                <a:lnTo>
                  <a:pt x="14264" y="7191"/>
                </a:lnTo>
                <a:lnTo>
                  <a:pt x="14252" y="7152"/>
                </a:lnTo>
                <a:lnTo>
                  <a:pt x="14238" y="7115"/>
                </a:lnTo>
                <a:lnTo>
                  <a:pt x="14223" y="7078"/>
                </a:lnTo>
                <a:lnTo>
                  <a:pt x="14205" y="7041"/>
                </a:lnTo>
                <a:lnTo>
                  <a:pt x="14186" y="7007"/>
                </a:lnTo>
                <a:lnTo>
                  <a:pt x="14166" y="6972"/>
                </a:lnTo>
                <a:lnTo>
                  <a:pt x="14144" y="6939"/>
                </a:lnTo>
                <a:lnTo>
                  <a:pt x="14121" y="6907"/>
                </a:lnTo>
                <a:lnTo>
                  <a:pt x="14095" y="6876"/>
                </a:lnTo>
                <a:lnTo>
                  <a:pt x="14070" y="6847"/>
                </a:lnTo>
                <a:lnTo>
                  <a:pt x="16032" y="6847"/>
                </a:lnTo>
                <a:lnTo>
                  <a:pt x="16032" y="7689"/>
                </a:lnTo>
                <a:lnTo>
                  <a:pt x="14262" y="7689"/>
                </a:lnTo>
                <a:close/>
                <a:moveTo>
                  <a:pt x="3843" y="3595"/>
                </a:moveTo>
                <a:lnTo>
                  <a:pt x="3950" y="3595"/>
                </a:lnTo>
                <a:lnTo>
                  <a:pt x="3950" y="5938"/>
                </a:lnTo>
                <a:lnTo>
                  <a:pt x="3695" y="5938"/>
                </a:lnTo>
                <a:lnTo>
                  <a:pt x="3695" y="5647"/>
                </a:lnTo>
                <a:lnTo>
                  <a:pt x="3694" y="5633"/>
                </a:lnTo>
                <a:lnTo>
                  <a:pt x="3693" y="5619"/>
                </a:lnTo>
                <a:lnTo>
                  <a:pt x="3691" y="5606"/>
                </a:lnTo>
                <a:lnTo>
                  <a:pt x="3689" y="5591"/>
                </a:lnTo>
                <a:lnTo>
                  <a:pt x="3686" y="5578"/>
                </a:lnTo>
                <a:lnTo>
                  <a:pt x="3682" y="5566"/>
                </a:lnTo>
                <a:lnTo>
                  <a:pt x="3677" y="5552"/>
                </a:lnTo>
                <a:lnTo>
                  <a:pt x="3672" y="5540"/>
                </a:lnTo>
                <a:lnTo>
                  <a:pt x="3667" y="5528"/>
                </a:lnTo>
                <a:lnTo>
                  <a:pt x="3661" y="5516"/>
                </a:lnTo>
                <a:lnTo>
                  <a:pt x="3654" y="5505"/>
                </a:lnTo>
                <a:lnTo>
                  <a:pt x="3647" y="5493"/>
                </a:lnTo>
                <a:lnTo>
                  <a:pt x="3640" y="5482"/>
                </a:lnTo>
                <a:lnTo>
                  <a:pt x="3631" y="5472"/>
                </a:lnTo>
                <a:lnTo>
                  <a:pt x="3622" y="5462"/>
                </a:lnTo>
                <a:lnTo>
                  <a:pt x="3613" y="5453"/>
                </a:lnTo>
                <a:lnTo>
                  <a:pt x="3612" y="5452"/>
                </a:lnTo>
                <a:lnTo>
                  <a:pt x="3603" y="5442"/>
                </a:lnTo>
                <a:lnTo>
                  <a:pt x="3593" y="5433"/>
                </a:lnTo>
                <a:lnTo>
                  <a:pt x="3583" y="5425"/>
                </a:lnTo>
                <a:lnTo>
                  <a:pt x="3571" y="5418"/>
                </a:lnTo>
                <a:lnTo>
                  <a:pt x="3560" y="5411"/>
                </a:lnTo>
                <a:lnTo>
                  <a:pt x="3549" y="5404"/>
                </a:lnTo>
                <a:lnTo>
                  <a:pt x="3537" y="5397"/>
                </a:lnTo>
                <a:lnTo>
                  <a:pt x="3525" y="5392"/>
                </a:lnTo>
                <a:lnTo>
                  <a:pt x="3512" y="5387"/>
                </a:lnTo>
                <a:lnTo>
                  <a:pt x="3499" y="5383"/>
                </a:lnTo>
                <a:lnTo>
                  <a:pt x="3487" y="5379"/>
                </a:lnTo>
                <a:lnTo>
                  <a:pt x="3474" y="5376"/>
                </a:lnTo>
                <a:lnTo>
                  <a:pt x="3459" y="5374"/>
                </a:lnTo>
                <a:lnTo>
                  <a:pt x="3446" y="5372"/>
                </a:lnTo>
                <a:lnTo>
                  <a:pt x="3432" y="5371"/>
                </a:lnTo>
                <a:lnTo>
                  <a:pt x="3418" y="5370"/>
                </a:lnTo>
                <a:lnTo>
                  <a:pt x="3363" y="5370"/>
                </a:lnTo>
                <a:lnTo>
                  <a:pt x="3843" y="3595"/>
                </a:lnTo>
                <a:close/>
                <a:moveTo>
                  <a:pt x="3950" y="6214"/>
                </a:moveTo>
                <a:lnTo>
                  <a:pt x="3950" y="6880"/>
                </a:lnTo>
                <a:lnTo>
                  <a:pt x="3691" y="6880"/>
                </a:lnTo>
                <a:lnTo>
                  <a:pt x="3594" y="6880"/>
                </a:lnTo>
                <a:lnTo>
                  <a:pt x="1785" y="6880"/>
                </a:lnTo>
                <a:lnTo>
                  <a:pt x="1785" y="6253"/>
                </a:lnTo>
                <a:lnTo>
                  <a:pt x="1785" y="6214"/>
                </a:lnTo>
                <a:lnTo>
                  <a:pt x="2302" y="6214"/>
                </a:lnTo>
                <a:lnTo>
                  <a:pt x="2440" y="6214"/>
                </a:lnTo>
                <a:lnTo>
                  <a:pt x="3556" y="6214"/>
                </a:lnTo>
                <a:lnTo>
                  <a:pt x="3695" y="6214"/>
                </a:lnTo>
                <a:lnTo>
                  <a:pt x="3950" y="6214"/>
                </a:lnTo>
                <a:close/>
                <a:moveTo>
                  <a:pt x="2579" y="5938"/>
                </a:moveTo>
                <a:lnTo>
                  <a:pt x="3418" y="5938"/>
                </a:lnTo>
                <a:lnTo>
                  <a:pt x="3418" y="5647"/>
                </a:lnTo>
                <a:lnTo>
                  <a:pt x="3418" y="5646"/>
                </a:lnTo>
                <a:lnTo>
                  <a:pt x="3418" y="5646"/>
                </a:lnTo>
                <a:lnTo>
                  <a:pt x="3418" y="5647"/>
                </a:lnTo>
                <a:lnTo>
                  <a:pt x="2579" y="5647"/>
                </a:lnTo>
                <a:lnTo>
                  <a:pt x="2579" y="5647"/>
                </a:lnTo>
                <a:lnTo>
                  <a:pt x="2579" y="5647"/>
                </a:lnTo>
                <a:lnTo>
                  <a:pt x="2579" y="5938"/>
                </a:lnTo>
                <a:close/>
                <a:moveTo>
                  <a:pt x="3419" y="5647"/>
                </a:moveTo>
                <a:lnTo>
                  <a:pt x="3419" y="5647"/>
                </a:lnTo>
                <a:lnTo>
                  <a:pt x="3418" y="5647"/>
                </a:lnTo>
                <a:lnTo>
                  <a:pt x="3419" y="5647"/>
                </a:lnTo>
                <a:close/>
                <a:moveTo>
                  <a:pt x="3419" y="5647"/>
                </a:moveTo>
                <a:lnTo>
                  <a:pt x="3418" y="5646"/>
                </a:lnTo>
                <a:lnTo>
                  <a:pt x="3419" y="5647"/>
                </a:lnTo>
                <a:close/>
                <a:moveTo>
                  <a:pt x="424" y="6880"/>
                </a:moveTo>
                <a:lnTo>
                  <a:pt x="1468" y="6880"/>
                </a:lnTo>
                <a:lnTo>
                  <a:pt x="1507" y="6880"/>
                </a:lnTo>
                <a:lnTo>
                  <a:pt x="1507" y="6392"/>
                </a:lnTo>
                <a:lnTo>
                  <a:pt x="562" y="6392"/>
                </a:lnTo>
                <a:lnTo>
                  <a:pt x="547" y="6392"/>
                </a:lnTo>
                <a:lnTo>
                  <a:pt x="534" y="6395"/>
                </a:lnTo>
                <a:lnTo>
                  <a:pt x="521" y="6398"/>
                </a:lnTo>
                <a:lnTo>
                  <a:pt x="509" y="6403"/>
                </a:lnTo>
                <a:lnTo>
                  <a:pt x="496" y="6408"/>
                </a:lnTo>
                <a:lnTo>
                  <a:pt x="485" y="6415"/>
                </a:lnTo>
                <a:lnTo>
                  <a:pt x="474" y="6423"/>
                </a:lnTo>
                <a:lnTo>
                  <a:pt x="465" y="6433"/>
                </a:lnTo>
                <a:lnTo>
                  <a:pt x="456" y="6442"/>
                </a:lnTo>
                <a:lnTo>
                  <a:pt x="447" y="6453"/>
                </a:lnTo>
                <a:lnTo>
                  <a:pt x="440" y="6464"/>
                </a:lnTo>
                <a:lnTo>
                  <a:pt x="434" y="6476"/>
                </a:lnTo>
                <a:lnTo>
                  <a:pt x="430" y="6489"/>
                </a:lnTo>
                <a:lnTo>
                  <a:pt x="426" y="6502"/>
                </a:lnTo>
                <a:lnTo>
                  <a:pt x="424" y="6516"/>
                </a:lnTo>
                <a:lnTo>
                  <a:pt x="424" y="6529"/>
                </a:lnTo>
                <a:lnTo>
                  <a:pt x="424" y="6880"/>
                </a:lnTo>
                <a:close/>
                <a:moveTo>
                  <a:pt x="1744" y="7157"/>
                </a:moveTo>
                <a:lnTo>
                  <a:pt x="1744" y="7459"/>
                </a:lnTo>
                <a:lnTo>
                  <a:pt x="3607" y="7459"/>
                </a:lnTo>
                <a:lnTo>
                  <a:pt x="3497" y="7157"/>
                </a:lnTo>
                <a:lnTo>
                  <a:pt x="1785" y="7157"/>
                </a:lnTo>
                <a:lnTo>
                  <a:pt x="1744" y="7157"/>
                </a:lnTo>
                <a:close/>
                <a:moveTo>
                  <a:pt x="3707" y="7737"/>
                </a:moveTo>
                <a:lnTo>
                  <a:pt x="1744" y="7737"/>
                </a:lnTo>
                <a:lnTo>
                  <a:pt x="1744" y="8040"/>
                </a:lnTo>
                <a:lnTo>
                  <a:pt x="3816" y="8040"/>
                </a:lnTo>
                <a:lnTo>
                  <a:pt x="3707" y="7737"/>
                </a:lnTo>
                <a:close/>
                <a:moveTo>
                  <a:pt x="276" y="7459"/>
                </a:moveTo>
                <a:lnTo>
                  <a:pt x="1468" y="7459"/>
                </a:lnTo>
                <a:lnTo>
                  <a:pt x="1468" y="7157"/>
                </a:lnTo>
                <a:lnTo>
                  <a:pt x="285" y="7157"/>
                </a:lnTo>
                <a:lnTo>
                  <a:pt x="276" y="7157"/>
                </a:lnTo>
                <a:lnTo>
                  <a:pt x="276" y="7459"/>
                </a:lnTo>
                <a:close/>
                <a:moveTo>
                  <a:pt x="1468" y="7737"/>
                </a:moveTo>
                <a:lnTo>
                  <a:pt x="277" y="7737"/>
                </a:lnTo>
                <a:lnTo>
                  <a:pt x="277" y="8040"/>
                </a:lnTo>
                <a:lnTo>
                  <a:pt x="1468" y="8040"/>
                </a:lnTo>
                <a:lnTo>
                  <a:pt x="1468" y="7737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katok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7142526" y="1115605"/>
            <a:ext cx="582930" cy="394335"/>
          </a:xfrm>
          <a:custGeom>
            <a:avLst/>
            <a:gdLst>
              <a:gd name="T0" fmla="*/ 8412 w 16320"/>
              <a:gd name="T1" fmla="*/ 7538 h 11039"/>
              <a:gd name="T2" fmla="*/ 12561 w 16320"/>
              <a:gd name="T3" fmla="*/ 10473 h 11039"/>
              <a:gd name="T4" fmla="*/ 14782 w 16320"/>
              <a:gd name="T5" fmla="*/ 10924 h 11039"/>
              <a:gd name="T6" fmla="*/ 15927 w 16320"/>
              <a:gd name="T7" fmla="*/ 10051 h 11039"/>
              <a:gd name="T8" fmla="*/ 16318 w 16320"/>
              <a:gd name="T9" fmla="*/ 8874 h 11039"/>
              <a:gd name="T10" fmla="*/ 16251 w 16320"/>
              <a:gd name="T11" fmla="*/ 8222 h 11039"/>
              <a:gd name="T12" fmla="*/ 10175 w 16320"/>
              <a:gd name="T13" fmla="*/ 4016 h 11039"/>
              <a:gd name="T14" fmla="*/ 10102 w 16320"/>
              <a:gd name="T15" fmla="*/ 3553 h 11039"/>
              <a:gd name="T16" fmla="*/ 9689 w 16320"/>
              <a:gd name="T17" fmla="*/ 3739 h 11039"/>
              <a:gd name="T18" fmla="*/ 9787 w 16320"/>
              <a:gd name="T19" fmla="*/ 4030 h 11039"/>
              <a:gd name="T20" fmla="*/ 12667 w 16320"/>
              <a:gd name="T21" fmla="*/ 7388 h 11039"/>
              <a:gd name="T22" fmla="*/ 11883 w 16320"/>
              <a:gd name="T23" fmla="*/ 5700 h 11039"/>
              <a:gd name="T24" fmla="*/ 15995 w 16320"/>
              <a:gd name="T25" fmla="*/ 8405 h 11039"/>
              <a:gd name="T26" fmla="*/ 15333 w 16320"/>
              <a:gd name="T27" fmla="*/ 10281 h 11039"/>
              <a:gd name="T28" fmla="*/ 13057 w 16320"/>
              <a:gd name="T29" fmla="*/ 10470 h 11039"/>
              <a:gd name="T30" fmla="*/ 12095 w 16320"/>
              <a:gd name="T31" fmla="*/ 8628 h 11039"/>
              <a:gd name="T32" fmla="*/ 12328 w 16320"/>
              <a:gd name="T33" fmla="*/ 7841 h 11039"/>
              <a:gd name="T34" fmla="*/ 13359 w 16320"/>
              <a:gd name="T35" fmla="*/ 6939 h 11039"/>
              <a:gd name="T36" fmla="*/ 3330 w 16320"/>
              <a:gd name="T37" fmla="*/ 8268 h 11039"/>
              <a:gd name="T38" fmla="*/ 3640 w 16320"/>
              <a:gd name="T39" fmla="*/ 8399 h 11039"/>
              <a:gd name="T40" fmla="*/ 3525 w 16320"/>
              <a:gd name="T41" fmla="*/ 9464 h 11039"/>
              <a:gd name="T42" fmla="*/ 887 w 16320"/>
              <a:gd name="T43" fmla="*/ 9365 h 11039"/>
              <a:gd name="T44" fmla="*/ 969 w 16320"/>
              <a:gd name="T45" fmla="*/ 8279 h 11039"/>
              <a:gd name="T46" fmla="*/ 897 w 16320"/>
              <a:gd name="T47" fmla="*/ 7624 h 11039"/>
              <a:gd name="T48" fmla="*/ 497 w 16320"/>
              <a:gd name="T49" fmla="*/ 8485 h 11039"/>
              <a:gd name="T50" fmla="*/ 778 w 16320"/>
              <a:gd name="T51" fmla="*/ 9778 h 11039"/>
              <a:gd name="T52" fmla="*/ 1989 w 16320"/>
              <a:gd name="T53" fmla="*/ 10546 h 11039"/>
              <a:gd name="T54" fmla="*/ 3399 w 16320"/>
              <a:gd name="T55" fmla="*/ 10158 h 11039"/>
              <a:gd name="T56" fmla="*/ 4047 w 16320"/>
              <a:gd name="T57" fmla="*/ 8871 h 11039"/>
              <a:gd name="T58" fmla="*/ 3824 w 16320"/>
              <a:gd name="T59" fmla="*/ 7909 h 11039"/>
              <a:gd name="T60" fmla="*/ 3252 w 16320"/>
              <a:gd name="T61" fmla="*/ 7514 h 11039"/>
              <a:gd name="T62" fmla="*/ 2961 w 16320"/>
              <a:gd name="T63" fmla="*/ 6939 h 11039"/>
              <a:gd name="T64" fmla="*/ 1171 w 16320"/>
              <a:gd name="T65" fmla="*/ 8558 h 11039"/>
              <a:gd name="T66" fmla="*/ 2326 w 16320"/>
              <a:gd name="T67" fmla="*/ 10748 h 11039"/>
              <a:gd name="T68" fmla="*/ 436 w 16320"/>
              <a:gd name="T69" fmla="*/ 9530 h 11039"/>
              <a:gd name="T70" fmla="*/ 380 w 16320"/>
              <a:gd name="T71" fmla="*/ 8194 h 11039"/>
              <a:gd name="T72" fmla="*/ 772 w 16320"/>
              <a:gd name="T73" fmla="*/ 7492 h 11039"/>
              <a:gd name="T74" fmla="*/ 1500 w 16320"/>
              <a:gd name="T75" fmla="*/ 6963 h 11039"/>
              <a:gd name="T76" fmla="*/ 4642 w 16320"/>
              <a:gd name="T77" fmla="*/ 5827 h 11039"/>
              <a:gd name="T78" fmla="*/ 4633 w 16320"/>
              <a:gd name="T79" fmla="*/ 6302 h 11039"/>
              <a:gd name="T80" fmla="*/ 3895 w 16320"/>
              <a:gd name="T81" fmla="*/ 7681 h 11039"/>
              <a:gd name="T82" fmla="*/ 4125 w 16320"/>
              <a:gd name="T83" fmla="*/ 9417 h 11039"/>
              <a:gd name="T84" fmla="*/ 6147 w 16320"/>
              <a:gd name="T85" fmla="*/ 5861 h 11039"/>
              <a:gd name="T86" fmla="*/ 5301 w 16320"/>
              <a:gd name="T87" fmla="*/ 4870 h 11039"/>
              <a:gd name="T88" fmla="*/ 223 w 16320"/>
              <a:gd name="T89" fmla="*/ 7799 h 11039"/>
              <a:gd name="T90" fmla="*/ 1 w 16320"/>
              <a:gd name="T91" fmla="*/ 8721 h 11039"/>
              <a:gd name="T92" fmla="*/ 1397 w 16320"/>
              <a:gd name="T93" fmla="*/ 10863 h 11039"/>
              <a:gd name="T94" fmla="*/ 3905 w 16320"/>
              <a:gd name="T95" fmla="*/ 10331 h 11039"/>
              <a:gd name="T96" fmla="*/ 12679 w 16320"/>
              <a:gd name="T97" fmla="*/ 9318 h 11039"/>
              <a:gd name="T98" fmla="*/ 12823 w 16320"/>
              <a:gd name="T99" fmla="*/ 8268 h 11039"/>
              <a:gd name="T100" fmla="*/ 12584 w 16320"/>
              <a:gd name="T101" fmla="*/ 7769 h 11039"/>
              <a:gd name="T102" fmla="*/ 12275 w 16320"/>
              <a:gd name="T103" fmla="*/ 8662 h 11039"/>
              <a:gd name="T104" fmla="*/ 12736 w 16320"/>
              <a:gd name="T105" fmla="*/ 9981 h 11039"/>
              <a:gd name="T106" fmla="*/ 14059 w 16320"/>
              <a:gd name="T107" fmla="*/ 10566 h 11039"/>
              <a:gd name="T108" fmla="*/ 15383 w 16320"/>
              <a:gd name="T109" fmla="*/ 9981 h 11039"/>
              <a:gd name="T110" fmla="*/ 15844 w 16320"/>
              <a:gd name="T111" fmla="*/ 8660 h 11039"/>
              <a:gd name="T112" fmla="*/ 15525 w 16320"/>
              <a:gd name="T113" fmla="*/ 7757 h 11039"/>
              <a:gd name="T114" fmla="*/ 15309 w 16320"/>
              <a:gd name="T115" fmla="*/ 8269 h 11039"/>
              <a:gd name="T116" fmla="*/ 15439 w 16320"/>
              <a:gd name="T117" fmla="*/ 9322 h 11039"/>
              <a:gd name="T118" fmla="*/ 15291 w 16320"/>
              <a:gd name="T119" fmla="*/ 9467 h 11039"/>
              <a:gd name="T120" fmla="*/ 12679 w 16320"/>
              <a:gd name="T121" fmla="*/ 9322 h 110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320" h="11039">
                <a:moveTo>
                  <a:pt x="13382" y="7282"/>
                </a:moveTo>
                <a:lnTo>
                  <a:pt x="13377" y="7330"/>
                </a:lnTo>
                <a:lnTo>
                  <a:pt x="13280" y="8268"/>
                </a:lnTo>
                <a:lnTo>
                  <a:pt x="14818" y="8268"/>
                </a:lnTo>
                <a:lnTo>
                  <a:pt x="14719" y="7313"/>
                </a:lnTo>
                <a:lnTo>
                  <a:pt x="14715" y="7282"/>
                </a:lnTo>
                <a:lnTo>
                  <a:pt x="14638" y="7279"/>
                </a:lnTo>
                <a:lnTo>
                  <a:pt x="14629" y="7280"/>
                </a:lnTo>
                <a:lnTo>
                  <a:pt x="14621" y="7282"/>
                </a:lnTo>
                <a:lnTo>
                  <a:pt x="13501" y="7282"/>
                </a:lnTo>
                <a:lnTo>
                  <a:pt x="13477" y="7282"/>
                </a:lnTo>
                <a:lnTo>
                  <a:pt x="13382" y="7282"/>
                </a:lnTo>
                <a:close/>
                <a:moveTo>
                  <a:pt x="8412" y="7538"/>
                </a:moveTo>
                <a:lnTo>
                  <a:pt x="7407" y="7538"/>
                </a:lnTo>
                <a:lnTo>
                  <a:pt x="7407" y="8920"/>
                </a:lnTo>
                <a:lnTo>
                  <a:pt x="8412" y="8920"/>
                </a:lnTo>
                <a:lnTo>
                  <a:pt x="8412" y="7538"/>
                </a:lnTo>
                <a:close/>
                <a:moveTo>
                  <a:pt x="7297" y="7428"/>
                </a:moveTo>
                <a:lnTo>
                  <a:pt x="8522" y="7428"/>
                </a:lnTo>
                <a:lnTo>
                  <a:pt x="8522" y="9030"/>
                </a:lnTo>
                <a:lnTo>
                  <a:pt x="7297" y="9030"/>
                </a:lnTo>
                <a:lnTo>
                  <a:pt x="7297" y="8975"/>
                </a:lnTo>
                <a:lnTo>
                  <a:pt x="7297" y="7428"/>
                </a:lnTo>
                <a:close/>
                <a:moveTo>
                  <a:pt x="6951" y="5745"/>
                </a:moveTo>
                <a:lnTo>
                  <a:pt x="6951" y="9510"/>
                </a:lnTo>
                <a:lnTo>
                  <a:pt x="11919" y="9510"/>
                </a:lnTo>
                <a:lnTo>
                  <a:pt x="11974" y="9654"/>
                </a:lnTo>
                <a:lnTo>
                  <a:pt x="12036" y="9791"/>
                </a:lnTo>
                <a:lnTo>
                  <a:pt x="12106" y="9922"/>
                </a:lnTo>
                <a:lnTo>
                  <a:pt x="12185" y="10045"/>
                </a:lnTo>
                <a:lnTo>
                  <a:pt x="12270" y="10163"/>
                </a:lnTo>
                <a:lnTo>
                  <a:pt x="12361" y="10273"/>
                </a:lnTo>
                <a:lnTo>
                  <a:pt x="12458" y="10376"/>
                </a:lnTo>
                <a:lnTo>
                  <a:pt x="12561" y="10473"/>
                </a:lnTo>
                <a:lnTo>
                  <a:pt x="12670" y="10563"/>
                </a:lnTo>
                <a:lnTo>
                  <a:pt x="12784" y="10644"/>
                </a:lnTo>
                <a:lnTo>
                  <a:pt x="12901" y="10719"/>
                </a:lnTo>
                <a:lnTo>
                  <a:pt x="13023" y="10786"/>
                </a:lnTo>
                <a:lnTo>
                  <a:pt x="13149" y="10845"/>
                </a:lnTo>
                <a:lnTo>
                  <a:pt x="13277" y="10897"/>
                </a:lnTo>
                <a:lnTo>
                  <a:pt x="13409" y="10941"/>
                </a:lnTo>
                <a:lnTo>
                  <a:pt x="13543" y="10977"/>
                </a:lnTo>
                <a:lnTo>
                  <a:pt x="13678" y="11005"/>
                </a:lnTo>
                <a:lnTo>
                  <a:pt x="13815" y="11025"/>
                </a:lnTo>
                <a:lnTo>
                  <a:pt x="13954" y="11036"/>
                </a:lnTo>
                <a:lnTo>
                  <a:pt x="14092" y="11039"/>
                </a:lnTo>
                <a:lnTo>
                  <a:pt x="14231" y="11033"/>
                </a:lnTo>
                <a:lnTo>
                  <a:pt x="14371" y="11019"/>
                </a:lnTo>
                <a:lnTo>
                  <a:pt x="14508" y="10996"/>
                </a:lnTo>
                <a:lnTo>
                  <a:pt x="14646" y="10965"/>
                </a:lnTo>
                <a:lnTo>
                  <a:pt x="14782" y="10924"/>
                </a:lnTo>
                <a:lnTo>
                  <a:pt x="14916" y="10874"/>
                </a:lnTo>
                <a:lnTo>
                  <a:pt x="15048" y="10815"/>
                </a:lnTo>
                <a:lnTo>
                  <a:pt x="15177" y="10746"/>
                </a:lnTo>
                <a:lnTo>
                  <a:pt x="15303" y="10668"/>
                </a:lnTo>
                <a:lnTo>
                  <a:pt x="15425" y="10581"/>
                </a:lnTo>
                <a:lnTo>
                  <a:pt x="15544" y="10483"/>
                </a:lnTo>
                <a:lnTo>
                  <a:pt x="15658" y="10377"/>
                </a:lnTo>
                <a:lnTo>
                  <a:pt x="15665" y="10368"/>
                </a:lnTo>
                <a:lnTo>
                  <a:pt x="15687" y="10347"/>
                </a:lnTo>
                <a:lnTo>
                  <a:pt x="15719" y="10313"/>
                </a:lnTo>
                <a:lnTo>
                  <a:pt x="15761" y="10266"/>
                </a:lnTo>
                <a:lnTo>
                  <a:pt x="15786" y="10238"/>
                </a:lnTo>
                <a:lnTo>
                  <a:pt x="15811" y="10207"/>
                </a:lnTo>
                <a:lnTo>
                  <a:pt x="15839" y="10172"/>
                </a:lnTo>
                <a:lnTo>
                  <a:pt x="15867" y="10135"/>
                </a:lnTo>
                <a:lnTo>
                  <a:pt x="15897" y="10095"/>
                </a:lnTo>
                <a:lnTo>
                  <a:pt x="15927" y="10051"/>
                </a:lnTo>
                <a:lnTo>
                  <a:pt x="15958" y="10005"/>
                </a:lnTo>
                <a:lnTo>
                  <a:pt x="15989" y="9956"/>
                </a:lnTo>
                <a:lnTo>
                  <a:pt x="16020" y="9903"/>
                </a:lnTo>
                <a:lnTo>
                  <a:pt x="16051" y="9848"/>
                </a:lnTo>
                <a:lnTo>
                  <a:pt x="16081" y="9790"/>
                </a:lnTo>
                <a:lnTo>
                  <a:pt x="16111" y="9729"/>
                </a:lnTo>
                <a:lnTo>
                  <a:pt x="16139" y="9666"/>
                </a:lnTo>
                <a:lnTo>
                  <a:pt x="16166" y="9599"/>
                </a:lnTo>
                <a:lnTo>
                  <a:pt x="16193" y="9529"/>
                </a:lnTo>
                <a:lnTo>
                  <a:pt x="16217" y="9457"/>
                </a:lnTo>
                <a:lnTo>
                  <a:pt x="16238" y="9381"/>
                </a:lnTo>
                <a:lnTo>
                  <a:pt x="16259" y="9304"/>
                </a:lnTo>
                <a:lnTo>
                  <a:pt x="16276" y="9223"/>
                </a:lnTo>
                <a:lnTo>
                  <a:pt x="16291" y="9140"/>
                </a:lnTo>
                <a:lnTo>
                  <a:pt x="16304" y="9053"/>
                </a:lnTo>
                <a:lnTo>
                  <a:pt x="16313" y="8965"/>
                </a:lnTo>
                <a:lnTo>
                  <a:pt x="16318" y="8874"/>
                </a:lnTo>
                <a:lnTo>
                  <a:pt x="16320" y="8779"/>
                </a:lnTo>
                <a:lnTo>
                  <a:pt x="16320" y="8743"/>
                </a:lnTo>
                <a:lnTo>
                  <a:pt x="16319" y="8708"/>
                </a:lnTo>
                <a:lnTo>
                  <a:pt x="16318" y="8672"/>
                </a:lnTo>
                <a:lnTo>
                  <a:pt x="16316" y="8636"/>
                </a:lnTo>
                <a:lnTo>
                  <a:pt x="16313" y="8601"/>
                </a:lnTo>
                <a:lnTo>
                  <a:pt x="16310" y="8566"/>
                </a:lnTo>
                <a:lnTo>
                  <a:pt x="16307" y="8530"/>
                </a:lnTo>
                <a:lnTo>
                  <a:pt x="16303" y="8496"/>
                </a:lnTo>
                <a:lnTo>
                  <a:pt x="16298" y="8461"/>
                </a:lnTo>
                <a:lnTo>
                  <a:pt x="16292" y="8426"/>
                </a:lnTo>
                <a:lnTo>
                  <a:pt x="16287" y="8392"/>
                </a:lnTo>
                <a:lnTo>
                  <a:pt x="16280" y="8358"/>
                </a:lnTo>
                <a:lnTo>
                  <a:pt x="16274" y="8323"/>
                </a:lnTo>
                <a:lnTo>
                  <a:pt x="16267" y="8290"/>
                </a:lnTo>
                <a:lnTo>
                  <a:pt x="16259" y="8256"/>
                </a:lnTo>
                <a:lnTo>
                  <a:pt x="16251" y="8222"/>
                </a:lnTo>
                <a:lnTo>
                  <a:pt x="16242" y="8190"/>
                </a:lnTo>
                <a:lnTo>
                  <a:pt x="16233" y="8156"/>
                </a:lnTo>
                <a:lnTo>
                  <a:pt x="16223" y="8124"/>
                </a:lnTo>
                <a:lnTo>
                  <a:pt x="16213" y="8091"/>
                </a:lnTo>
                <a:lnTo>
                  <a:pt x="16203" y="8058"/>
                </a:lnTo>
                <a:lnTo>
                  <a:pt x="16191" y="8026"/>
                </a:lnTo>
                <a:lnTo>
                  <a:pt x="16180" y="7994"/>
                </a:lnTo>
                <a:lnTo>
                  <a:pt x="16168" y="7962"/>
                </a:lnTo>
                <a:lnTo>
                  <a:pt x="16143" y="7899"/>
                </a:lnTo>
                <a:lnTo>
                  <a:pt x="16115" y="7837"/>
                </a:lnTo>
                <a:lnTo>
                  <a:pt x="16085" y="7777"/>
                </a:lnTo>
                <a:lnTo>
                  <a:pt x="16055" y="7717"/>
                </a:lnTo>
                <a:lnTo>
                  <a:pt x="16254" y="7030"/>
                </a:lnTo>
                <a:lnTo>
                  <a:pt x="10813" y="4439"/>
                </a:lnTo>
                <a:lnTo>
                  <a:pt x="10398" y="4694"/>
                </a:lnTo>
                <a:lnTo>
                  <a:pt x="10139" y="4044"/>
                </a:lnTo>
                <a:lnTo>
                  <a:pt x="10175" y="4016"/>
                </a:lnTo>
                <a:lnTo>
                  <a:pt x="10203" y="3988"/>
                </a:lnTo>
                <a:lnTo>
                  <a:pt x="10227" y="3959"/>
                </a:lnTo>
                <a:lnTo>
                  <a:pt x="10245" y="3929"/>
                </a:lnTo>
                <a:lnTo>
                  <a:pt x="10258" y="3898"/>
                </a:lnTo>
                <a:lnTo>
                  <a:pt x="10267" y="3868"/>
                </a:lnTo>
                <a:lnTo>
                  <a:pt x="10271" y="3837"/>
                </a:lnTo>
                <a:lnTo>
                  <a:pt x="10271" y="3805"/>
                </a:lnTo>
                <a:lnTo>
                  <a:pt x="10267" y="3775"/>
                </a:lnTo>
                <a:lnTo>
                  <a:pt x="10260" y="3745"/>
                </a:lnTo>
                <a:lnTo>
                  <a:pt x="10249" y="3716"/>
                </a:lnTo>
                <a:lnTo>
                  <a:pt x="10236" y="3688"/>
                </a:lnTo>
                <a:lnTo>
                  <a:pt x="10218" y="3661"/>
                </a:lnTo>
                <a:lnTo>
                  <a:pt x="10199" y="3636"/>
                </a:lnTo>
                <a:lnTo>
                  <a:pt x="10178" y="3612"/>
                </a:lnTo>
                <a:lnTo>
                  <a:pt x="10154" y="3590"/>
                </a:lnTo>
                <a:lnTo>
                  <a:pt x="10129" y="3570"/>
                </a:lnTo>
                <a:lnTo>
                  <a:pt x="10102" y="3553"/>
                </a:lnTo>
                <a:lnTo>
                  <a:pt x="10074" y="3538"/>
                </a:lnTo>
                <a:lnTo>
                  <a:pt x="10044" y="3526"/>
                </a:lnTo>
                <a:lnTo>
                  <a:pt x="10014" y="3517"/>
                </a:lnTo>
                <a:lnTo>
                  <a:pt x="9984" y="3511"/>
                </a:lnTo>
                <a:lnTo>
                  <a:pt x="9953" y="3509"/>
                </a:lnTo>
                <a:lnTo>
                  <a:pt x="9922" y="3511"/>
                </a:lnTo>
                <a:lnTo>
                  <a:pt x="9892" y="3516"/>
                </a:lnTo>
                <a:lnTo>
                  <a:pt x="9861" y="3525"/>
                </a:lnTo>
                <a:lnTo>
                  <a:pt x="9833" y="3538"/>
                </a:lnTo>
                <a:lnTo>
                  <a:pt x="9805" y="3557"/>
                </a:lnTo>
                <a:lnTo>
                  <a:pt x="9779" y="3580"/>
                </a:lnTo>
                <a:lnTo>
                  <a:pt x="9753" y="3609"/>
                </a:lnTo>
                <a:lnTo>
                  <a:pt x="9730" y="3641"/>
                </a:lnTo>
                <a:lnTo>
                  <a:pt x="9709" y="3680"/>
                </a:lnTo>
                <a:lnTo>
                  <a:pt x="9701" y="3700"/>
                </a:lnTo>
                <a:lnTo>
                  <a:pt x="9694" y="3720"/>
                </a:lnTo>
                <a:lnTo>
                  <a:pt x="9689" y="3739"/>
                </a:lnTo>
                <a:lnTo>
                  <a:pt x="9685" y="3758"/>
                </a:lnTo>
                <a:lnTo>
                  <a:pt x="9682" y="3778"/>
                </a:lnTo>
                <a:lnTo>
                  <a:pt x="9681" y="3797"/>
                </a:lnTo>
                <a:lnTo>
                  <a:pt x="9681" y="3817"/>
                </a:lnTo>
                <a:lnTo>
                  <a:pt x="9683" y="3836"/>
                </a:lnTo>
                <a:lnTo>
                  <a:pt x="9685" y="3855"/>
                </a:lnTo>
                <a:lnTo>
                  <a:pt x="9689" y="3874"/>
                </a:lnTo>
                <a:lnTo>
                  <a:pt x="9694" y="3891"/>
                </a:lnTo>
                <a:lnTo>
                  <a:pt x="9700" y="3909"/>
                </a:lnTo>
                <a:lnTo>
                  <a:pt x="9708" y="3927"/>
                </a:lnTo>
                <a:lnTo>
                  <a:pt x="9717" y="3943"/>
                </a:lnTo>
                <a:lnTo>
                  <a:pt x="9726" y="3959"/>
                </a:lnTo>
                <a:lnTo>
                  <a:pt x="9736" y="3975"/>
                </a:lnTo>
                <a:lnTo>
                  <a:pt x="9747" y="3990"/>
                </a:lnTo>
                <a:lnTo>
                  <a:pt x="9760" y="4003"/>
                </a:lnTo>
                <a:lnTo>
                  <a:pt x="9773" y="4016"/>
                </a:lnTo>
                <a:lnTo>
                  <a:pt x="9787" y="4030"/>
                </a:lnTo>
                <a:lnTo>
                  <a:pt x="9802" y="4041"/>
                </a:lnTo>
                <a:lnTo>
                  <a:pt x="9818" y="4051"/>
                </a:lnTo>
                <a:lnTo>
                  <a:pt x="9834" y="4061"/>
                </a:lnTo>
                <a:lnTo>
                  <a:pt x="9850" y="4069"/>
                </a:lnTo>
                <a:lnTo>
                  <a:pt x="9869" y="4078"/>
                </a:lnTo>
                <a:lnTo>
                  <a:pt x="9886" y="4084"/>
                </a:lnTo>
                <a:lnTo>
                  <a:pt x="9905" y="4089"/>
                </a:lnTo>
                <a:lnTo>
                  <a:pt x="9925" y="4093"/>
                </a:lnTo>
                <a:lnTo>
                  <a:pt x="9944" y="4095"/>
                </a:lnTo>
                <a:lnTo>
                  <a:pt x="9964" y="4096"/>
                </a:lnTo>
                <a:lnTo>
                  <a:pt x="9985" y="4096"/>
                </a:lnTo>
                <a:lnTo>
                  <a:pt x="10005" y="4094"/>
                </a:lnTo>
                <a:lnTo>
                  <a:pt x="10273" y="4768"/>
                </a:lnTo>
                <a:lnTo>
                  <a:pt x="9882" y="5000"/>
                </a:lnTo>
                <a:lnTo>
                  <a:pt x="9882" y="5745"/>
                </a:lnTo>
                <a:lnTo>
                  <a:pt x="6951" y="5745"/>
                </a:lnTo>
                <a:close/>
                <a:moveTo>
                  <a:pt x="12667" y="7388"/>
                </a:moveTo>
                <a:lnTo>
                  <a:pt x="12667" y="7388"/>
                </a:lnTo>
                <a:lnTo>
                  <a:pt x="12667" y="7388"/>
                </a:lnTo>
                <a:close/>
                <a:moveTo>
                  <a:pt x="15451" y="10170"/>
                </a:moveTo>
                <a:lnTo>
                  <a:pt x="15451" y="10170"/>
                </a:lnTo>
                <a:lnTo>
                  <a:pt x="15451" y="10170"/>
                </a:lnTo>
                <a:close/>
                <a:moveTo>
                  <a:pt x="12667" y="7388"/>
                </a:moveTo>
                <a:lnTo>
                  <a:pt x="12703" y="7353"/>
                </a:lnTo>
                <a:lnTo>
                  <a:pt x="12740" y="7319"/>
                </a:lnTo>
                <a:lnTo>
                  <a:pt x="12778" y="7286"/>
                </a:lnTo>
                <a:lnTo>
                  <a:pt x="12815" y="7254"/>
                </a:lnTo>
                <a:lnTo>
                  <a:pt x="12855" y="7222"/>
                </a:lnTo>
                <a:lnTo>
                  <a:pt x="12895" y="7193"/>
                </a:lnTo>
                <a:lnTo>
                  <a:pt x="12936" y="7163"/>
                </a:lnTo>
                <a:lnTo>
                  <a:pt x="12977" y="7136"/>
                </a:lnTo>
                <a:lnTo>
                  <a:pt x="11744" y="6369"/>
                </a:lnTo>
                <a:lnTo>
                  <a:pt x="11676" y="5830"/>
                </a:lnTo>
                <a:lnTo>
                  <a:pt x="11883" y="5700"/>
                </a:lnTo>
                <a:lnTo>
                  <a:pt x="14715" y="6924"/>
                </a:lnTo>
                <a:lnTo>
                  <a:pt x="14849" y="6981"/>
                </a:lnTo>
                <a:lnTo>
                  <a:pt x="14977" y="7044"/>
                </a:lnTo>
                <a:lnTo>
                  <a:pt x="15096" y="7114"/>
                </a:lnTo>
                <a:lnTo>
                  <a:pt x="15209" y="7190"/>
                </a:lnTo>
                <a:lnTo>
                  <a:pt x="15314" y="7270"/>
                </a:lnTo>
                <a:lnTo>
                  <a:pt x="15412" y="7355"/>
                </a:lnTo>
                <a:lnTo>
                  <a:pt x="15503" y="7446"/>
                </a:lnTo>
                <a:lnTo>
                  <a:pt x="15587" y="7539"/>
                </a:lnTo>
                <a:lnTo>
                  <a:pt x="15662" y="7638"/>
                </a:lnTo>
                <a:lnTo>
                  <a:pt x="15731" y="7739"/>
                </a:lnTo>
                <a:lnTo>
                  <a:pt x="15794" y="7844"/>
                </a:lnTo>
                <a:lnTo>
                  <a:pt x="15848" y="7952"/>
                </a:lnTo>
                <a:lnTo>
                  <a:pt x="15896" y="8062"/>
                </a:lnTo>
                <a:lnTo>
                  <a:pt x="15935" y="8174"/>
                </a:lnTo>
                <a:lnTo>
                  <a:pt x="15969" y="8289"/>
                </a:lnTo>
                <a:lnTo>
                  <a:pt x="15995" y="8405"/>
                </a:lnTo>
                <a:lnTo>
                  <a:pt x="16014" y="8521"/>
                </a:lnTo>
                <a:lnTo>
                  <a:pt x="16025" y="8638"/>
                </a:lnTo>
                <a:lnTo>
                  <a:pt x="16030" y="8757"/>
                </a:lnTo>
                <a:lnTo>
                  <a:pt x="16027" y="8875"/>
                </a:lnTo>
                <a:lnTo>
                  <a:pt x="16018" y="8992"/>
                </a:lnTo>
                <a:lnTo>
                  <a:pt x="16002" y="9109"/>
                </a:lnTo>
                <a:lnTo>
                  <a:pt x="15978" y="9225"/>
                </a:lnTo>
                <a:lnTo>
                  <a:pt x="15948" y="9341"/>
                </a:lnTo>
                <a:lnTo>
                  <a:pt x="15910" y="9454"/>
                </a:lnTo>
                <a:lnTo>
                  <a:pt x="15865" y="9565"/>
                </a:lnTo>
                <a:lnTo>
                  <a:pt x="15814" y="9674"/>
                </a:lnTo>
                <a:lnTo>
                  <a:pt x="15755" y="9780"/>
                </a:lnTo>
                <a:lnTo>
                  <a:pt x="15690" y="9883"/>
                </a:lnTo>
                <a:lnTo>
                  <a:pt x="15617" y="9983"/>
                </a:lnTo>
                <a:lnTo>
                  <a:pt x="15538" y="10079"/>
                </a:lnTo>
                <a:lnTo>
                  <a:pt x="15451" y="10170"/>
                </a:lnTo>
                <a:lnTo>
                  <a:pt x="15333" y="10281"/>
                </a:lnTo>
                <a:lnTo>
                  <a:pt x="15209" y="10378"/>
                </a:lnTo>
                <a:lnTo>
                  <a:pt x="15083" y="10464"/>
                </a:lnTo>
                <a:lnTo>
                  <a:pt x="14951" y="10537"/>
                </a:lnTo>
                <a:lnTo>
                  <a:pt x="14818" y="10601"/>
                </a:lnTo>
                <a:lnTo>
                  <a:pt x="14682" y="10652"/>
                </a:lnTo>
                <a:lnTo>
                  <a:pt x="14543" y="10691"/>
                </a:lnTo>
                <a:lnTo>
                  <a:pt x="14404" y="10721"/>
                </a:lnTo>
                <a:lnTo>
                  <a:pt x="14264" y="10739"/>
                </a:lnTo>
                <a:lnTo>
                  <a:pt x="14123" y="10748"/>
                </a:lnTo>
                <a:lnTo>
                  <a:pt x="13983" y="10746"/>
                </a:lnTo>
                <a:lnTo>
                  <a:pt x="13843" y="10735"/>
                </a:lnTo>
                <a:lnTo>
                  <a:pt x="13706" y="10714"/>
                </a:lnTo>
                <a:lnTo>
                  <a:pt x="13570" y="10683"/>
                </a:lnTo>
                <a:lnTo>
                  <a:pt x="13436" y="10642"/>
                </a:lnTo>
                <a:lnTo>
                  <a:pt x="13307" y="10595"/>
                </a:lnTo>
                <a:lnTo>
                  <a:pt x="13179" y="10536"/>
                </a:lnTo>
                <a:lnTo>
                  <a:pt x="13057" y="10470"/>
                </a:lnTo>
                <a:lnTo>
                  <a:pt x="12940" y="10396"/>
                </a:lnTo>
                <a:lnTo>
                  <a:pt x="12828" y="10313"/>
                </a:lnTo>
                <a:lnTo>
                  <a:pt x="12720" y="10223"/>
                </a:lnTo>
                <a:lnTo>
                  <a:pt x="12620" y="10126"/>
                </a:lnTo>
                <a:lnTo>
                  <a:pt x="12527" y="10021"/>
                </a:lnTo>
                <a:lnTo>
                  <a:pt x="12441" y="9907"/>
                </a:lnTo>
                <a:lnTo>
                  <a:pt x="12363" y="9788"/>
                </a:lnTo>
                <a:lnTo>
                  <a:pt x="12294" y="9663"/>
                </a:lnTo>
                <a:lnTo>
                  <a:pt x="12234" y="9530"/>
                </a:lnTo>
                <a:lnTo>
                  <a:pt x="12184" y="9392"/>
                </a:lnTo>
                <a:lnTo>
                  <a:pt x="12143" y="9247"/>
                </a:lnTo>
                <a:lnTo>
                  <a:pt x="12114" y="9096"/>
                </a:lnTo>
                <a:lnTo>
                  <a:pt x="12096" y="8940"/>
                </a:lnTo>
                <a:lnTo>
                  <a:pt x="12090" y="8779"/>
                </a:lnTo>
                <a:lnTo>
                  <a:pt x="12090" y="8728"/>
                </a:lnTo>
                <a:lnTo>
                  <a:pt x="12092" y="8678"/>
                </a:lnTo>
                <a:lnTo>
                  <a:pt x="12095" y="8628"/>
                </a:lnTo>
                <a:lnTo>
                  <a:pt x="12100" y="8578"/>
                </a:lnTo>
                <a:lnTo>
                  <a:pt x="12105" y="8528"/>
                </a:lnTo>
                <a:lnTo>
                  <a:pt x="12113" y="8479"/>
                </a:lnTo>
                <a:lnTo>
                  <a:pt x="12121" y="8430"/>
                </a:lnTo>
                <a:lnTo>
                  <a:pt x="12130" y="8382"/>
                </a:lnTo>
                <a:lnTo>
                  <a:pt x="12140" y="8335"/>
                </a:lnTo>
                <a:lnTo>
                  <a:pt x="12152" y="8288"/>
                </a:lnTo>
                <a:lnTo>
                  <a:pt x="12165" y="8241"/>
                </a:lnTo>
                <a:lnTo>
                  <a:pt x="12179" y="8194"/>
                </a:lnTo>
                <a:lnTo>
                  <a:pt x="12193" y="8148"/>
                </a:lnTo>
                <a:lnTo>
                  <a:pt x="12209" y="8102"/>
                </a:lnTo>
                <a:lnTo>
                  <a:pt x="12227" y="8057"/>
                </a:lnTo>
                <a:lnTo>
                  <a:pt x="12245" y="8013"/>
                </a:lnTo>
                <a:lnTo>
                  <a:pt x="12263" y="7970"/>
                </a:lnTo>
                <a:lnTo>
                  <a:pt x="12284" y="7926"/>
                </a:lnTo>
                <a:lnTo>
                  <a:pt x="12305" y="7883"/>
                </a:lnTo>
                <a:lnTo>
                  <a:pt x="12328" y="7841"/>
                </a:lnTo>
                <a:lnTo>
                  <a:pt x="12351" y="7799"/>
                </a:lnTo>
                <a:lnTo>
                  <a:pt x="12375" y="7759"/>
                </a:lnTo>
                <a:lnTo>
                  <a:pt x="12400" y="7719"/>
                </a:lnTo>
                <a:lnTo>
                  <a:pt x="12427" y="7679"/>
                </a:lnTo>
                <a:lnTo>
                  <a:pt x="12453" y="7640"/>
                </a:lnTo>
                <a:lnTo>
                  <a:pt x="12482" y="7602"/>
                </a:lnTo>
                <a:lnTo>
                  <a:pt x="12510" y="7564"/>
                </a:lnTo>
                <a:lnTo>
                  <a:pt x="12540" y="7527"/>
                </a:lnTo>
                <a:lnTo>
                  <a:pt x="12570" y="7492"/>
                </a:lnTo>
                <a:lnTo>
                  <a:pt x="12602" y="7456"/>
                </a:lnTo>
                <a:lnTo>
                  <a:pt x="12634" y="7422"/>
                </a:lnTo>
                <a:lnTo>
                  <a:pt x="12667" y="7388"/>
                </a:lnTo>
                <a:close/>
                <a:moveTo>
                  <a:pt x="11965" y="6165"/>
                </a:moveTo>
                <a:lnTo>
                  <a:pt x="13269" y="6977"/>
                </a:lnTo>
                <a:lnTo>
                  <a:pt x="13299" y="6963"/>
                </a:lnTo>
                <a:lnTo>
                  <a:pt x="13329" y="6951"/>
                </a:lnTo>
                <a:lnTo>
                  <a:pt x="13359" y="6939"/>
                </a:lnTo>
                <a:lnTo>
                  <a:pt x="13391" y="6928"/>
                </a:lnTo>
                <a:lnTo>
                  <a:pt x="13421" y="6917"/>
                </a:lnTo>
                <a:lnTo>
                  <a:pt x="13453" y="6906"/>
                </a:lnTo>
                <a:lnTo>
                  <a:pt x="13483" y="6897"/>
                </a:lnTo>
                <a:lnTo>
                  <a:pt x="13515" y="6887"/>
                </a:lnTo>
                <a:lnTo>
                  <a:pt x="13548" y="6879"/>
                </a:lnTo>
                <a:lnTo>
                  <a:pt x="13579" y="6870"/>
                </a:lnTo>
                <a:lnTo>
                  <a:pt x="13612" y="6863"/>
                </a:lnTo>
                <a:lnTo>
                  <a:pt x="13644" y="6855"/>
                </a:lnTo>
                <a:lnTo>
                  <a:pt x="13676" y="6848"/>
                </a:lnTo>
                <a:lnTo>
                  <a:pt x="13710" y="6842"/>
                </a:lnTo>
                <a:lnTo>
                  <a:pt x="13742" y="6836"/>
                </a:lnTo>
                <a:lnTo>
                  <a:pt x="13776" y="6831"/>
                </a:lnTo>
                <a:lnTo>
                  <a:pt x="11965" y="6049"/>
                </a:lnTo>
                <a:lnTo>
                  <a:pt x="11965" y="6165"/>
                </a:lnTo>
                <a:close/>
                <a:moveTo>
                  <a:pt x="3252" y="7514"/>
                </a:moveTo>
                <a:lnTo>
                  <a:pt x="3330" y="8268"/>
                </a:lnTo>
                <a:lnTo>
                  <a:pt x="3492" y="8268"/>
                </a:lnTo>
                <a:lnTo>
                  <a:pt x="3497" y="8268"/>
                </a:lnTo>
                <a:lnTo>
                  <a:pt x="3511" y="8269"/>
                </a:lnTo>
                <a:lnTo>
                  <a:pt x="3525" y="8271"/>
                </a:lnTo>
                <a:lnTo>
                  <a:pt x="3539" y="8275"/>
                </a:lnTo>
                <a:lnTo>
                  <a:pt x="3553" y="8279"/>
                </a:lnTo>
                <a:lnTo>
                  <a:pt x="3565" y="8286"/>
                </a:lnTo>
                <a:lnTo>
                  <a:pt x="3577" y="8293"/>
                </a:lnTo>
                <a:lnTo>
                  <a:pt x="3588" y="8302"/>
                </a:lnTo>
                <a:lnTo>
                  <a:pt x="3599" y="8311"/>
                </a:lnTo>
                <a:lnTo>
                  <a:pt x="3608" y="8321"/>
                </a:lnTo>
                <a:lnTo>
                  <a:pt x="3617" y="8332"/>
                </a:lnTo>
                <a:lnTo>
                  <a:pt x="3624" y="8344"/>
                </a:lnTo>
                <a:lnTo>
                  <a:pt x="3630" y="8357"/>
                </a:lnTo>
                <a:lnTo>
                  <a:pt x="3634" y="8370"/>
                </a:lnTo>
                <a:lnTo>
                  <a:pt x="3638" y="8383"/>
                </a:lnTo>
                <a:lnTo>
                  <a:pt x="3640" y="8399"/>
                </a:lnTo>
                <a:lnTo>
                  <a:pt x="3641" y="8413"/>
                </a:lnTo>
                <a:lnTo>
                  <a:pt x="3641" y="9318"/>
                </a:lnTo>
                <a:lnTo>
                  <a:pt x="3641" y="9322"/>
                </a:lnTo>
                <a:lnTo>
                  <a:pt x="3640" y="9338"/>
                </a:lnTo>
                <a:lnTo>
                  <a:pt x="3638" y="9352"/>
                </a:lnTo>
                <a:lnTo>
                  <a:pt x="3634" y="9365"/>
                </a:lnTo>
                <a:lnTo>
                  <a:pt x="3630" y="9378"/>
                </a:lnTo>
                <a:lnTo>
                  <a:pt x="3624" y="9392"/>
                </a:lnTo>
                <a:lnTo>
                  <a:pt x="3617" y="9403"/>
                </a:lnTo>
                <a:lnTo>
                  <a:pt x="3608" y="9414"/>
                </a:lnTo>
                <a:lnTo>
                  <a:pt x="3599" y="9424"/>
                </a:lnTo>
                <a:lnTo>
                  <a:pt x="3588" y="9434"/>
                </a:lnTo>
                <a:lnTo>
                  <a:pt x="3577" y="9443"/>
                </a:lnTo>
                <a:lnTo>
                  <a:pt x="3565" y="9450"/>
                </a:lnTo>
                <a:lnTo>
                  <a:pt x="3553" y="9456"/>
                </a:lnTo>
                <a:lnTo>
                  <a:pt x="3539" y="9461"/>
                </a:lnTo>
                <a:lnTo>
                  <a:pt x="3525" y="9464"/>
                </a:lnTo>
                <a:lnTo>
                  <a:pt x="3511" y="9466"/>
                </a:lnTo>
                <a:lnTo>
                  <a:pt x="3497" y="9467"/>
                </a:lnTo>
                <a:lnTo>
                  <a:pt x="1029" y="9467"/>
                </a:lnTo>
                <a:lnTo>
                  <a:pt x="1026" y="9467"/>
                </a:lnTo>
                <a:lnTo>
                  <a:pt x="1011" y="9466"/>
                </a:lnTo>
                <a:lnTo>
                  <a:pt x="997" y="9464"/>
                </a:lnTo>
                <a:lnTo>
                  <a:pt x="982" y="9461"/>
                </a:lnTo>
                <a:lnTo>
                  <a:pt x="969" y="9456"/>
                </a:lnTo>
                <a:lnTo>
                  <a:pt x="957" y="9450"/>
                </a:lnTo>
                <a:lnTo>
                  <a:pt x="945" y="9443"/>
                </a:lnTo>
                <a:lnTo>
                  <a:pt x="933" y="9434"/>
                </a:lnTo>
                <a:lnTo>
                  <a:pt x="923" y="9424"/>
                </a:lnTo>
                <a:lnTo>
                  <a:pt x="914" y="9414"/>
                </a:lnTo>
                <a:lnTo>
                  <a:pt x="906" y="9403"/>
                </a:lnTo>
                <a:lnTo>
                  <a:pt x="899" y="9392"/>
                </a:lnTo>
                <a:lnTo>
                  <a:pt x="893" y="9378"/>
                </a:lnTo>
                <a:lnTo>
                  <a:pt x="887" y="9365"/>
                </a:lnTo>
                <a:lnTo>
                  <a:pt x="884" y="9352"/>
                </a:lnTo>
                <a:lnTo>
                  <a:pt x="881" y="9338"/>
                </a:lnTo>
                <a:lnTo>
                  <a:pt x="881" y="9322"/>
                </a:lnTo>
                <a:lnTo>
                  <a:pt x="881" y="8417"/>
                </a:lnTo>
                <a:lnTo>
                  <a:pt x="881" y="8413"/>
                </a:lnTo>
                <a:lnTo>
                  <a:pt x="881" y="8399"/>
                </a:lnTo>
                <a:lnTo>
                  <a:pt x="884" y="8383"/>
                </a:lnTo>
                <a:lnTo>
                  <a:pt x="887" y="8370"/>
                </a:lnTo>
                <a:lnTo>
                  <a:pt x="893" y="8357"/>
                </a:lnTo>
                <a:lnTo>
                  <a:pt x="899" y="8344"/>
                </a:lnTo>
                <a:lnTo>
                  <a:pt x="906" y="8332"/>
                </a:lnTo>
                <a:lnTo>
                  <a:pt x="914" y="8321"/>
                </a:lnTo>
                <a:lnTo>
                  <a:pt x="923" y="8311"/>
                </a:lnTo>
                <a:lnTo>
                  <a:pt x="933" y="8302"/>
                </a:lnTo>
                <a:lnTo>
                  <a:pt x="945" y="8293"/>
                </a:lnTo>
                <a:lnTo>
                  <a:pt x="957" y="8286"/>
                </a:lnTo>
                <a:lnTo>
                  <a:pt x="969" y="8279"/>
                </a:lnTo>
                <a:lnTo>
                  <a:pt x="982" y="8275"/>
                </a:lnTo>
                <a:lnTo>
                  <a:pt x="997" y="8271"/>
                </a:lnTo>
                <a:lnTo>
                  <a:pt x="1011" y="8269"/>
                </a:lnTo>
                <a:lnTo>
                  <a:pt x="1026" y="8268"/>
                </a:lnTo>
                <a:lnTo>
                  <a:pt x="1212" y="8268"/>
                </a:lnTo>
                <a:lnTo>
                  <a:pt x="1293" y="7484"/>
                </a:lnTo>
                <a:lnTo>
                  <a:pt x="1317" y="7261"/>
                </a:lnTo>
                <a:lnTo>
                  <a:pt x="1270" y="7292"/>
                </a:lnTo>
                <a:lnTo>
                  <a:pt x="1224" y="7323"/>
                </a:lnTo>
                <a:lnTo>
                  <a:pt x="1179" y="7356"/>
                </a:lnTo>
                <a:lnTo>
                  <a:pt x="1135" y="7391"/>
                </a:lnTo>
                <a:lnTo>
                  <a:pt x="1092" y="7426"/>
                </a:lnTo>
                <a:lnTo>
                  <a:pt x="1051" y="7464"/>
                </a:lnTo>
                <a:lnTo>
                  <a:pt x="1011" y="7502"/>
                </a:lnTo>
                <a:lnTo>
                  <a:pt x="971" y="7541"/>
                </a:lnTo>
                <a:lnTo>
                  <a:pt x="933" y="7582"/>
                </a:lnTo>
                <a:lnTo>
                  <a:pt x="897" y="7624"/>
                </a:lnTo>
                <a:lnTo>
                  <a:pt x="861" y="7667"/>
                </a:lnTo>
                <a:lnTo>
                  <a:pt x="827" y="7711"/>
                </a:lnTo>
                <a:lnTo>
                  <a:pt x="795" y="7757"/>
                </a:lnTo>
                <a:lnTo>
                  <a:pt x="763" y="7802"/>
                </a:lnTo>
                <a:lnTo>
                  <a:pt x="733" y="7850"/>
                </a:lnTo>
                <a:lnTo>
                  <a:pt x="705" y="7898"/>
                </a:lnTo>
                <a:lnTo>
                  <a:pt x="678" y="7947"/>
                </a:lnTo>
                <a:lnTo>
                  <a:pt x="653" y="7997"/>
                </a:lnTo>
                <a:lnTo>
                  <a:pt x="628" y="8048"/>
                </a:lnTo>
                <a:lnTo>
                  <a:pt x="606" y="8100"/>
                </a:lnTo>
                <a:lnTo>
                  <a:pt x="585" y="8153"/>
                </a:lnTo>
                <a:lnTo>
                  <a:pt x="566" y="8207"/>
                </a:lnTo>
                <a:lnTo>
                  <a:pt x="549" y="8261"/>
                </a:lnTo>
                <a:lnTo>
                  <a:pt x="533" y="8316"/>
                </a:lnTo>
                <a:lnTo>
                  <a:pt x="519" y="8372"/>
                </a:lnTo>
                <a:lnTo>
                  <a:pt x="507" y="8428"/>
                </a:lnTo>
                <a:lnTo>
                  <a:pt x="497" y="8485"/>
                </a:lnTo>
                <a:lnTo>
                  <a:pt x="489" y="8542"/>
                </a:lnTo>
                <a:lnTo>
                  <a:pt x="481" y="8602"/>
                </a:lnTo>
                <a:lnTo>
                  <a:pt x="476" y="8660"/>
                </a:lnTo>
                <a:lnTo>
                  <a:pt x="474" y="8719"/>
                </a:lnTo>
                <a:lnTo>
                  <a:pt x="473" y="8779"/>
                </a:lnTo>
                <a:lnTo>
                  <a:pt x="475" y="8871"/>
                </a:lnTo>
                <a:lnTo>
                  <a:pt x="482" y="8961"/>
                </a:lnTo>
                <a:lnTo>
                  <a:pt x="494" y="9051"/>
                </a:lnTo>
                <a:lnTo>
                  <a:pt x="509" y="9139"/>
                </a:lnTo>
                <a:lnTo>
                  <a:pt x="529" y="9225"/>
                </a:lnTo>
                <a:lnTo>
                  <a:pt x="553" y="9311"/>
                </a:lnTo>
                <a:lnTo>
                  <a:pt x="581" y="9394"/>
                </a:lnTo>
                <a:lnTo>
                  <a:pt x="613" y="9475"/>
                </a:lnTo>
                <a:lnTo>
                  <a:pt x="649" y="9554"/>
                </a:lnTo>
                <a:lnTo>
                  <a:pt x="689" y="9631"/>
                </a:lnTo>
                <a:lnTo>
                  <a:pt x="731" y="9706"/>
                </a:lnTo>
                <a:lnTo>
                  <a:pt x="778" y="9778"/>
                </a:lnTo>
                <a:lnTo>
                  <a:pt x="828" y="9848"/>
                </a:lnTo>
                <a:lnTo>
                  <a:pt x="881" y="9916"/>
                </a:lnTo>
                <a:lnTo>
                  <a:pt x="937" y="9981"/>
                </a:lnTo>
                <a:lnTo>
                  <a:pt x="997" y="10043"/>
                </a:lnTo>
                <a:lnTo>
                  <a:pt x="1059" y="10102"/>
                </a:lnTo>
                <a:lnTo>
                  <a:pt x="1124" y="10158"/>
                </a:lnTo>
                <a:lnTo>
                  <a:pt x="1191" y="10211"/>
                </a:lnTo>
                <a:lnTo>
                  <a:pt x="1261" y="10261"/>
                </a:lnTo>
                <a:lnTo>
                  <a:pt x="1334" y="10308"/>
                </a:lnTo>
                <a:lnTo>
                  <a:pt x="1409" y="10351"/>
                </a:lnTo>
                <a:lnTo>
                  <a:pt x="1486" y="10390"/>
                </a:lnTo>
                <a:lnTo>
                  <a:pt x="1565" y="10426"/>
                </a:lnTo>
                <a:lnTo>
                  <a:pt x="1646" y="10458"/>
                </a:lnTo>
                <a:lnTo>
                  <a:pt x="1729" y="10486"/>
                </a:lnTo>
                <a:lnTo>
                  <a:pt x="1815" y="10510"/>
                </a:lnTo>
                <a:lnTo>
                  <a:pt x="1900" y="10530"/>
                </a:lnTo>
                <a:lnTo>
                  <a:pt x="1989" y="10546"/>
                </a:lnTo>
                <a:lnTo>
                  <a:pt x="2078" y="10557"/>
                </a:lnTo>
                <a:lnTo>
                  <a:pt x="2169" y="10564"/>
                </a:lnTo>
                <a:lnTo>
                  <a:pt x="2261" y="10566"/>
                </a:lnTo>
                <a:lnTo>
                  <a:pt x="2353" y="10564"/>
                </a:lnTo>
                <a:lnTo>
                  <a:pt x="2444" y="10557"/>
                </a:lnTo>
                <a:lnTo>
                  <a:pt x="2534" y="10546"/>
                </a:lnTo>
                <a:lnTo>
                  <a:pt x="2621" y="10530"/>
                </a:lnTo>
                <a:lnTo>
                  <a:pt x="2708" y="10510"/>
                </a:lnTo>
                <a:lnTo>
                  <a:pt x="2793" y="10486"/>
                </a:lnTo>
                <a:lnTo>
                  <a:pt x="2876" y="10458"/>
                </a:lnTo>
                <a:lnTo>
                  <a:pt x="2957" y="10426"/>
                </a:lnTo>
                <a:lnTo>
                  <a:pt x="3037" y="10390"/>
                </a:lnTo>
                <a:lnTo>
                  <a:pt x="3113" y="10351"/>
                </a:lnTo>
                <a:lnTo>
                  <a:pt x="3189" y="10308"/>
                </a:lnTo>
                <a:lnTo>
                  <a:pt x="3261" y="10261"/>
                </a:lnTo>
                <a:lnTo>
                  <a:pt x="3331" y="10211"/>
                </a:lnTo>
                <a:lnTo>
                  <a:pt x="3399" y="10158"/>
                </a:lnTo>
                <a:lnTo>
                  <a:pt x="3463" y="10102"/>
                </a:lnTo>
                <a:lnTo>
                  <a:pt x="3525" y="10043"/>
                </a:lnTo>
                <a:lnTo>
                  <a:pt x="3584" y="9981"/>
                </a:lnTo>
                <a:lnTo>
                  <a:pt x="3641" y="9916"/>
                </a:lnTo>
                <a:lnTo>
                  <a:pt x="3694" y="9848"/>
                </a:lnTo>
                <a:lnTo>
                  <a:pt x="3743" y="9778"/>
                </a:lnTo>
                <a:lnTo>
                  <a:pt x="3790" y="9706"/>
                </a:lnTo>
                <a:lnTo>
                  <a:pt x="3833" y="9631"/>
                </a:lnTo>
                <a:lnTo>
                  <a:pt x="3873" y="9554"/>
                </a:lnTo>
                <a:lnTo>
                  <a:pt x="3909" y="9475"/>
                </a:lnTo>
                <a:lnTo>
                  <a:pt x="3940" y="9394"/>
                </a:lnTo>
                <a:lnTo>
                  <a:pt x="3969" y="9311"/>
                </a:lnTo>
                <a:lnTo>
                  <a:pt x="3993" y="9225"/>
                </a:lnTo>
                <a:lnTo>
                  <a:pt x="4013" y="9139"/>
                </a:lnTo>
                <a:lnTo>
                  <a:pt x="4029" y="9051"/>
                </a:lnTo>
                <a:lnTo>
                  <a:pt x="4040" y="8961"/>
                </a:lnTo>
                <a:lnTo>
                  <a:pt x="4047" y="8871"/>
                </a:lnTo>
                <a:lnTo>
                  <a:pt x="4049" y="8779"/>
                </a:lnTo>
                <a:lnTo>
                  <a:pt x="4048" y="8720"/>
                </a:lnTo>
                <a:lnTo>
                  <a:pt x="4045" y="8662"/>
                </a:lnTo>
                <a:lnTo>
                  <a:pt x="4041" y="8604"/>
                </a:lnTo>
                <a:lnTo>
                  <a:pt x="4034" y="8547"/>
                </a:lnTo>
                <a:lnTo>
                  <a:pt x="4026" y="8489"/>
                </a:lnTo>
                <a:lnTo>
                  <a:pt x="4016" y="8433"/>
                </a:lnTo>
                <a:lnTo>
                  <a:pt x="4004" y="8377"/>
                </a:lnTo>
                <a:lnTo>
                  <a:pt x="3990" y="8322"/>
                </a:lnTo>
                <a:lnTo>
                  <a:pt x="3975" y="8268"/>
                </a:lnTo>
                <a:lnTo>
                  <a:pt x="3959" y="8214"/>
                </a:lnTo>
                <a:lnTo>
                  <a:pt x="3939" y="8161"/>
                </a:lnTo>
                <a:lnTo>
                  <a:pt x="3920" y="8109"/>
                </a:lnTo>
                <a:lnTo>
                  <a:pt x="3897" y="8058"/>
                </a:lnTo>
                <a:lnTo>
                  <a:pt x="3875" y="8007"/>
                </a:lnTo>
                <a:lnTo>
                  <a:pt x="3849" y="7958"/>
                </a:lnTo>
                <a:lnTo>
                  <a:pt x="3824" y="7909"/>
                </a:lnTo>
                <a:lnTo>
                  <a:pt x="3795" y="7862"/>
                </a:lnTo>
                <a:lnTo>
                  <a:pt x="3767" y="7815"/>
                </a:lnTo>
                <a:lnTo>
                  <a:pt x="3736" y="7769"/>
                </a:lnTo>
                <a:lnTo>
                  <a:pt x="3705" y="7724"/>
                </a:lnTo>
                <a:lnTo>
                  <a:pt x="3671" y="7680"/>
                </a:lnTo>
                <a:lnTo>
                  <a:pt x="3636" y="7637"/>
                </a:lnTo>
                <a:lnTo>
                  <a:pt x="3601" y="7595"/>
                </a:lnTo>
                <a:lnTo>
                  <a:pt x="3564" y="7555"/>
                </a:lnTo>
                <a:lnTo>
                  <a:pt x="3526" y="7516"/>
                </a:lnTo>
                <a:lnTo>
                  <a:pt x="3486" y="7477"/>
                </a:lnTo>
                <a:lnTo>
                  <a:pt x="3446" y="7441"/>
                </a:lnTo>
                <a:lnTo>
                  <a:pt x="3404" y="7405"/>
                </a:lnTo>
                <a:lnTo>
                  <a:pt x="3362" y="7370"/>
                </a:lnTo>
                <a:lnTo>
                  <a:pt x="3318" y="7337"/>
                </a:lnTo>
                <a:lnTo>
                  <a:pt x="3273" y="7305"/>
                </a:lnTo>
                <a:lnTo>
                  <a:pt x="3227" y="7274"/>
                </a:lnTo>
                <a:lnTo>
                  <a:pt x="3252" y="7514"/>
                </a:lnTo>
                <a:close/>
                <a:moveTo>
                  <a:pt x="3051" y="6977"/>
                </a:moveTo>
                <a:lnTo>
                  <a:pt x="4355" y="6165"/>
                </a:lnTo>
                <a:lnTo>
                  <a:pt x="4355" y="6049"/>
                </a:lnTo>
                <a:lnTo>
                  <a:pt x="2544" y="6831"/>
                </a:lnTo>
                <a:lnTo>
                  <a:pt x="2578" y="6836"/>
                </a:lnTo>
                <a:lnTo>
                  <a:pt x="2610" y="6842"/>
                </a:lnTo>
                <a:lnTo>
                  <a:pt x="2644" y="6848"/>
                </a:lnTo>
                <a:lnTo>
                  <a:pt x="2676" y="6855"/>
                </a:lnTo>
                <a:lnTo>
                  <a:pt x="2708" y="6863"/>
                </a:lnTo>
                <a:lnTo>
                  <a:pt x="2741" y="6870"/>
                </a:lnTo>
                <a:lnTo>
                  <a:pt x="2772" y="6879"/>
                </a:lnTo>
                <a:lnTo>
                  <a:pt x="2805" y="6887"/>
                </a:lnTo>
                <a:lnTo>
                  <a:pt x="2837" y="6896"/>
                </a:lnTo>
                <a:lnTo>
                  <a:pt x="2867" y="6906"/>
                </a:lnTo>
                <a:lnTo>
                  <a:pt x="2899" y="6917"/>
                </a:lnTo>
                <a:lnTo>
                  <a:pt x="2929" y="6928"/>
                </a:lnTo>
                <a:lnTo>
                  <a:pt x="2961" y="6939"/>
                </a:lnTo>
                <a:lnTo>
                  <a:pt x="2991" y="6951"/>
                </a:lnTo>
                <a:lnTo>
                  <a:pt x="3021" y="6963"/>
                </a:lnTo>
                <a:lnTo>
                  <a:pt x="3051" y="6977"/>
                </a:lnTo>
                <a:close/>
                <a:moveTo>
                  <a:pt x="3040" y="8268"/>
                </a:moveTo>
                <a:lnTo>
                  <a:pt x="2942" y="7323"/>
                </a:lnTo>
                <a:lnTo>
                  <a:pt x="2938" y="7282"/>
                </a:lnTo>
                <a:lnTo>
                  <a:pt x="2846" y="7282"/>
                </a:lnTo>
                <a:lnTo>
                  <a:pt x="2843" y="7282"/>
                </a:lnTo>
                <a:lnTo>
                  <a:pt x="1702" y="7282"/>
                </a:lnTo>
                <a:lnTo>
                  <a:pt x="1699" y="7282"/>
                </a:lnTo>
                <a:lnTo>
                  <a:pt x="1696" y="7282"/>
                </a:lnTo>
                <a:lnTo>
                  <a:pt x="1605" y="7282"/>
                </a:lnTo>
                <a:lnTo>
                  <a:pt x="1600" y="7321"/>
                </a:lnTo>
                <a:lnTo>
                  <a:pt x="1502" y="8268"/>
                </a:lnTo>
                <a:lnTo>
                  <a:pt x="3040" y="8268"/>
                </a:lnTo>
                <a:close/>
                <a:moveTo>
                  <a:pt x="3352" y="8558"/>
                </a:moveTo>
                <a:lnTo>
                  <a:pt x="1171" y="8558"/>
                </a:lnTo>
                <a:lnTo>
                  <a:pt x="1171" y="9178"/>
                </a:lnTo>
                <a:lnTo>
                  <a:pt x="3352" y="9178"/>
                </a:lnTo>
                <a:lnTo>
                  <a:pt x="3352" y="8558"/>
                </a:lnTo>
                <a:close/>
                <a:moveTo>
                  <a:pt x="869" y="7388"/>
                </a:moveTo>
                <a:lnTo>
                  <a:pt x="869" y="7388"/>
                </a:lnTo>
                <a:lnTo>
                  <a:pt x="869" y="7388"/>
                </a:lnTo>
                <a:close/>
                <a:moveTo>
                  <a:pt x="3654" y="10170"/>
                </a:moveTo>
                <a:lnTo>
                  <a:pt x="3535" y="10281"/>
                </a:lnTo>
                <a:lnTo>
                  <a:pt x="3412" y="10378"/>
                </a:lnTo>
                <a:lnTo>
                  <a:pt x="3284" y="10464"/>
                </a:lnTo>
                <a:lnTo>
                  <a:pt x="3154" y="10537"/>
                </a:lnTo>
                <a:lnTo>
                  <a:pt x="3020" y="10601"/>
                </a:lnTo>
                <a:lnTo>
                  <a:pt x="2884" y="10652"/>
                </a:lnTo>
                <a:lnTo>
                  <a:pt x="2746" y="10691"/>
                </a:lnTo>
                <a:lnTo>
                  <a:pt x="2606" y="10721"/>
                </a:lnTo>
                <a:lnTo>
                  <a:pt x="2466" y="10739"/>
                </a:lnTo>
                <a:lnTo>
                  <a:pt x="2326" y="10748"/>
                </a:lnTo>
                <a:lnTo>
                  <a:pt x="2185" y="10746"/>
                </a:lnTo>
                <a:lnTo>
                  <a:pt x="2046" y="10735"/>
                </a:lnTo>
                <a:lnTo>
                  <a:pt x="1908" y="10714"/>
                </a:lnTo>
                <a:lnTo>
                  <a:pt x="1772" y="10683"/>
                </a:lnTo>
                <a:lnTo>
                  <a:pt x="1639" y="10642"/>
                </a:lnTo>
                <a:lnTo>
                  <a:pt x="1509" y="10595"/>
                </a:lnTo>
                <a:lnTo>
                  <a:pt x="1382" y="10536"/>
                </a:lnTo>
                <a:lnTo>
                  <a:pt x="1260" y="10470"/>
                </a:lnTo>
                <a:lnTo>
                  <a:pt x="1141" y="10396"/>
                </a:lnTo>
                <a:lnTo>
                  <a:pt x="1029" y="10313"/>
                </a:lnTo>
                <a:lnTo>
                  <a:pt x="922" y="10223"/>
                </a:lnTo>
                <a:lnTo>
                  <a:pt x="822" y="10126"/>
                </a:lnTo>
                <a:lnTo>
                  <a:pt x="729" y="10021"/>
                </a:lnTo>
                <a:lnTo>
                  <a:pt x="643" y="9907"/>
                </a:lnTo>
                <a:lnTo>
                  <a:pt x="565" y="9788"/>
                </a:lnTo>
                <a:lnTo>
                  <a:pt x="496" y="9663"/>
                </a:lnTo>
                <a:lnTo>
                  <a:pt x="436" y="9530"/>
                </a:lnTo>
                <a:lnTo>
                  <a:pt x="386" y="9392"/>
                </a:lnTo>
                <a:lnTo>
                  <a:pt x="346" y="9247"/>
                </a:lnTo>
                <a:lnTo>
                  <a:pt x="316" y="9096"/>
                </a:lnTo>
                <a:lnTo>
                  <a:pt x="298" y="8940"/>
                </a:lnTo>
                <a:lnTo>
                  <a:pt x="292" y="8779"/>
                </a:lnTo>
                <a:lnTo>
                  <a:pt x="293" y="8728"/>
                </a:lnTo>
                <a:lnTo>
                  <a:pt x="295" y="8678"/>
                </a:lnTo>
                <a:lnTo>
                  <a:pt x="298" y="8628"/>
                </a:lnTo>
                <a:lnTo>
                  <a:pt x="302" y="8578"/>
                </a:lnTo>
                <a:lnTo>
                  <a:pt x="308" y="8528"/>
                </a:lnTo>
                <a:lnTo>
                  <a:pt x="314" y="8479"/>
                </a:lnTo>
                <a:lnTo>
                  <a:pt x="322" y="8430"/>
                </a:lnTo>
                <a:lnTo>
                  <a:pt x="332" y="8382"/>
                </a:lnTo>
                <a:lnTo>
                  <a:pt x="343" y="8335"/>
                </a:lnTo>
                <a:lnTo>
                  <a:pt x="354" y="8288"/>
                </a:lnTo>
                <a:lnTo>
                  <a:pt x="366" y="8241"/>
                </a:lnTo>
                <a:lnTo>
                  <a:pt x="380" y="8194"/>
                </a:lnTo>
                <a:lnTo>
                  <a:pt x="396" y="8148"/>
                </a:lnTo>
                <a:lnTo>
                  <a:pt x="411" y="8102"/>
                </a:lnTo>
                <a:lnTo>
                  <a:pt x="428" y="8057"/>
                </a:lnTo>
                <a:lnTo>
                  <a:pt x="447" y="8013"/>
                </a:lnTo>
                <a:lnTo>
                  <a:pt x="466" y="7970"/>
                </a:lnTo>
                <a:lnTo>
                  <a:pt x="487" y="7926"/>
                </a:lnTo>
                <a:lnTo>
                  <a:pt x="508" y="7883"/>
                </a:lnTo>
                <a:lnTo>
                  <a:pt x="529" y="7841"/>
                </a:lnTo>
                <a:lnTo>
                  <a:pt x="553" y="7799"/>
                </a:lnTo>
                <a:lnTo>
                  <a:pt x="577" y="7759"/>
                </a:lnTo>
                <a:lnTo>
                  <a:pt x="603" y="7719"/>
                </a:lnTo>
                <a:lnTo>
                  <a:pt x="628" y="7679"/>
                </a:lnTo>
                <a:lnTo>
                  <a:pt x="656" y="7640"/>
                </a:lnTo>
                <a:lnTo>
                  <a:pt x="683" y="7602"/>
                </a:lnTo>
                <a:lnTo>
                  <a:pt x="712" y="7564"/>
                </a:lnTo>
                <a:lnTo>
                  <a:pt x="742" y="7527"/>
                </a:lnTo>
                <a:lnTo>
                  <a:pt x="772" y="7492"/>
                </a:lnTo>
                <a:lnTo>
                  <a:pt x="804" y="7456"/>
                </a:lnTo>
                <a:lnTo>
                  <a:pt x="836" y="7422"/>
                </a:lnTo>
                <a:lnTo>
                  <a:pt x="869" y="7388"/>
                </a:lnTo>
                <a:lnTo>
                  <a:pt x="908" y="7350"/>
                </a:lnTo>
                <a:lnTo>
                  <a:pt x="949" y="7313"/>
                </a:lnTo>
                <a:lnTo>
                  <a:pt x="989" y="7277"/>
                </a:lnTo>
                <a:lnTo>
                  <a:pt x="1031" y="7243"/>
                </a:lnTo>
                <a:lnTo>
                  <a:pt x="1074" y="7209"/>
                </a:lnTo>
                <a:lnTo>
                  <a:pt x="1118" y="7178"/>
                </a:lnTo>
                <a:lnTo>
                  <a:pt x="1163" y="7146"/>
                </a:lnTo>
                <a:lnTo>
                  <a:pt x="1209" y="7116"/>
                </a:lnTo>
                <a:lnTo>
                  <a:pt x="1256" y="7088"/>
                </a:lnTo>
                <a:lnTo>
                  <a:pt x="1303" y="7060"/>
                </a:lnTo>
                <a:lnTo>
                  <a:pt x="1352" y="7034"/>
                </a:lnTo>
                <a:lnTo>
                  <a:pt x="1400" y="7009"/>
                </a:lnTo>
                <a:lnTo>
                  <a:pt x="1450" y="6986"/>
                </a:lnTo>
                <a:lnTo>
                  <a:pt x="1500" y="6963"/>
                </a:lnTo>
                <a:lnTo>
                  <a:pt x="1552" y="6943"/>
                </a:lnTo>
                <a:lnTo>
                  <a:pt x="1604" y="6924"/>
                </a:lnTo>
                <a:lnTo>
                  <a:pt x="4499" y="5686"/>
                </a:lnTo>
                <a:lnTo>
                  <a:pt x="4519" y="5686"/>
                </a:lnTo>
                <a:lnTo>
                  <a:pt x="4535" y="5689"/>
                </a:lnTo>
                <a:lnTo>
                  <a:pt x="4551" y="5693"/>
                </a:lnTo>
                <a:lnTo>
                  <a:pt x="4566" y="5699"/>
                </a:lnTo>
                <a:lnTo>
                  <a:pt x="4578" y="5707"/>
                </a:lnTo>
                <a:lnTo>
                  <a:pt x="4589" y="5715"/>
                </a:lnTo>
                <a:lnTo>
                  <a:pt x="4599" y="5725"/>
                </a:lnTo>
                <a:lnTo>
                  <a:pt x="4608" y="5736"/>
                </a:lnTo>
                <a:lnTo>
                  <a:pt x="4617" y="5748"/>
                </a:lnTo>
                <a:lnTo>
                  <a:pt x="4624" y="5762"/>
                </a:lnTo>
                <a:lnTo>
                  <a:pt x="4629" y="5777"/>
                </a:lnTo>
                <a:lnTo>
                  <a:pt x="4634" y="5792"/>
                </a:lnTo>
                <a:lnTo>
                  <a:pt x="4638" y="5810"/>
                </a:lnTo>
                <a:lnTo>
                  <a:pt x="4642" y="5827"/>
                </a:lnTo>
                <a:lnTo>
                  <a:pt x="4644" y="5845"/>
                </a:lnTo>
                <a:lnTo>
                  <a:pt x="4646" y="5865"/>
                </a:lnTo>
                <a:lnTo>
                  <a:pt x="4648" y="5906"/>
                </a:lnTo>
                <a:lnTo>
                  <a:pt x="4649" y="5949"/>
                </a:lnTo>
                <a:lnTo>
                  <a:pt x="4648" y="5995"/>
                </a:lnTo>
                <a:lnTo>
                  <a:pt x="4647" y="6042"/>
                </a:lnTo>
                <a:lnTo>
                  <a:pt x="4645" y="6090"/>
                </a:lnTo>
                <a:lnTo>
                  <a:pt x="4644" y="6139"/>
                </a:lnTo>
                <a:lnTo>
                  <a:pt x="4643" y="6188"/>
                </a:lnTo>
                <a:lnTo>
                  <a:pt x="4644" y="6236"/>
                </a:lnTo>
                <a:lnTo>
                  <a:pt x="4644" y="6245"/>
                </a:lnTo>
                <a:lnTo>
                  <a:pt x="4644" y="6255"/>
                </a:lnTo>
                <a:lnTo>
                  <a:pt x="4643" y="6264"/>
                </a:lnTo>
                <a:lnTo>
                  <a:pt x="4642" y="6274"/>
                </a:lnTo>
                <a:lnTo>
                  <a:pt x="4640" y="6284"/>
                </a:lnTo>
                <a:lnTo>
                  <a:pt x="4637" y="6293"/>
                </a:lnTo>
                <a:lnTo>
                  <a:pt x="4633" y="6302"/>
                </a:lnTo>
                <a:lnTo>
                  <a:pt x="4629" y="6311"/>
                </a:lnTo>
                <a:lnTo>
                  <a:pt x="4625" y="6319"/>
                </a:lnTo>
                <a:lnTo>
                  <a:pt x="4620" y="6327"/>
                </a:lnTo>
                <a:lnTo>
                  <a:pt x="4613" y="6336"/>
                </a:lnTo>
                <a:lnTo>
                  <a:pt x="4607" y="6343"/>
                </a:lnTo>
                <a:lnTo>
                  <a:pt x="4600" y="6350"/>
                </a:lnTo>
                <a:lnTo>
                  <a:pt x="4593" y="6357"/>
                </a:lnTo>
                <a:lnTo>
                  <a:pt x="4585" y="6363"/>
                </a:lnTo>
                <a:lnTo>
                  <a:pt x="4577" y="6369"/>
                </a:lnTo>
                <a:lnTo>
                  <a:pt x="3344" y="7135"/>
                </a:lnTo>
                <a:lnTo>
                  <a:pt x="3437" y="7201"/>
                </a:lnTo>
                <a:lnTo>
                  <a:pt x="3527" y="7271"/>
                </a:lnTo>
                <a:lnTo>
                  <a:pt x="3611" y="7347"/>
                </a:lnTo>
                <a:lnTo>
                  <a:pt x="3690" y="7425"/>
                </a:lnTo>
                <a:lnTo>
                  <a:pt x="3764" y="7507"/>
                </a:lnTo>
                <a:lnTo>
                  <a:pt x="3832" y="7592"/>
                </a:lnTo>
                <a:lnTo>
                  <a:pt x="3895" y="7681"/>
                </a:lnTo>
                <a:lnTo>
                  <a:pt x="3953" y="7772"/>
                </a:lnTo>
                <a:lnTo>
                  <a:pt x="4006" y="7866"/>
                </a:lnTo>
                <a:lnTo>
                  <a:pt x="4052" y="7962"/>
                </a:lnTo>
                <a:lnTo>
                  <a:pt x="4094" y="8060"/>
                </a:lnTo>
                <a:lnTo>
                  <a:pt x="4130" y="8161"/>
                </a:lnTo>
                <a:lnTo>
                  <a:pt x="4161" y="8263"/>
                </a:lnTo>
                <a:lnTo>
                  <a:pt x="4186" y="8366"/>
                </a:lnTo>
                <a:lnTo>
                  <a:pt x="4205" y="8470"/>
                </a:lnTo>
                <a:lnTo>
                  <a:pt x="4219" y="8575"/>
                </a:lnTo>
                <a:lnTo>
                  <a:pt x="4228" y="8681"/>
                </a:lnTo>
                <a:lnTo>
                  <a:pt x="4230" y="8787"/>
                </a:lnTo>
                <a:lnTo>
                  <a:pt x="4227" y="8893"/>
                </a:lnTo>
                <a:lnTo>
                  <a:pt x="4219" y="8999"/>
                </a:lnTo>
                <a:lnTo>
                  <a:pt x="4203" y="9105"/>
                </a:lnTo>
                <a:lnTo>
                  <a:pt x="4183" y="9210"/>
                </a:lnTo>
                <a:lnTo>
                  <a:pt x="4158" y="9314"/>
                </a:lnTo>
                <a:lnTo>
                  <a:pt x="4125" y="9417"/>
                </a:lnTo>
                <a:lnTo>
                  <a:pt x="4087" y="9519"/>
                </a:lnTo>
                <a:lnTo>
                  <a:pt x="4043" y="9619"/>
                </a:lnTo>
                <a:lnTo>
                  <a:pt x="3993" y="9717"/>
                </a:lnTo>
                <a:lnTo>
                  <a:pt x="3937" y="9814"/>
                </a:lnTo>
                <a:lnTo>
                  <a:pt x="3876" y="9906"/>
                </a:lnTo>
                <a:lnTo>
                  <a:pt x="3808" y="9998"/>
                </a:lnTo>
                <a:lnTo>
                  <a:pt x="3733" y="10086"/>
                </a:lnTo>
                <a:lnTo>
                  <a:pt x="3654" y="10170"/>
                </a:lnTo>
                <a:close/>
                <a:moveTo>
                  <a:pt x="662" y="7182"/>
                </a:moveTo>
                <a:lnTo>
                  <a:pt x="662" y="7182"/>
                </a:lnTo>
                <a:lnTo>
                  <a:pt x="662" y="7182"/>
                </a:lnTo>
                <a:close/>
                <a:moveTo>
                  <a:pt x="3860" y="10377"/>
                </a:moveTo>
                <a:lnTo>
                  <a:pt x="3860" y="10377"/>
                </a:lnTo>
                <a:lnTo>
                  <a:pt x="3860" y="10377"/>
                </a:lnTo>
                <a:close/>
                <a:moveTo>
                  <a:pt x="6036" y="9510"/>
                </a:moveTo>
                <a:lnTo>
                  <a:pt x="6036" y="5733"/>
                </a:lnTo>
                <a:lnTo>
                  <a:pt x="6147" y="5861"/>
                </a:lnTo>
                <a:lnTo>
                  <a:pt x="6147" y="9510"/>
                </a:lnTo>
                <a:lnTo>
                  <a:pt x="6841" y="9510"/>
                </a:lnTo>
                <a:lnTo>
                  <a:pt x="6841" y="5745"/>
                </a:lnTo>
                <a:lnTo>
                  <a:pt x="6427" y="5745"/>
                </a:lnTo>
                <a:lnTo>
                  <a:pt x="5251" y="4366"/>
                </a:lnTo>
                <a:lnTo>
                  <a:pt x="5251" y="290"/>
                </a:lnTo>
                <a:lnTo>
                  <a:pt x="6069" y="290"/>
                </a:lnTo>
                <a:lnTo>
                  <a:pt x="6069" y="2901"/>
                </a:lnTo>
                <a:lnTo>
                  <a:pt x="6358" y="2901"/>
                </a:lnTo>
                <a:lnTo>
                  <a:pt x="6358" y="290"/>
                </a:lnTo>
                <a:lnTo>
                  <a:pt x="9672" y="290"/>
                </a:lnTo>
                <a:lnTo>
                  <a:pt x="10076" y="1911"/>
                </a:lnTo>
                <a:lnTo>
                  <a:pt x="10356" y="1842"/>
                </a:lnTo>
                <a:lnTo>
                  <a:pt x="9898" y="0"/>
                </a:lnTo>
                <a:lnTo>
                  <a:pt x="4961" y="0"/>
                </a:lnTo>
                <a:lnTo>
                  <a:pt x="4961" y="4419"/>
                </a:lnTo>
                <a:lnTo>
                  <a:pt x="5301" y="4870"/>
                </a:lnTo>
                <a:lnTo>
                  <a:pt x="720" y="6726"/>
                </a:lnTo>
                <a:lnTo>
                  <a:pt x="819" y="7040"/>
                </a:lnTo>
                <a:lnTo>
                  <a:pt x="662" y="7182"/>
                </a:lnTo>
                <a:lnTo>
                  <a:pt x="624" y="7220"/>
                </a:lnTo>
                <a:lnTo>
                  <a:pt x="588" y="7260"/>
                </a:lnTo>
                <a:lnTo>
                  <a:pt x="552" y="7300"/>
                </a:lnTo>
                <a:lnTo>
                  <a:pt x="516" y="7342"/>
                </a:lnTo>
                <a:lnTo>
                  <a:pt x="482" y="7383"/>
                </a:lnTo>
                <a:lnTo>
                  <a:pt x="449" y="7427"/>
                </a:lnTo>
                <a:lnTo>
                  <a:pt x="417" y="7471"/>
                </a:lnTo>
                <a:lnTo>
                  <a:pt x="387" y="7516"/>
                </a:lnTo>
                <a:lnTo>
                  <a:pt x="356" y="7561"/>
                </a:lnTo>
                <a:lnTo>
                  <a:pt x="327" y="7608"/>
                </a:lnTo>
                <a:lnTo>
                  <a:pt x="300" y="7655"/>
                </a:lnTo>
                <a:lnTo>
                  <a:pt x="273" y="7701"/>
                </a:lnTo>
                <a:lnTo>
                  <a:pt x="248" y="7750"/>
                </a:lnTo>
                <a:lnTo>
                  <a:pt x="223" y="7799"/>
                </a:lnTo>
                <a:lnTo>
                  <a:pt x="200" y="7849"/>
                </a:lnTo>
                <a:lnTo>
                  <a:pt x="177" y="7899"/>
                </a:lnTo>
                <a:lnTo>
                  <a:pt x="157" y="7950"/>
                </a:lnTo>
                <a:lnTo>
                  <a:pt x="138" y="8002"/>
                </a:lnTo>
                <a:lnTo>
                  <a:pt x="119" y="8054"/>
                </a:lnTo>
                <a:lnTo>
                  <a:pt x="102" y="8107"/>
                </a:lnTo>
                <a:lnTo>
                  <a:pt x="86" y="8160"/>
                </a:lnTo>
                <a:lnTo>
                  <a:pt x="71" y="8214"/>
                </a:lnTo>
                <a:lnTo>
                  <a:pt x="58" y="8268"/>
                </a:lnTo>
                <a:lnTo>
                  <a:pt x="46" y="8323"/>
                </a:lnTo>
                <a:lnTo>
                  <a:pt x="36" y="8379"/>
                </a:lnTo>
                <a:lnTo>
                  <a:pt x="27" y="8435"/>
                </a:lnTo>
                <a:lnTo>
                  <a:pt x="18" y="8492"/>
                </a:lnTo>
                <a:lnTo>
                  <a:pt x="11" y="8548"/>
                </a:lnTo>
                <a:lnTo>
                  <a:pt x="6" y="8606"/>
                </a:lnTo>
                <a:lnTo>
                  <a:pt x="3" y="8663"/>
                </a:lnTo>
                <a:lnTo>
                  <a:pt x="1" y="8721"/>
                </a:lnTo>
                <a:lnTo>
                  <a:pt x="0" y="8779"/>
                </a:lnTo>
                <a:lnTo>
                  <a:pt x="7" y="8965"/>
                </a:lnTo>
                <a:lnTo>
                  <a:pt x="28" y="9143"/>
                </a:lnTo>
                <a:lnTo>
                  <a:pt x="61" y="9315"/>
                </a:lnTo>
                <a:lnTo>
                  <a:pt x="107" y="9481"/>
                </a:lnTo>
                <a:lnTo>
                  <a:pt x="165" y="9640"/>
                </a:lnTo>
                <a:lnTo>
                  <a:pt x="235" y="9792"/>
                </a:lnTo>
                <a:lnTo>
                  <a:pt x="314" y="9937"/>
                </a:lnTo>
                <a:lnTo>
                  <a:pt x="403" y="10075"/>
                </a:lnTo>
                <a:lnTo>
                  <a:pt x="502" y="10203"/>
                </a:lnTo>
                <a:lnTo>
                  <a:pt x="609" y="10324"/>
                </a:lnTo>
                <a:lnTo>
                  <a:pt x="724" y="10437"/>
                </a:lnTo>
                <a:lnTo>
                  <a:pt x="847" y="10540"/>
                </a:lnTo>
                <a:lnTo>
                  <a:pt x="976" y="10635"/>
                </a:lnTo>
                <a:lnTo>
                  <a:pt x="1111" y="10720"/>
                </a:lnTo>
                <a:lnTo>
                  <a:pt x="1252" y="10796"/>
                </a:lnTo>
                <a:lnTo>
                  <a:pt x="1397" y="10863"/>
                </a:lnTo>
                <a:lnTo>
                  <a:pt x="1546" y="10919"/>
                </a:lnTo>
                <a:lnTo>
                  <a:pt x="1699" y="10965"/>
                </a:lnTo>
                <a:lnTo>
                  <a:pt x="1855" y="10999"/>
                </a:lnTo>
                <a:lnTo>
                  <a:pt x="2015" y="11024"/>
                </a:lnTo>
                <a:lnTo>
                  <a:pt x="2174" y="11037"/>
                </a:lnTo>
                <a:lnTo>
                  <a:pt x="2335" y="11039"/>
                </a:lnTo>
                <a:lnTo>
                  <a:pt x="2496" y="11030"/>
                </a:lnTo>
                <a:lnTo>
                  <a:pt x="2657" y="11008"/>
                </a:lnTo>
                <a:lnTo>
                  <a:pt x="2817" y="10975"/>
                </a:lnTo>
                <a:lnTo>
                  <a:pt x="2976" y="10929"/>
                </a:lnTo>
                <a:lnTo>
                  <a:pt x="3132" y="10870"/>
                </a:lnTo>
                <a:lnTo>
                  <a:pt x="3286" y="10798"/>
                </a:lnTo>
                <a:lnTo>
                  <a:pt x="3436" y="10713"/>
                </a:lnTo>
                <a:lnTo>
                  <a:pt x="3582" y="10615"/>
                </a:lnTo>
                <a:lnTo>
                  <a:pt x="3724" y="10503"/>
                </a:lnTo>
                <a:lnTo>
                  <a:pt x="3860" y="10376"/>
                </a:lnTo>
                <a:lnTo>
                  <a:pt x="3905" y="10331"/>
                </a:lnTo>
                <a:lnTo>
                  <a:pt x="3947" y="10284"/>
                </a:lnTo>
                <a:lnTo>
                  <a:pt x="3990" y="10235"/>
                </a:lnTo>
                <a:lnTo>
                  <a:pt x="4030" y="10186"/>
                </a:lnTo>
                <a:lnTo>
                  <a:pt x="4070" y="10135"/>
                </a:lnTo>
                <a:lnTo>
                  <a:pt x="4108" y="10083"/>
                </a:lnTo>
                <a:lnTo>
                  <a:pt x="4143" y="10031"/>
                </a:lnTo>
                <a:lnTo>
                  <a:pt x="4179" y="9977"/>
                </a:lnTo>
                <a:lnTo>
                  <a:pt x="4212" y="9922"/>
                </a:lnTo>
                <a:lnTo>
                  <a:pt x="4244" y="9866"/>
                </a:lnTo>
                <a:lnTo>
                  <a:pt x="4274" y="9809"/>
                </a:lnTo>
                <a:lnTo>
                  <a:pt x="4302" y="9750"/>
                </a:lnTo>
                <a:lnTo>
                  <a:pt x="4330" y="9692"/>
                </a:lnTo>
                <a:lnTo>
                  <a:pt x="4355" y="9632"/>
                </a:lnTo>
                <a:lnTo>
                  <a:pt x="4379" y="9572"/>
                </a:lnTo>
                <a:lnTo>
                  <a:pt x="4401" y="9510"/>
                </a:lnTo>
                <a:lnTo>
                  <a:pt x="6036" y="9510"/>
                </a:lnTo>
                <a:close/>
                <a:moveTo>
                  <a:pt x="12679" y="9318"/>
                </a:moveTo>
                <a:lnTo>
                  <a:pt x="12679" y="8413"/>
                </a:lnTo>
                <a:lnTo>
                  <a:pt x="12680" y="8399"/>
                </a:lnTo>
                <a:lnTo>
                  <a:pt x="12682" y="8383"/>
                </a:lnTo>
                <a:lnTo>
                  <a:pt x="12686" y="8370"/>
                </a:lnTo>
                <a:lnTo>
                  <a:pt x="12690" y="8357"/>
                </a:lnTo>
                <a:lnTo>
                  <a:pt x="12696" y="8344"/>
                </a:lnTo>
                <a:lnTo>
                  <a:pt x="12703" y="8332"/>
                </a:lnTo>
                <a:lnTo>
                  <a:pt x="12712" y="8321"/>
                </a:lnTo>
                <a:lnTo>
                  <a:pt x="12721" y="8311"/>
                </a:lnTo>
                <a:lnTo>
                  <a:pt x="12732" y="8302"/>
                </a:lnTo>
                <a:lnTo>
                  <a:pt x="12743" y="8293"/>
                </a:lnTo>
                <a:lnTo>
                  <a:pt x="12755" y="8286"/>
                </a:lnTo>
                <a:lnTo>
                  <a:pt x="12767" y="8279"/>
                </a:lnTo>
                <a:lnTo>
                  <a:pt x="12781" y="8275"/>
                </a:lnTo>
                <a:lnTo>
                  <a:pt x="12795" y="8271"/>
                </a:lnTo>
                <a:lnTo>
                  <a:pt x="12809" y="8269"/>
                </a:lnTo>
                <a:lnTo>
                  <a:pt x="12823" y="8268"/>
                </a:lnTo>
                <a:lnTo>
                  <a:pt x="12828" y="8268"/>
                </a:lnTo>
                <a:lnTo>
                  <a:pt x="12990" y="8268"/>
                </a:lnTo>
                <a:lnTo>
                  <a:pt x="13070" y="7499"/>
                </a:lnTo>
                <a:lnTo>
                  <a:pt x="13093" y="7274"/>
                </a:lnTo>
                <a:lnTo>
                  <a:pt x="13047" y="7305"/>
                </a:lnTo>
                <a:lnTo>
                  <a:pt x="13002" y="7337"/>
                </a:lnTo>
                <a:lnTo>
                  <a:pt x="12959" y="7370"/>
                </a:lnTo>
                <a:lnTo>
                  <a:pt x="12916" y="7405"/>
                </a:lnTo>
                <a:lnTo>
                  <a:pt x="12874" y="7441"/>
                </a:lnTo>
                <a:lnTo>
                  <a:pt x="12834" y="7477"/>
                </a:lnTo>
                <a:lnTo>
                  <a:pt x="12794" y="7516"/>
                </a:lnTo>
                <a:lnTo>
                  <a:pt x="12756" y="7555"/>
                </a:lnTo>
                <a:lnTo>
                  <a:pt x="12719" y="7595"/>
                </a:lnTo>
                <a:lnTo>
                  <a:pt x="12684" y="7637"/>
                </a:lnTo>
                <a:lnTo>
                  <a:pt x="12649" y="7680"/>
                </a:lnTo>
                <a:lnTo>
                  <a:pt x="12615" y="7724"/>
                </a:lnTo>
                <a:lnTo>
                  <a:pt x="12584" y="7769"/>
                </a:lnTo>
                <a:lnTo>
                  <a:pt x="12553" y="7815"/>
                </a:lnTo>
                <a:lnTo>
                  <a:pt x="12525" y="7862"/>
                </a:lnTo>
                <a:lnTo>
                  <a:pt x="12496" y="7909"/>
                </a:lnTo>
                <a:lnTo>
                  <a:pt x="12471" y="7958"/>
                </a:lnTo>
                <a:lnTo>
                  <a:pt x="12445" y="8007"/>
                </a:lnTo>
                <a:lnTo>
                  <a:pt x="12423" y="8058"/>
                </a:lnTo>
                <a:lnTo>
                  <a:pt x="12400" y="8109"/>
                </a:lnTo>
                <a:lnTo>
                  <a:pt x="12381" y="8161"/>
                </a:lnTo>
                <a:lnTo>
                  <a:pt x="12361" y="8214"/>
                </a:lnTo>
                <a:lnTo>
                  <a:pt x="12345" y="8268"/>
                </a:lnTo>
                <a:lnTo>
                  <a:pt x="12330" y="8322"/>
                </a:lnTo>
                <a:lnTo>
                  <a:pt x="12317" y="8377"/>
                </a:lnTo>
                <a:lnTo>
                  <a:pt x="12304" y="8433"/>
                </a:lnTo>
                <a:lnTo>
                  <a:pt x="12294" y="8489"/>
                </a:lnTo>
                <a:lnTo>
                  <a:pt x="12286" y="8547"/>
                </a:lnTo>
                <a:lnTo>
                  <a:pt x="12279" y="8604"/>
                </a:lnTo>
                <a:lnTo>
                  <a:pt x="12275" y="8662"/>
                </a:lnTo>
                <a:lnTo>
                  <a:pt x="12272" y="8720"/>
                </a:lnTo>
                <a:lnTo>
                  <a:pt x="12271" y="8779"/>
                </a:lnTo>
                <a:lnTo>
                  <a:pt x="12273" y="8871"/>
                </a:lnTo>
                <a:lnTo>
                  <a:pt x="12280" y="8961"/>
                </a:lnTo>
                <a:lnTo>
                  <a:pt x="12291" y="9051"/>
                </a:lnTo>
                <a:lnTo>
                  <a:pt x="12307" y="9139"/>
                </a:lnTo>
                <a:lnTo>
                  <a:pt x="12327" y="9225"/>
                </a:lnTo>
                <a:lnTo>
                  <a:pt x="12351" y="9311"/>
                </a:lnTo>
                <a:lnTo>
                  <a:pt x="12380" y="9394"/>
                </a:lnTo>
                <a:lnTo>
                  <a:pt x="12411" y="9475"/>
                </a:lnTo>
                <a:lnTo>
                  <a:pt x="12447" y="9554"/>
                </a:lnTo>
                <a:lnTo>
                  <a:pt x="12487" y="9631"/>
                </a:lnTo>
                <a:lnTo>
                  <a:pt x="12530" y="9706"/>
                </a:lnTo>
                <a:lnTo>
                  <a:pt x="12577" y="9778"/>
                </a:lnTo>
                <a:lnTo>
                  <a:pt x="12626" y="9848"/>
                </a:lnTo>
                <a:lnTo>
                  <a:pt x="12679" y="9916"/>
                </a:lnTo>
                <a:lnTo>
                  <a:pt x="12736" y="9981"/>
                </a:lnTo>
                <a:lnTo>
                  <a:pt x="12795" y="10043"/>
                </a:lnTo>
                <a:lnTo>
                  <a:pt x="12857" y="10102"/>
                </a:lnTo>
                <a:lnTo>
                  <a:pt x="12921" y="10158"/>
                </a:lnTo>
                <a:lnTo>
                  <a:pt x="12989" y="10211"/>
                </a:lnTo>
                <a:lnTo>
                  <a:pt x="13059" y="10261"/>
                </a:lnTo>
                <a:lnTo>
                  <a:pt x="13131" y="10308"/>
                </a:lnTo>
                <a:lnTo>
                  <a:pt x="13207" y="10351"/>
                </a:lnTo>
                <a:lnTo>
                  <a:pt x="13283" y="10390"/>
                </a:lnTo>
                <a:lnTo>
                  <a:pt x="13363" y="10426"/>
                </a:lnTo>
                <a:lnTo>
                  <a:pt x="13444" y="10458"/>
                </a:lnTo>
                <a:lnTo>
                  <a:pt x="13527" y="10486"/>
                </a:lnTo>
                <a:lnTo>
                  <a:pt x="13612" y="10510"/>
                </a:lnTo>
                <a:lnTo>
                  <a:pt x="13699" y="10530"/>
                </a:lnTo>
                <a:lnTo>
                  <a:pt x="13786" y="10546"/>
                </a:lnTo>
                <a:lnTo>
                  <a:pt x="13876" y="10557"/>
                </a:lnTo>
                <a:lnTo>
                  <a:pt x="13967" y="10564"/>
                </a:lnTo>
                <a:lnTo>
                  <a:pt x="14059" y="10566"/>
                </a:lnTo>
                <a:lnTo>
                  <a:pt x="14151" y="10564"/>
                </a:lnTo>
                <a:lnTo>
                  <a:pt x="14242" y="10557"/>
                </a:lnTo>
                <a:lnTo>
                  <a:pt x="14331" y="10546"/>
                </a:lnTo>
                <a:lnTo>
                  <a:pt x="14420" y="10530"/>
                </a:lnTo>
                <a:lnTo>
                  <a:pt x="14505" y="10510"/>
                </a:lnTo>
                <a:lnTo>
                  <a:pt x="14591" y="10486"/>
                </a:lnTo>
                <a:lnTo>
                  <a:pt x="14674" y="10458"/>
                </a:lnTo>
                <a:lnTo>
                  <a:pt x="14755" y="10426"/>
                </a:lnTo>
                <a:lnTo>
                  <a:pt x="14834" y="10390"/>
                </a:lnTo>
                <a:lnTo>
                  <a:pt x="14911" y="10351"/>
                </a:lnTo>
                <a:lnTo>
                  <a:pt x="14986" y="10308"/>
                </a:lnTo>
                <a:lnTo>
                  <a:pt x="15059" y="10261"/>
                </a:lnTo>
                <a:lnTo>
                  <a:pt x="15129" y="10211"/>
                </a:lnTo>
                <a:lnTo>
                  <a:pt x="15196" y="10158"/>
                </a:lnTo>
                <a:lnTo>
                  <a:pt x="15261" y="10102"/>
                </a:lnTo>
                <a:lnTo>
                  <a:pt x="15323" y="10043"/>
                </a:lnTo>
                <a:lnTo>
                  <a:pt x="15383" y="9981"/>
                </a:lnTo>
                <a:lnTo>
                  <a:pt x="15439" y="9916"/>
                </a:lnTo>
                <a:lnTo>
                  <a:pt x="15492" y="9848"/>
                </a:lnTo>
                <a:lnTo>
                  <a:pt x="15542" y="9778"/>
                </a:lnTo>
                <a:lnTo>
                  <a:pt x="15589" y="9706"/>
                </a:lnTo>
                <a:lnTo>
                  <a:pt x="15632" y="9631"/>
                </a:lnTo>
                <a:lnTo>
                  <a:pt x="15671" y="9554"/>
                </a:lnTo>
                <a:lnTo>
                  <a:pt x="15707" y="9475"/>
                </a:lnTo>
                <a:lnTo>
                  <a:pt x="15739" y="9394"/>
                </a:lnTo>
                <a:lnTo>
                  <a:pt x="15767" y="9311"/>
                </a:lnTo>
                <a:lnTo>
                  <a:pt x="15791" y="9225"/>
                </a:lnTo>
                <a:lnTo>
                  <a:pt x="15811" y="9139"/>
                </a:lnTo>
                <a:lnTo>
                  <a:pt x="15826" y="9051"/>
                </a:lnTo>
                <a:lnTo>
                  <a:pt x="15838" y="8961"/>
                </a:lnTo>
                <a:lnTo>
                  <a:pt x="15845" y="8871"/>
                </a:lnTo>
                <a:lnTo>
                  <a:pt x="15847" y="8779"/>
                </a:lnTo>
                <a:lnTo>
                  <a:pt x="15846" y="8719"/>
                </a:lnTo>
                <a:lnTo>
                  <a:pt x="15844" y="8660"/>
                </a:lnTo>
                <a:lnTo>
                  <a:pt x="15839" y="8602"/>
                </a:lnTo>
                <a:lnTo>
                  <a:pt x="15831" y="8542"/>
                </a:lnTo>
                <a:lnTo>
                  <a:pt x="15823" y="8485"/>
                </a:lnTo>
                <a:lnTo>
                  <a:pt x="15813" y="8428"/>
                </a:lnTo>
                <a:lnTo>
                  <a:pt x="15801" y="8372"/>
                </a:lnTo>
                <a:lnTo>
                  <a:pt x="15787" y="8316"/>
                </a:lnTo>
                <a:lnTo>
                  <a:pt x="15771" y="8261"/>
                </a:lnTo>
                <a:lnTo>
                  <a:pt x="15754" y="8207"/>
                </a:lnTo>
                <a:lnTo>
                  <a:pt x="15735" y="8153"/>
                </a:lnTo>
                <a:lnTo>
                  <a:pt x="15714" y="8100"/>
                </a:lnTo>
                <a:lnTo>
                  <a:pt x="15692" y="8048"/>
                </a:lnTo>
                <a:lnTo>
                  <a:pt x="15667" y="7997"/>
                </a:lnTo>
                <a:lnTo>
                  <a:pt x="15642" y="7947"/>
                </a:lnTo>
                <a:lnTo>
                  <a:pt x="15615" y="7898"/>
                </a:lnTo>
                <a:lnTo>
                  <a:pt x="15587" y="7850"/>
                </a:lnTo>
                <a:lnTo>
                  <a:pt x="15557" y="7802"/>
                </a:lnTo>
                <a:lnTo>
                  <a:pt x="15525" y="7757"/>
                </a:lnTo>
                <a:lnTo>
                  <a:pt x="15493" y="7711"/>
                </a:lnTo>
                <a:lnTo>
                  <a:pt x="15459" y="7667"/>
                </a:lnTo>
                <a:lnTo>
                  <a:pt x="15423" y="7624"/>
                </a:lnTo>
                <a:lnTo>
                  <a:pt x="15387" y="7582"/>
                </a:lnTo>
                <a:lnTo>
                  <a:pt x="15349" y="7541"/>
                </a:lnTo>
                <a:lnTo>
                  <a:pt x="15309" y="7502"/>
                </a:lnTo>
                <a:lnTo>
                  <a:pt x="15269" y="7464"/>
                </a:lnTo>
                <a:lnTo>
                  <a:pt x="15228" y="7426"/>
                </a:lnTo>
                <a:lnTo>
                  <a:pt x="15185" y="7391"/>
                </a:lnTo>
                <a:lnTo>
                  <a:pt x="15141" y="7356"/>
                </a:lnTo>
                <a:lnTo>
                  <a:pt x="15096" y="7323"/>
                </a:lnTo>
                <a:lnTo>
                  <a:pt x="15050" y="7292"/>
                </a:lnTo>
                <a:lnTo>
                  <a:pt x="15003" y="7261"/>
                </a:lnTo>
                <a:lnTo>
                  <a:pt x="15028" y="7497"/>
                </a:lnTo>
                <a:lnTo>
                  <a:pt x="15108" y="8268"/>
                </a:lnTo>
                <a:lnTo>
                  <a:pt x="15294" y="8268"/>
                </a:lnTo>
                <a:lnTo>
                  <a:pt x="15309" y="8269"/>
                </a:lnTo>
                <a:lnTo>
                  <a:pt x="15323" y="8271"/>
                </a:lnTo>
                <a:lnTo>
                  <a:pt x="15338" y="8275"/>
                </a:lnTo>
                <a:lnTo>
                  <a:pt x="15351" y="8279"/>
                </a:lnTo>
                <a:lnTo>
                  <a:pt x="15363" y="8286"/>
                </a:lnTo>
                <a:lnTo>
                  <a:pt x="15375" y="8293"/>
                </a:lnTo>
                <a:lnTo>
                  <a:pt x="15387" y="8302"/>
                </a:lnTo>
                <a:lnTo>
                  <a:pt x="15397" y="8311"/>
                </a:lnTo>
                <a:lnTo>
                  <a:pt x="15406" y="8321"/>
                </a:lnTo>
                <a:lnTo>
                  <a:pt x="15414" y="8332"/>
                </a:lnTo>
                <a:lnTo>
                  <a:pt x="15421" y="8344"/>
                </a:lnTo>
                <a:lnTo>
                  <a:pt x="15428" y="8357"/>
                </a:lnTo>
                <a:lnTo>
                  <a:pt x="15433" y="8370"/>
                </a:lnTo>
                <a:lnTo>
                  <a:pt x="15436" y="8383"/>
                </a:lnTo>
                <a:lnTo>
                  <a:pt x="15439" y="8399"/>
                </a:lnTo>
                <a:lnTo>
                  <a:pt x="15439" y="8413"/>
                </a:lnTo>
                <a:lnTo>
                  <a:pt x="15439" y="8417"/>
                </a:lnTo>
                <a:lnTo>
                  <a:pt x="15439" y="9322"/>
                </a:lnTo>
                <a:lnTo>
                  <a:pt x="15439" y="9338"/>
                </a:lnTo>
                <a:lnTo>
                  <a:pt x="15436" y="9352"/>
                </a:lnTo>
                <a:lnTo>
                  <a:pt x="15433" y="9365"/>
                </a:lnTo>
                <a:lnTo>
                  <a:pt x="15428" y="9378"/>
                </a:lnTo>
                <a:lnTo>
                  <a:pt x="15421" y="9392"/>
                </a:lnTo>
                <a:lnTo>
                  <a:pt x="15414" y="9403"/>
                </a:lnTo>
                <a:lnTo>
                  <a:pt x="15406" y="9414"/>
                </a:lnTo>
                <a:lnTo>
                  <a:pt x="15397" y="9424"/>
                </a:lnTo>
                <a:lnTo>
                  <a:pt x="15387" y="9434"/>
                </a:lnTo>
                <a:lnTo>
                  <a:pt x="15375" y="9443"/>
                </a:lnTo>
                <a:lnTo>
                  <a:pt x="15363" y="9450"/>
                </a:lnTo>
                <a:lnTo>
                  <a:pt x="15351" y="9456"/>
                </a:lnTo>
                <a:lnTo>
                  <a:pt x="15338" y="9461"/>
                </a:lnTo>
                <a:lnTo>
                  <a:pt x="15323" y="9464"/>
                </a:lnTo>
                <a:lnTo>
                  <a:pt x="15309" y="9466"/>
                </a:lnTo>
                <a:lnTo>
                  <a:pt x="15294" y="9467"/>
                </a:lnTo>
                <a:lnTo>
                  <a:pt x="15291" y="9467"/>
                </a:lnTo>
                <a:lnTo>
                  <a:pt x="12823" y="9467"/>
                </a:lnTo>
                <a:lnTo>
                  <a:pt x="12809" y="9466"/>
                </a:lnTo>
                <a:lnTo>
                  <a:pt x="12795" y="9464"/>
                </a:lnTo>
                <a:lnTo>
                  <a:pt x="12781" y="9461"/>
                </a:lnTo>
                <a:lnTo>
                  <a:pt x="12767" y="9456"/>
                </a:lnTo>
                <a:lnTo>
                  <a:pt x="12755" y="9450"/>
                </a:lnTo>
                <a:lnTo>
                  <a:pt x="12743" y="9443"/>
                </a:lnTo>
                <a:lnTo>
                  <a:pt x="12732" y="9434"/>
                </a:lnTo>
                <a:lnTo>
                  <a:pt x="12721" y="9424"/>
                </a:lnTo>
                <a:lnTo>
                  <a:pt x="12712" y="9414"/>
                </a:lnTo>
                <a:lnTo>
                  <a:pt x="12703" y="9403"/>
                </a:lnTo>
                <a:lnTo>
                  <a:pt x="12696" y="9392"/>
                </a:lnTo>
                <a:lnTo>
                  <a:pt x="12690" y="9378"/>
                </a:lnTo>
                <a:lnTo>
                  <a:pt x="12686" y="9365"/>
                </a:lnTo>
                <a:lnTo>
                  <a:pt x="12682" y="9352"/>
                </a:lnTo>
                <a:lnTo>
                  <a:pt x="12680" y="9338"/>
                </a:lnTo>
                <a:lnTo>
                  <a:pt x="12679" y="9322"/>
                </a:lnTo>
                <a:lnTo>
                  <a:pt x="12679" y="9318"/>
                </a:lnTo>
                <a:close/>
                <a:moveTo>
                  <a:pt x="15149" y="8558"/>
                </a:moveTo>
                <a:lnTo>
                  <a:pt x="12968" y="8558"/>
                </a:lnTo>
                <a:lnTo>
                  <a:pt x="12968" y="9178"/>
                </a:lnTo>
                <a:lnTo>
                  <a:pt x="15149" y="9178"/>
                </a:lnTo>
                <a:lnTo>
                  <a:pt x="15149" y="8558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traffic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8049492" y="1095306"/>
            <a:ext cx="400050" cy="405765"/>
          </a:xfrm>
          <a:custGeom>
            <a:avLst/>
            <a:gdLst>
              <a:gd name="T0" fmla="*/ 10252 w 15960"/>
              <a:gd name="T1" fmla="*/ 16188 h 16188"/>
              <a:gd name="T2" fmla="*/ 10653 w 15960"/>
              <a:gd name="T3" fmla="*/ 12327 h 16188"/>
              <a:gd name="T4" fmla="*/ 11172 w 15960"/>
              <a:gd name="T5" fmla="*/ 11349 h 16188"/>
              <a:gd name="T6" fmla="*/ 10602 w 15960"/>
              <a:gd name="T7" fmla="*/ 10259 h 16188"/>
              <a:gd name="T8" fmla="*/ 8792 w 15960"/>
              <a:gd name="T9" fmla="*/ 7954 h 16188"/>
              <a:gd name="T10" fmla="*/ 5590 w 15960"/>
              <a:gd name="T11" fmla="*/ 7526 h 16188"/>
              <a:gd name="T12" fmla="*/ 2407 w 15960"/>
              <a:gd name="T13" fmla="*/ 7925 h 16188"/>
              <a:gd name="T14" fmla="*/ 584 w 15960"/>
              <a:gd name="T15" fmla="*/ 10259 h 16188"/>
              <a:gd name="T16" fmla="*/ 15 w 15960"/>
              <a:gd name="T17" fmla="*/ 11349 h 16188"/>
              <a:gd name="T18" fmla="*/ 525 w 15960"/>
              <a:gd name="T19" fmla="*/ 12327 h 16188"/>
              <a:gd name="T20" fmla="*/ 927 w 15960"/>
              <a:gd name="T21" fmla="*/ 16188 h 16188"/>
              <a:gd name="T22" fmla="*/ 4797 w 15960"/>
              <a:gd name="T23" fmla="*/ 6294 h 16188"/>
              <a:gd name="T24" fmla="*/ 6093 w 15960"/>
              <a:gd name="T25" fmla="*/ 6847 h 16188"/>
              <a:gd name="T26" fmla="*/ 9101 w 15960"/>
              <a:gd name="T27" fmla="*/ 7346 h 16188"/>
              <a:gd name="T28" fmla="*/ 10570 w 15960"/>
              <a:gd name="T29" fmla="*/ 9556 h 16188"/>
              <a:gd name="T30" fmla="*/ 13436 w 15960"/>
              <a:gd name="T31" fmla="*/ 11080 h 16188"/>
              <a:gd name="T32" fmla="*/ 15226 w 15960"/>
              <a:gd name="T33" fmla="*/ 11347 h 16188"/>
              <a:gd name="T34" fmla="*/ 15351 w 15960"/>
              <a:gd name="T35" fmla="*/ 7287 h 16188"/>
              <a:gd name="T36" fmla="*/ 15948 w 15960"/>
              <a:gd name="T37" fmla="*/ 6339 h 16188"/>
              <a:gd name="T38" fmla="*/ 14614 w 15960"/>
              <a:gd name="T39" fmla="*/ 5110 h 16188"/>
              <a:gd name="T40" fmla="*/ 12987 w 15960"/>
              <a:gd name="T41" fmla="*/ 2962 h 16188"/>
              <a:gd name="T42" fmla="*/ 8949 w 15960"/>
              <a:gd name="T43" fmla="*/ 2778 h 16188"/>
              <a:gd name="T44" fmla="*/ 6889 w 15960"/>
              <a:gd name="T45" fmla="*/ 3331 h 16188"/>
              <a:gd name="T46" fmla="*/ 5189 w 15960"/>
              <a:gd name="T47" fmla="*/ 5555 h 16188"/>
              <a:gd name="T48" fmla="*/ 12376 w 15960"/>
              <a:gd name="T49" fmla="*/ 8709 h 16188"/>
              <a:gd name="T50" fmla="*/ 13121 w 15960"/>
              <a:gd name="T51" fmla="*/ 7871 h 16188"/>
              <a:gd name="T52" fmla="*/ 14352 w 15960"/>
              <a:gd name="T53" fmla="*/ 7681 h 16188"/>
              <a:gd name="T54" fmla="*/ 13751 w 15960"/>
              <a:gd name="T55" fmla="*/ 8835 h 16188"/>
              <a:gd name="T56" fmla="*/ 6721 w 15960"/>
              <a:gd name="T57" fmla="*/ 5797 h 16188"/>
              <a:gd name="T58" fmla="*/ 7748 w 15960"/>
              <a:gd name="T59" fmla="*/ 3791 h 16188"/>
              <a:gd name="T60" fmla="*/ 13174 w 15960"/>
              <a:gd name="T61" fmla="*/ 3871 h 16188"/>
              <a:gd name="T62" fmla="*/ 13909 w 15960"/>
              <a:gd name="T63" fmla="*/ 5935 h 16188"/>
              <a:gd name="T64" fmla="*/ 4102 w 15960"/>
              <a:gd name="T65" fmla="*/ 6588 h 16188"/>
              <a:gd name="T66" fmla="*/ 4813 w 15960"/>
              <a:gd name="T67" fmla="*/ 4982 h 16188"/>
              <a:gd name="T68" fmla="*/ 4529 w 15960"/>
              <a:gd name="T69" fmla="*/ 3532 h 16188"/>
              <a:gd name="T70" fmla="*/ 2328 w 15960"/>
              <a:gd name="T71" fmla="*/ 1962 h 16188"/>
              <a:gd name="T72" fmla="*/ 4853 w 15960"/>
              <a:gd name="T73" fmla="*/ 804 h 16188"/>
              <a:gd name="T74" fmla="*/ 8640 w 15960"/>
              <a:gd name="T75" fmla="*/ 1485 h 16188"/>
              <a:gd name="T76" fmla="*/ 9330 w 15960"/>
              <a:gd name="T77" fmla="*/ 1046 h 16188"/>
              <a:gd name="T78" fmla="*/ 7726 w 15960"/>
              <a:gd name="T79" fmla="*/ 111 h 16188"/>
              <a:gd name="T80" fmla="*/ 3454 w 15960"/>
              <a:gd name="T81" fmla="*/ 111 h 16188"/>
              <a:gd name="T82" fmla="*/ 1813 w 15960"/>
              <a:gd name="T83" fmla="*/ 1178 h 16188"/>
              <a:gd name="T84" fmla="*/ 233 w 15960"/>
              <a:gd name="T85" fmla="*/ 3006 h 16188"/>
              <a:gd name="T86" fmla="*/ 281 w 15960"/>
              <a:gd name="T87" fmla="*/ 4066 h 16188"/>
              <a:gd name="T88" fmla="*/ 588 w 15960"/>
              <a:gd name="T89" fmla="*/ 8492 h 16188"/>
              <a:gd name="T90" fmla="*/ 2071 w 15960"/>
              <a:gd name="T91" fmla="*/ 7329 h 16188"/>
              <a:gd name="T92" fmla="*/ 2149 w 15960"/>
              <a:gd name="T93" fmla="*/ 4861 h 16188"/>
              <a:gd name="T94" fmla="*/ 3637 w 15960"/>
              <a:gd name="T95" fmla="*/ 5727 h 16188"/>
              <a:gd name="T96" fmla="*/ 2338 w 15960"/>
              <a:gd name="T97" fmla="*/ 6106 h 16188"/>
              <a:gd name="T98" fmla="*/ 1567 w 15960"/>
              <a:gd name="T99" fmla="*/ 4998 h 16188"/>
              <a:gd name="T100" fmla="*/ 7656 w 15960"/>
              <a:gd name="T101" fmla="*/ 13549 h 16188"/>
              <a:gd name="T102" fmla="*/ 7984 w 15960"/>
              <a:gd name="T103" fmla="*/ 12836 h 16188"/>
              <a:gd name="T104" fmla="*/ 9523 w 15960"/>
              <a:gd name="T105" fmla="*/ 12419 h 16188"/>
              <a:gd name="T106" fmla="*/ 9152 w 15960"/>
              <a:gd name="T107" fmla="*/ 13603 h 16188"/>
              <a:gd name="T108" fmla="*/ 2050 w 15960"/>
              <a:gd name="T109" fmla="*/ 10725 h 16188"/>
              <a:gd name="T110" fmla="*/ 2784 w 15960"/>
              <a:gd name="T111" fmla="*/ 8668 h 16188"/>
              <a:gd name="T112" fmla="*/ 8205 w 15960"/>
              <a:gd name="T113" fmla="*/ 8567 h 16188"/>
              <a:gd name="T114" fmla="*/ 9238 w 15960"/>
              <a:gd name="T115" fmla="*/ 10579 h 16188"/>
              <a:gd name="T116" fmla="*/ 2178 w 15960"/>
              <a:gd name="T117" fmla="*/ 12397 h 16188"/>
              <a:gd name="T118" fmla="*/ 3638 w 15960"/>
              <a:gd name="T119" fmla="*/ 13277 h 16188"/>
              <a:gd name="T120" fmla="*/ 2292 w 15960"/>
              <a:gd name="T121" fmla="*/ 13630 h 16188"/>
              <a:gd name="T122" fmla="*/ 1577 w 15960"/>
              <a:gd name="T123" fmla="*/ 12506 h 16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960" h="16188">
                <a:moveTo>
                  <a:pt x="2179" y="14979"/>
                </a:moveTo>
                <a:lnTo>
                  <a:pt x="9038" y="14979"/>
                </a:lnTo>
                <a:lnTo>
                  <a:pt x="9038" y="15354"/>
                </a:lnTo>
                <a:lnTo>
                  <a:pt x="8650" y="15354"/>
                </a:lnTo>
                <a:lnTo>
                  <a:pt x="8650" y="15763"/>
                </a:lnTo>
                <a:lnTo>
                  <a:pt x="8650" y="15785"/>
                </a:lnTo>
                <a:lnTo>
                  <a:pt x="8652" y="15807"/>
                </a:lnTo>
                <a:lnTo>
                  <a:pt x="8656" y="15828"/>
                </a:lnTo>
                <a:lnTo>
                  <a:pt x="8659" y="15849"/>
                </a:lnTo>
                <a:lnTo>
                  <a:pt x="8664" y="15869"/>
                </a:lnTo>
                <a:lnTo>
                  <a:pt x="8670" y="15890"/>
                </a:lnTo>
                <a:lnTo>
                  <a:pt x="8676" y="15910"/>
                </a:lnTo>
                <a:lnTo>
                  <a:pt x="8684" y="15929"/>
                </a:lnTo>
                <a:lnTo>
                  <a:pt x="8692" y="15947"/>
                </a:lnTo>
                <a:lnTo>
                  <a:pt x="8701" y="15965"/>
                </a:lnTo>
                <a:lnTo>
                  <a:pt x="8712" y="15984"/>
                </a:lnTo>
                <a:lnTo>
                  <a:pt x="8722" y="16001"/>
                </a:lnTo>
                <a:lnTo>
                  <a:pt x="8734" y="16018"/>
                </a:lnTo>
                <a:lnTo>
                  <a:pt x="8747" y="16033"/>
                </a:lnTo>
                <a:lnTo>
                  <a:pt x="8760" y="16049"/>
                </a:lnTo>
                <a:lnTo>
                  <a:pt x="8774" y="16064"/>
                </a:lnTo>
                <a:lnTo>
                  <a:pt x="8789" y="16078"/>
                </a:lnTo>
                <a:lnTo>
                  <a:pt x="8805" y="16091"/>
                </a:lnTo>
                <a:lnTo>
                  <a:pt x="8820" y="16104"/>
                </a:lnTo>
                <a:lnTo>
                  <a:pt x="8837" y="16115"/>
                </a:lnTo>
                <a:lnTo>
                  <a:pt x="8854" y="16126"/>
                </a:lnTo>
                <a:lnTo>
                  <a:pt x="8872" y="16136"/>
                </a:lnTo>
                <a:lnTo>
                  <a:pt x="8890" y="16147"/>
                </a:lnTo>
                <a:lnTo>
                  <a:pt x="8909" y="16155"/>
                </a:lnTo>
                <a:lnTo>
                  <a:pt x="8928" y="16163"/>
                </a:lnTo>
                <a:lnTo>
                  <a:pt x="8948" y="16169"/>
                </a:lnTo>
                <a:lnTo>
                  <a:pt x="8968" y="16175"/>
                </a:lnTo>
                <a:lnTo>
                  <a:pt x="8988" y="16180"/>
                </a:lnTo>
                <a:lnTo>
                  <a:pt x="9009" y="16183"/>
                </a:lnTo>
                <a:lnTo>
                  <a:pt x="9031" y="16186"/>
                </a:lnTo>
                <a:lnTo>
                  <a:pt x="9052" y="16187"/>
                </a:lnTo>
                <a:lnTo>
                  <a:pt x="9074" y="16188"/>
                </a:lnTo>
                <a:lnTo>
                  <a:pt x="10252" y="16188"/>
                </a:lnTo>
                <a:lnTo>
                  <a:pt x="10274" y="16187"/>
                </a:lnTo>
                <a:lnTo>
                  <a:pt x="10295" y="16186"/>
                </a:lnTo>
                <a:lnTo>
                  <a:pt x="10316" y="16183"/>
                </a:lnTo>
                <a:lnTo>
                  <a:pt x="10337" y="16180"/>
                </a:lnTo>
                <a:lnTo>
                  <a:pt x="10357" y="16175"/>
                </a:lnTo>
                <a:lnTo>
                  <a:pt x="10378" y="16169"/>
                </a:lnTo>
                <a:lnTo>
                  <a:pt x="10398" y="16163"/>
                </a:lnTo>
                <a:lnTo>
                  <a:pt x="10417" y="16155"/>
                </a:lnTo>
                <a:lnTo>
                  <a:pt x="10435" y="16147"/>
                </a:lnTo>
                <a:lnTo>
                  <a:pt x="10453" y="16136"/>
                </a:lnTo>
                <a:lnTo>
                  <a:pt x="10471" y="16126"/>
                </a:lnTo>
                <a:lnTo>
                  <a:pt x="10488" y="16115"/>
                </a:lnTo>
                <a:lnTo>
                  <a:pt x="10505" y="16104"/>
                </a:lnTo>
                <a:lnTo>
                  <a:pt x="10521" y="16091"/>
                </a:lnTo>
                <a:lnTo>
                  <a:pt x="10536" y="16078"/>
                </a:lnTo>
                <a:lnTo>
                  <a:pt x="10551" y="16064"/>
                </a:lnTo>
                <a:lnTo>
                  <a:pt x="10565" y="16049"/>
                </a:lnTo>
                <a:lnTo>
                  <a:pt x="10578" y="16033"/>
                </a:lnTo>
                <a:lnTo>
                  <a:pt x="10590" y="16018"/>
                </a:lnTo>
                <a:lnTo>
                  <a:pt x="10602" y="16001"/>
                </a:lnTo>
                <a:lnTo>
                  <a:pt x="10613" y="15984"/>
                </a:lnTo>
                <a:lnTo>
                  <a:pt x="10624" y="15965"/>
                </a:lnTo>
                <a:lnTo>
                  <a:pt x="10633" y="15947"/>
                </a:lnTo>
                <a:lnTo>
                  <a:pt x="10642" y="15929"/>
                </a:lnTo>
                <a:lnTo>
                  <a:pt x="10649" y="15910"/>
                </a:lnTo>
                <a:lnTo>
                  <a:pt x="10656" y="15890"/>
                </a:lnTo>
                <a:lnTo>
                  <a:pt x="10661" y="15869"/>
                </a:lnTo>
                <a:lnTo>
                  <a:pt x="10666" y="15849"/>
                </a:lnTo>
                <a:lnTo>
                  <a:pt x="10670" y="15828"/>
                </a:lnTo>
                <a:lnTo>
                  <a:pt x="10672" y="15807"/>
                </a:lnTo>
                <a:lnTo>
                  <a:pt x="10674" y="15785"/>
                </a:lnTo>
                <a:lnTo>
                  <a:pt x="10675" y="15763"/>
                </a:lnTo>
                <a:lnTo>
                  <a:pt x="10675" y="12579"/>
                </a:lnTo>
                <a:lnTo>
                  <a:pt x="10673" y="12542"/>
                </a:lnTo>
                <a:lnTo>
                  <a:pt x="10670" y="12489"/>
                </a:lnTo>
                <a:lnTo>
                  <a:pt x="10665" y="12426"/>
                </a:lnTo>
                <a:lnTo>
                  <a:pt x="10658" y="12361"/>
                </a:lnTo>
                <a:lnTo>
                  <a:pt x="10653" y="12327"/>
                </a:lnTo>
                <a:lnTo>
                  <a:pt x="10649" y="12295"/>
                </a:lnTo>
                <a:lnTo>
                  <a:pt x="10644" y="12263"/>
                </a:lnTo>
                <a:lnTo>
                  <a:pt x="10638" y="12234"/>
                </a:lnTo>
                <a:lnTo>
                  <a:pt x="10632" y="12208"/>
                </a:lnTo>
                <a:lnTo>
                  <a:pt x="10626" y="12186"/>
                </a:lnTo>
                <a:lnTo>
                  <a:pt x="10619" y="12166"/>
                </a:lnTo>
                <a:lnTo>
                  <a:pt x="10612" y="12152"/>
                </a:lnTo>
                <a:lnTo>
                  <a:pt x="10608" y="12144"/>
                </a:lnTo>
                <a:lnTo>
                  <a:pt x="10597" y="12119"/>
                </a:lnTo>
                <a:lnTo>
                  <a:pt x="10578" y="12076"/>
                </a:lnTo>
                <a:lnTo>
                  <a:pt x="10553" y="12016"/>
                </a:lnTo>
                <a:lnTo>
                  <a:pt x="10521" y="11938"/>
                </a:lnTo>
                <a:lnTo>
                  <a:pt x="10483" y="11842"/>
                </a:lnTo>
                <a:lnTo>
                  <a:pt x="10463" y="11787"/>
                </a:lnTo>
                <a:lnTo>
                  <a:pt x="10442" y="11727"/>
                </a:lnTo>
                <a:lnTo>
                  <a:pt x="10419" y="11662"/>
                </a:lnTo>
                <a:lnTo>
                  <a:pt x="10395" y="11594"/>
                </a:lnTo>
                <a:lnTo>
                  <a:pt x="10884" y="11594"/>
                </a:lnTo>
                <a:lnTo>
                  <a:pt x="10906" y="11593"/>
                </a:lnTo>
                <a:lnTo>
                  <a:pt x="10927" y="11591"/>
                </a:lnTo>
                <a:lnTo>
                  <a:pt x="10947" y="11587"/>
                </a:lnTo>
                <a:lnTo>
                  <a:pt x="10966" y="11582"/>
                </a:lnTo>
                <a:lnTo>
                  <a:pt x="10985" y="11574"/>
                </a:lnTo>
                <a:lnTo>
                  <a:pt x="11004" y="11566"/>
                </a:lnTo>
                <a:lnTo>
                  <a:pt x="11021" y="11557"/>
                </a:lnTo>
                <a:lnTo>
                  <a:pt x="11038" y="11547"/>
                </a:lnTo>
                <a:lnTo>
                  <a:pt x="11054" y="11536"/>
                </a:lnTo>
                <a:lnTo>
                  <a:pt x="11069" y="11523"/>
                </a:lnTo>
                <a:lnTo>
                  <a:pt x="11083" y="11509"/>
                </a:lnTo>
                <a:lnTo>
                  <a:pt x="11096" y="11494"/>
                </a:lnTo>
                <a:lnTo>
                  <a:pt x="11109" y="11479"/>
                </a:lnTo>
                <a:lnTo>
                  <a:pt x="11121" y="11462"/>
                </a:lnTo>
                <a:lnTo>
                  <a:pt x="11132" y="11445"/>
                </a:lnTo>
                <a:lnTo>
                  <a:pt x="11142" y="11427"/>
                </a:lnTo>
                <a:lnTo>
                  <a:pt x="11151" y="11408"/>
                </a:lnTo>
                <a:lnTo>
                  <a:pt x="11159" y="11389"/>
                </a:lnTo>
                <a:lnTo>
                  <a:pt x="11166" y="11369"/>
                </a:lnTo>
                <a:lnTo>
                  <a:pt x="11172" y="11349"/>
                </a:lnTo>
                <a:lnTo>
                  <a:pt x="11177" y="11328"/>
                </a:lnTo>
                <a:lnTo>
                  <a:pt x="11181" y="11306"/>
                </a:lnTo>
                <a:lnTo>
                  <a:pt x="11184" y="11285"/>
                </a:lnTo>
                <a:lnTo>
                  <a:pt x="11186" y="11263"/>
                </a:lnTo>
                <a:lnTo>
                  <a:pt x="11187" y="11241"/>
                </a:lnTo>
                <a:lnTo>
                  <a:pt x="11187" y="11218"/>
                </a:lnTo>
                <a:lnTo>
                  <a:pt x="11186" y="11196"/>
                </a:lnTo>
                <a:lnTo>
                  <a:pt x="11183" y="11174"/>
                </a:lnTo>
                <a:lnTo>
                  <a:pt x="11180" y="11150"/>
                </a:lnTo>
                <a:lnTo>
                  <a:pt x="11175" y="11128"/>
                </a:lnTo>
                <a:lnTo>
                  <a:pt x="11170" y="11106"/>
                </a:lnTo>
                <a:lnTo>
                  <a:pt x="11163" y="11084"/>
                </a:lnTo>
                <a:lnTo>
                  <a:pt x="11018" y="10659"/>
                </a:lnTo>
                <a:lnTo>
                  <a:pt x="11010" y="10637"/>
                </a:lnTo>
                <a:lnTo>
                  <a:pt x="11001" y="10615"/>
                </a:lnTo>
                <a:lnTo>
                  <a:pt x="10991" y="10594"/>
                </a:lnTo>
                <a:lnTo>
                  <a:pt x="10979" y="10573"/>
                </a:lnTo>
                <a:lnTo>
                  <a:pt x="10967" y="10553"/>
                </a:lnTo>
                <a:lnTo>
                  <a:pt x="10955" y="10532"/>
                </a:lnTo>
                <a:lnTo>
                  <a:pt x="10941" y="10512"/>
                </a:lnTo>
                <a:lnTo>
                  <a:pt x="10927" y="10493"/>
                </a:lnTo>
                <a:lnTo>
                  <a:pt x="10912" y="10475"/>
                </a:lnTo>
                <a:lnTo>
                  <a:pt x="10897" y="10456"/>
                </a:lnTo>
                <a:lnTo>
                  <a:pt x="10881" y="10438"/>
                </a:lnTo>
                <a:lnTo>
                  <a:pt x="10863" y="10421"/>
                </a:lnTo>
                <a:lnTo>
                  <a:pt x="10846" y="10404"/>
                </a:lnTo>
                <a:lnTo>
                  <a:pt x="10828" y="10389"/>
                </a:lnTo>
                <a:lnTo>
                  <a:pt x="10809" y="10372"/>
                </a:lnTo>
                <a:lnTo>
                  <a:pt x="10790" y="10358"/>
                </a:lnTo>
                <a:lnTo>
                  <a:pt x="10771" y="10344"/>
                </a:lnTo>
                <a:lnTo>
                  <a:pt x="10751" y="10331"/>
                </a:lnTo>
                <a:lnTo>
                  <a:pt x="10730" y="10318"/>
                </a:lnTo>
                <a:lnTo>
                  <a:pt x="10709" y="10306"/>
                </a:lnTo>
                <a:lnTo>
                  <a:pt x="10689" y="10295"/>
                </a:lnTo>
                <a:lnTo>
                  <a:pt x="10668" y="10284"/>
                </a:lnTo>
                <a:lnTo>
                  <a:pt x="10646" y="10275"/>
                </a:lnTo>
                <a:lnTo>
                  <a:pt x="10625" y="10267"/>
                </a:lnTo>
                <a:lnTo>
                  <a:pt x="10602" y="10259"/>
                </a:lnTo>
                <a:lnTo>
                  <a:pt x="10580" y="10252"/>
                </a:lnTo>
                <a:lnTo>
                  <a:pt x="10558" y="10247"/>
                </a:lnTo>
                <a:lnTo>
                  <a:pt x="10536" y="10242"/>
                </a:lnTo>
                <a:lnTo>
                  <a:pt x="10514" y="10238"/>
                </a:lnTo>
                <a:lnTo>
                  <a:pt x="10491" y="10236"/>
                </a:lnTo>
                <a:lnTo>
                  <a:pt x="10470" y="10234"/>
                </a:lnTo>
                <a:lnTo>
                  <a:pt x="10448" y="10233"/>
                </a:lnTo>
                <a:lnTo>
                  <a:pt x="9959" y="10233"/>
                </a:lnTo>
                <a:lnTo>
                  <a:pt x="9901" y="10065"/>
                </a:lnTo>
                <a:lnTo>
                  <a:pt x="9841" y="9900"/>
                </a:lnTo>
                <a:lnTo>
                  <a:pt x="9783" y="9738"/>
                </a:lnTo>
                <a:lnTo>
                  <a:pt x="9725" y="9581"/>
                </a:lnTo>
                <a:lnTo>
                  <a:pt x="9670" y="9431"/>
                </a:lnTo>
                <a:lnTo>
                  <a:pt x="9614" y="9286"/>
                </a:lnTo>
                <a:lnTo>
                  <a:pt x="9562" y="9148"/>
                </a:lnTo>
                <a:lnTo>
                  <a:pt x="9510" y="9019"/>
                </a:lnTo>
                <a:lnTo>
                  <a:pt x="9463" y="8897"/>
                </a:lnTo>
                <a:lnTo>
                  <a:pt x="9418" y="8785"/>
                </a:lnTo>
                <a:lnTo>
                  <a:pt x="9376" y="8684"/>
                </a:lnTo>
                <a:lnTo>
                  <a:pt x="9339" y="8593"/>
                </a:lnTo>
                <a:lnTo>
                  <a:pt x="9305" y="8514"/>
                </a:lnTo>
                <a:lnTo>
                  <a:pt x="9276" y="8447"/>
                </a:lnTo>
                <a:lnTo>
                  <a:pt x="9251" y="8393"/>
                </a:lnTo>
                <a:lnTo>
                  <a:pt x="9232" y="8354"/>
                </a:lnTo>
                <a:lnTo>
                  <a:pt x="9211" y="8315"/>
                </a:lnTo>
                <a:lnTo>
                  <a:pt x="9187" y="8277"/>
                </a:lnTo>
                <a:lnTo>
                  <a:pt x="9162" y="8242"/>
                </a:lnTo>
                <a:lnTo>
                  <a:pt x="9134" y="8208"/>
                </a:lnTo>
                <a:lnTo>
                  <a:pt x="9106" y="8176"/>
                </a:lnTo>
                <a:lnTo>
                  <a:pt x="9076" y="8146"/>
                </a:lnTo>
                <a:lnTo>
                  <a:pt x="9045" y="8117"/>
                </a:lnTo>
                <a:lnTo>
                  <a:pt x="9011" y="8090"/>
                </a:lnTo>
                <a:lnTo>
                  <a:pt x="8978" y="8065"/>
                </a:lnTo>
                <a:lnTo>
                  <a:pt x="8943" y="8040"/>
                </a:lnTo>
                <a:lnTo>
                  <a:pt x="8907" y="8017"/>
                </a:lnTo>
                <a:lnTo>
                  <a:pt x="8869" y="7995"/>
                </a:lnTo>
                <a:lnTo>
                  <a:pt x="8831" y="7974"/>
                </a:lnTo>
                <a:lnTo>
                  <a:pt x="8792" y="7954"/>
                </a:lnTo>
                <a:lnTo>
                  <a:pt x="8752" y="7936"/>
                </a:lnTo>
                <a:lnTo>
                  <a:pt x="8712" y="7918"/>
                </a:lnTo>
                <a:lnTo>
                  <a:pt x="8672" y="7901"/>
                </a:lnTo>
                <a:lnTo>
                  <a:pt x="8630" y="7885"/>
                </a:lnTo>
                <a:lnTo>
                  <a:pt x="8588" y="7869"/>
                </a:lnTo>
                <a:lnTo>
                  <a:pt x="8547" y="7855"/>
                </a:lnTo>
                <a:lnTo>
                  <a:pt x="8463" y="7827"/>
                </a:lnTo>
                <a:lnTo>
                  <a:pt x="8378" y="7801"/>
                </a:lnTo>
                <a:lnTo>
                  <a:pt x="8296" y="7776"/>
                </a:lnTo>
                <a:lnTo>
                  <a:pt x="8214" y="7751"/>
                </a:lnTo>
                <a:lnTo>
                  <a:pt x="8134" y="7727"/>
                </a:lnTo>
                <a:lnTo>
                  <a:pt x="8058" y="7702"/>
                </a:lnTo>
                <a:lnTo>
                  <a:pt x="8051" y="7700"/>
                </a:lnTo>
                <a:lnTo>
                  <a:pt x="8029" y="7694"/>
                </a:lnTo>
                <a:lnTo>
                  <a:pt x="7993" y="7685"/>
                </a:lnTo>
                <a:lnTo>
                  <a:pt x="7940" y="7674"/>
                </a:lnTo>
                <a:lnTo>
                  <a:pt x="7868" y="7661"/>
                </a:lnTo>
                <a:lnTo>
                  <a:pt x="7777" y="7647"/>
                </a:lnTo>
                <a:lnTo>
                  <a:pt x="7725" y="7639"/>
                </a:lnTo>
                <a:lnTo>
                  <a:pt x="7667" y="7631"/>
                </a:lnTo>
                <a:lnTo>
                  <a:pt x="7605" y="7623"/>
                </a:lnTo>
                <a:lnTo>
                  <a:pt x="7536" y="7614"/>
                </a:lnTo>
                <a:lnTo>
                  <a:pt x="7462" y="7606"/>
                </a:lnTo>
                <a:lnTo>
                  <a:pt x="7382" y="7597"/>
                </a:lnTo>
                <a:lnTo>
                  <a:pt x="7296" y="7590"/>
                </a:lnTo>
                <a:lnTo>
                  <a:pt x="7206" y="7582"/>
                </a:lnTo>
                <a:lnTo>
                  <a:pt x="7108" y="7574"/>
                </a:lnTo>
                <a:lnTo>
                  <a:pt x="7004" y="7567"/>
                </a:lnTo>
                <a:lnTo>
                  <a:pt x="6893" y="7560"/>
                </a:lnTo>
                <a:lnTo>
                  <a:pt x="6776" y="7554"/>
                </a:lnTo>
                <a:lnTo>
                  <a:pt x="6653" y="7548"/>
                </a:lnTo>
                <a:lnTo>
                  <a:pt x="6523" y="7543"/>
                </a:lnTo>
                <a:lnTo>
                  <a:pt x="6385" y="7538"/>
                </a:lnTo>
                <a:lnTo>
                  <a:pt x="6241" y="7533"/>
                </a:lnTo>
                <a:lnTo>
                  <a:pt x="6090" y="7530"/>
                </a:lnTo>
                <a:lnTo>
                  <a:pt x="5930" y="7528"/>
                </a:lnTo>
                <a:lnTo>
                  <a:pt x="5764" y="7526"/>
                </a:lnTo>
                <a:lnTo>
                  <a:pt x="5590" y="7526"/>
                </a:lnTo>
                <a:lnTo>
                  <a:pt x="5415" y="7526"/>
                </a:lnTo>
                <a:lnTo>
                  <a:pt x="5249" y="7528"/>
                </a:lnTo>
                <a:lnTo>
                  <a:pt x="5089" y="7530"/>
                </a:lnTo>
                <a:lnTo>
                  <a:pt x="4938" y="7533"/>
                </a:lnTo>
                <a:lnTo>
                  <a:pt x="4794" y="7538"/>
                </a:lnTo>
                <a:lnTo>
                  <a:pt x="4656" y="7543"/>
                </a:lnTo>
                <a:lnTo>
                  <a:pt x="4526" y="7548"/>
                </a:lnTo>
                <a:lnTo>
                  <a:pt x="4403" y="7554"/>
                </a:lnTo>
                <a:lnTo>
                  <a:pt x="4286" y="7560"/>
                </a:lnTo>
                <a:lnTo>
                  <a:pt x="4175" y="7567"/>
                </a:lnTo>
                <a:lnTo>
                  <a:pt x="4071" y="7574"/>
                </a:lnTo>
                <a:lnTo>
                  <a:pt x="3973" y="7582"/>
                </a:lnTo>
                <a:lnTo>
                  <a:pt x="3882" y="7590"/>
                </a:lnTo>
                <a:lnTo>
                  <a:pt x="3797" y="7597"/>
                </a:lnTo>
                <a:lnTo>
                  <a:pt x="3717" y="7606"/>
                </a:lnTo>
                <a:lnTo>
                  <a:pt x="3643" y="7614"/>
                </a:lnTo>
                <a:lnTo>
                  <a:pt x="3574" y="7623"/>
                </a:lnTo>
                <a:lnTo>
                  <a:pt x="3512" y="7631"/>
                </a:lnTo>
                <a:lnTo>
                  <a:pt x="3454" y="7639"/>
                </a:lnTo>
                <a:lnTo>
                  <a:pt x="3401" y="7647"/>
                </a:lnTo>
                <a:lnTo>
                  <a:pt x="3311" y="7661"/>
                </a:lnTo>
                <a:lnTo>
                  <a:pt x="3239" y="7674"/>
                </a:lnTo>
                <a:lnTo>
                  <a:pt x="3186" y="7685"/>
                </a:lnTo>
                <a:lnTo>
                  <a:pt x="3149" y="7694"/>
                </a:lnTo>
                <a:lnTo>
                  <a:pt x="3127" y="7700"/>
                </a:lnTo>
                <a:lnTo>
                  <a:pt x="3120" y="7702"/>
                </a:lnTo>
                <a:lnTo>
                  <a:pt x="3054" y="7721"/>
                </a:lnTo>
                <a:lnTo>
                  <a:pt x="2981" y="7739"/>
                </a:lnTo>
                <a:lnTo>
                  <a:pt x="2905" y="7758"/>
                </a:lnTo>
                <a:lnTo>
                  <a:pt x="2824" y="7779"/>
                </a:lnTo>
                <a:lnTo>
                  <a:pt x="2741" y="7803"/>
                </a:lnTo>
                <a:lnTo>
                  <a:pt x="2657" y="7828"/>
                </a:lnTo>
                <a:lnTo>
                  <a:pt x="2614" y="7842"/>
                </a:lnTo>
                <a:lnTo>
                  <a:pt x="2572" y="7856"/>
                </a:lnTo>
                <a:lnTo>
                  <a:pt x="2531" y="7872"/>
                </a:lnTo>
                <a:lnTo>
                  <a:pt x="2488" y="7889"/>
                </a:lnTo>
                <a:lnTo>
                  <a:pt x="2447" y="7906"/>
                </a:lnTo>
                <a:lnTo>
                  <a:pt x="2407" y="7925"/>
                </a:lnTo>
                <a:lnTo>
                  <a:pt x="2366" y="7944"/>
                </a:lnTo>
                <a:lnTo>
                  <a:pt x="2327" y="7966"/>
                </a:lnTo>
                <a:lnTo>
                  <a:pt x="2289" y="7988"/>
                </a:lnTo>
                <a:lnTo>
                  <a:pt x="2251" y="8011"/>
                </a:lnTo>
                <a:lnTo>
                  <a:pt x="2215" y="8036"/>
                </a:lnTo>
                <a:lnTo>
                  <a:pt x="2181" y="8063"/>
                </a:lnTo>
                <a:lnTo>
                  <a:pt x="2147" y="8091"/>
                </a:lnTo>
                <a:lnTo>
                  <a:pt x="2116" y="8120"/>
                </a:lnTo>
                <a:lnTo>
                  <a:pt x="2086" y="8152"/>
                </a:lnTo>
                <a:lnTo>
                  <a:pt x="2058" y="8184"/>
                </a:lnTo>
                <a:lnTo>
                  <a:pt x="2032" y="8219"/>
                </a:lnTo>
                <a:lnTo>
                  <a:pt x="2007" y="8256"/>
                </a:lnTo>
                <a:lnTo>
                  <a:pt x="1986" y="8294"/>
                </a:lnTo>
                <a:lnTo>
                  <a:pt x="1967" y="8335"/>
                </a:lnTo>
                <a:lnTo>
                  <a:pt x="1945" y="8385"/>
                </a:lnTo>
                <a:lnTo>
                  <a:pt x="1918" y="8449"/>
                </a:lnTo>
                <a:lnTo>
                  <a:pt x="1886" y="8524"/>
                </a:lnTo>
                <a:lnTo>
                  <a:pt x="1851" y="8609"/>
                </a:lnTo>
                <a:lnTo>
                  <a:pt x="1812" y="8704"/>
                </a:lnTo>
                <a:lnTo>
                  <a:pt x="1769" y="8809"/>
                </a:lnTo>
                <a:lnTo>
                  <a:pt x="1724" y="8923"/>
                </a:lnTo>
                <a:lnTo>
                  <a:pt x="1676" y="9044"/>
                </a:lnTo>
                <a:lnTo>
                  <a:pt x="1625" y="9174"/>
                </a:lnTo>
                <a:lnTo>
                  <a:pt x="1573" y="9310"/>
                </a:lnTo>
                <a:lnTo>
                  <a:pt x="1518" y="9452"/>
                </a:lnTo>
                <a:lnTo>
                  <a:pt x="1462" y="9599"/>
                </a:lnTo>
                <a:lnTo>
                  <a:pt x="1405" y="9752"/>
                </a:lnTo>
                <a:lnTo>
                  <a:pt x="1348" y="9909"/>
                </a:lnTo>
                <a:lnTo>
                  <a:pt x="1291" y="10070"/>
                </a:lnTo>
                <a:lnTo>
                  <a:pt x="1232" y="10233"/>
                </a:lnTo>
                <a:lnTo>
                  <a:pt x="739" y="10233"/>
                </a:lnTo>
                <a:lnTo>
                  <a:pt x="717" y="10234"/>
                </a:lnTo>
                <a:lnTo>
                  <a:pt x="695" y="10236"/>
                </a:lnTo>
                <a:lnTo>
                  <a:pt x="672" y="10238"/>
                </a:lnTo>
                <a:lnTo>
                  <a:pt x="650" y="10242"/>
                </a:lnTo>
                <a:lnTo>
                  <a:pt x="628" y="10247"/>
                </a:lnTo>
                <a:lnTo>
                  <a:pt x="606" y="10252"/>
                </a:lnTo>
                <a:lnTo>
                  <a:pt x="584" y="10259"/>
                </a:lnTo>
                <a:lnTo>
                  <a:pt x="562" y="10267"/>
                </a:lnTo>
                <a:lnTo>
                  <a:pt x="540" y="10275"/>
                </a:lnTo>
                <a:lnTo>
                  <a:pt x="519" y="10284"/>
                </a:lnTo>
                <a:lnTo>
                  <a:pt x="497" y="10295"/>
                </a:lnTo>
                <a:lnTo>
                  <a:pt x="477" y="10306"/>
                </a:lnTo>
                <a:lnTo>
                  <a:pt x="456" y="10318"/>
                </a:lnTo>
                <a:lnTo>
                  <a:pt x="436" y="10331"/>
                </a:lnTo>
                <a:lnTo>
                  <a:pt x="415" y="10344"/>
                </a:lnTo>
                <a:lnTo>
                  <a:pt x="396" y="10358"/>
                </a:lnTo>
                <a:lnTo>
                  <a:pt x="377" y="10372"/>
                </a:lnTo>
                <a:lnTo>
                  <a:pt x="359" y="10389"/>
                </a:lnTo>
                <a:lnTo>
                  <a:pt x="341" y="10404"/>
                </a:lnTo>
                <a:lnTo>
                  <a:pt x="323" y="10421"/>
                </a:lnTo>
                <a:lnTo>
                  <a:pt x="306" y="10438"/>
                </a:lnTo>
                <a:lnTo>
                  <a:pt x="289" y="10456"/>
                </a:lnTo>
                <a:lnTo>
                  <a:pt x="274" y="10475"/>
                </a:lnTo>
                <a:lnTo>
                  <a:pt x="259" y="10493"/>
                </a:lnTo>
                <a:lnTo>
                  <a:pt x="245" y="10512"/>
                </a:lnTo>
                <a:lnTo>
                  <a:pt x="232" y="10532"/>
                </a:lnTo>
                <a:lnTo>
                  <a:pt x="219" y="10553"/>
                </a:lnTo>
                <a:lnTo>
                  <a:pt x="208" y="10573"/>
                </a:lnTo>
                <a:lnTo>
                  <a:pt x="197" y="10594"/>
                </a:lnTo>
                <a:lnTo>
                  <a:pt x="187" y="10615"/>
                </a:lnTo>
                <a:lnTo>
                  <a:pt x="177" y="10637"/>
                </a:lnTo>
                <a:lnTo>
                  <a:pt x="169" y="10659"/>
                </a:lnTo>
                <a:lnTo>
                  <a:pt x="24" y="11084"/>
                </a:lnTo>
                <a:lnTo>
                  <a:pt x="17" y="11106"/>
                </a:lnTo>
                <a:lnTo>
                  <a:pt x="12" y="11128"/>
                </a:lnTo>
                <a:lnTo>
                  <a:pt x="7" y="11150"/>
                </a:lnTo>
                <a:lnTo>
                  <a:pt x="4" y="11174"/>
                </a:lnTo>
                <a:lnTo>
                  <a:pt x="1" y="11196"/>
                </a:lnTo>
                <a:lnTo>
                  <a:pt x="0" y="11218"/>
                </a:lnTo>
                <a:lnTo>
                  <a:pt x="0" y="11241"/>
                </a:lnTo>
                <a:lnTo>
                  <a:pt x="1" y="11263"/>
                </a:lnTo>
                <a:lnTo>
                  <a:pt x="3" y="11285"/>
                </a:lnTo>
                <a:lnTo>
                  <a:pt x="6" y="11306"/>
                </a:lnTo>
                <a:lnTo>
                  <a:pt x="10" y="11328"/>
                </a:lnTo>
                <a:lnTo>
                  <a:pt x="15" y="11349"/>
                </a:lnTo>
                <a:lnTo>
                  <a:pt x="21" y="11369"/>
                </a:lnTo>
                <a:lnTo>
                  <a:pt x="28" y="11389"/>
                </a:lnTo>
                <a:lnTo>
                  <a:pt x="36" y="11408"/>
                </a:lnTo>
                <a:lnTo>
                  <a:pt x="45" y="11427"/>
                </a:lnTo>
                <a:lnTo>
                  <a:pt x="55" y="11445"/>
                </a:lnTo>
                <a:lnTo>
                  <a:pt x="67" y="11462"/>
                </a:lnTo>
                <a:lnTo>
                  <a:pt x="78" y="11479"/>
                </a:lnTo>
                <a:lnTo>
                  <a:pt x="91" y="11494"/>
                </a:lnTo>
                <a:lnTo>
                  <a:pt x="104" y="11509"/>
                </a:lnTo>
                <a:lnTo>
                  <a:pt x="118" y="11523"/>
                </a:lnTo>
                <a:lnTo>
                  <a:pt x="133" y="11536"/>
                </a:lnTo>
                <a:lnTo>
                  <a:pt x="149" y="11547"/>
                </a:lnTo>
                <a:lnTo>
                  <a:pt x="165" y="11557"/>
                </a:lnTo>
                <a:lnTo>
                  <a:pt x="183" y="11566"/>
                </a:lnTo>
                <a:lnTo>
                  <a:pt x="202" y="11574"/>
                </a:lnTo>
                <a:lnTo>
                  <a:pt x="220" y="11582"/>
                </a:lnTo>
                <a:lnTo>
                  <a:pt x="240" y="11587"/>
                </a:lnTo>
                <a:lnTo>
                  <a:pt x="260" y="11591"/>
                </a:lnTo>
                <a:lnTo>
                  <a:pt x="281" y="11593"/>
                </a:lnTo>
                <a:lnTo>
                  <a:pt x="302" y="11594"/>
                </a:lnTo>
                <a:lnTo>
                  <a:pt x="787" y="11594"/>
                </a:lnTo>
                <a:lnTo>
                  <a:pt x="762" y="11662"/>
                </a:lnTo>
                <a:lnTo>
                  <a:pt x="739" y="11727"/>
                </a:lnTo>
                <a:lnTo>
                  <a:pt x="717" y="11787"/>
                </a:lnTo>
                <a:lnTo>
                  <a:pt x="697" y="11842"/>
                </a:lnTo>
                <a:lnTo>
                  <a:pt x="658" y="11938"/>
                </a:lnTo>
                <a:lnTo>
                  <a:pt x="626" y="12016"/>
                </a:lnTo>
                <a:lnTo>
                  <a:pt x="601" y="12076"/>
                </a:lnTo>
                <a:lnTo>
                  <a:pt x="581" y="12119"/>
                </a:lnTo>
                <a:lnTo>
                  <a:pt x="570" y="12144"/>
                </a:lnTo>
                <a:lnTo>
                  <a:pt x="566" y="12152"/>
                </a:lnTo>
                <a:lnTo>
                  <a:pt x="559" y="12166"/>
                </a:lnTo>
                <a:lnTo>
                  <a:pt x="553" y="12186"/>
                </a:lnTo>
                <a:lnTo>
                  <a:pt x="546" y="12208"/>
                </a:lnTo>
                <a:lnTo>
                  <a:pt x="540" y="12234"/>
                </a:lnTo>
                <a:lnTo>
                  <a:pt x="534" y="12263"/>
                </a:lnTo>
                <a:lnTo>
                  <a:pt x="529" y="12295"/>
                </a:lnTo>
                <a:lnTo>
                  <a:pt x="525" y="12327"/>
                </a:lnTo>
                <a:lnTo>
                  <a:pt x="520" y="12361"/>
                </a:lnTo>
                <a:lnTo>
                  <a:pt x="513" y="12426"/>
                </a:lnTo>
                <a:lnTo>
                  <a:pt x="508" y="12489"/>
                </a:lnTo>
                <a:lnTo>
                  <a:pt x="504" y="12542"/>
                </a:lnTo>
                <a:lnTo>
                  <a:pt x="503" y="12579"/>
                </a:lnTo>
                <a:lnTo>
                  <a:pt x="503" y="15763"/>
                </a:lnTo>
                <a:lnTo>
                  <a:pt x="504" y="15785"/>
                </a:lnTo>
                <a:lnTo>
                  <a:pt x="505" y="15807"/>
                </a:lnTo>
                <a:lnTo>
                  <a:pt x="508" y="15828"/>
                </a:lnTo>
                <a:lnTo>
                  <a:pt x="512" y="15849"/>
                </a:lnTo>
                <a:lnTo>
                  <a:pt x="516" y="15869"/>
                </a:lnTo>
                <a:lnTo>
                  <a:pt x="522" y="15890"/>
                </a:lnTo>
                <a:lnTo>
                  <a:pt x="529" y="15910"/>
                </a:lnTo>
                <a:lnTo>
                  <a:pt x="536" y="15929"/>
                </a:lnTo>
                <a:lnTo>
                  <a:pt x="545" y="15947"/>
                </a:lnTo>
                <a:lnTo>
                  <a:pt x="555" y="15965"/>
                </a:lnTo>
                <a:lnTo>
                  <a:pt x="565" y="15984"/>
                </a:lnTo>
                <a:lnTo>
                  <a:pt x="576" y="16001"/>
                </a:lnTo>
                <a:lnTo>
                  <a:pt x="588" y="16018"/>
                </a:lnTo>
                <a:lnTo>
                  <a:pt x="600" y="16033"/>
                </a:lnTo>
                <a:lnTo>
                  <a:pt x="613" y="16049"/>
                </a:lnTo>
                <a:lnTo>
                  <a:pt x="627" y="16064"/>
                </a:lnTo>
                <a:lnTo>
                  <a:pt x="642" y="16078"/>
                </a:lnTo>
                <a:lnTo>
                  <a:pt x="657" y="16091"/>
                </a:lnTo>
                <a:lnTo>
                  <a:pt x="673" y="16104"/>
                </a:lnTo>
                <a:lnTo>
                  <a:pt x="690" y="16115"/>
                </a:lnTo>
                <a:lnTo>
                  <a:pt x="707" y="16126"/>
                </a:lnTo>
                <a:lnTo>
                  <a:pt x="725" y="16136"/>
                </a:lnTo>
                <a:lnTo>
                  <a:pt x="743" y="16147"/>
                </a:lnTo>
                <a:lnTo>
                  <a:pt x="762" y="16155"/>
                </a:lnTo>
                <a:lnTo>
                  <a:pt x="781" y="16163"/>
                </a:lnTo>
                <a:lnTo>
                  <a:pt x="801" y="16169"/>
                </a:lnTo>
                <a:lnTo>
                  <a:pt x="821" y="16175"/>
                </a:lnTo>
                <a:lnTo>
                  <a:pt x="842" y="16180"/>
                </a:lnTo>
                <a:lnTo>
                  <a:pt x="862" y="16183"/>
                </a:lnTo>
                <a:lnTo>
                  <a:pt x="883" y="16186"/>
                </a:lnTo>
                <a:lnTo>
                  <a:pt x="905" y="16187"/>
                </a:lnTo>
                <a:lnTo>
                  <a:pt x="927" y="16188"/>
                </a:lnTo>
                <a:lnTo>
                  <a:pt x="2105" y="16188"/>
                </a:lnTo>
                <a:lnTo>
                  <a:pt x="2126" y="16187"/>
                </a:lnTo>
                <a:lnTo>
                  <a:pt x="2149" y="16186"/>
                </a:lnTo>
                <a:lnTo>
                  <a:pt x="2170" y="16183"/>
                </a:lnTo>
                <a:lnTo>
                  <a:pt x="2190" y="16179"/>
                </a:lnTo>
                <a:lnTo>
                  <a:pt x="2211" y="16175"/>
                </a:lnTo>
                <a:lnTo>
                  <a:pt x="2231" y="16169"/>
                </a:lnTo>
                <a:lnTo>
                  <a:pt x="2250" y="16163"/>
                </a:lnTo>
                <a:lnTo>
                  <a:pt x="2269" y="16155"/>
                </a:lnTo>
                <a:lnTo>
                  <a:pt x="2289" y="16147"/>
                </a:lnTo>
                <a:lnTo>
                  <a:pt x="2307" y="16136"/>
                </a:lnTo>
                <a:lnTo>
                  <a:pt x="2325" y="16126"/>
                </a:lnTo>
                <a:lnTo>
                  <a:pt x="2342" y="16115"/>
                </a:lnTo>
                <a:lnTo>
                  <a:pt x="2358" y="16104"/>
                </a:lnTo>
                <a:lnTo>
                  <a:pt x="2374" y="16091"/>
                </a:lnTo>
                <a:lnTo>
                  <a:pt x="2389" y="16078"/>
                </a:lnTo>
                <a:lnTo>
                  <a:pt x="2405" y="16064"/>
                </a:lnTo>
                <a:lnTo>
                  <a:pt x="2419" y="16048"/>
                </a:lnTo>
                <a:lnTo>
                  <a:pt x="2432" y="16033"/>
                </a:lnTo>
                <a:lnTo>
                  <a:pt x="2444" y="16017"/>
                </a:lnTo>
                <a:lnTo>
                  <a:pt x="2456" y="16001"/>
                </a:lnTo>
                <a:lnTo>
                  <a:pt x="2467" y="15984"/>
                </a:lnTo>
                <a:lnTo>
                  <a:pt x="2477" y="15965"/>
                </a:lnTo>
                <a:lnTo>
                  <a:pt x="2487" y="15947"/>
                </a:lnTo>
                <a:lnTo>
                  <a:pt x="2495" y="15928"/>
                </a:lnTo>
                <a:lnTo>
                  <a:pt x="2502" y="15909"/>
                </a:lnTo>
                <a:lnTo>
                  <a:pt x="2509" y="15890"/>
                </a:lnTo>
                <a:lnTo>
                  <a:pt x="2515" y="15869"/>
                </a:lnTo>
                <a:lnTo>
                  <a:pt x="2520" y="15849"/>
                </a:lnTo>
                <a:lnTo>
                  <a:pt x="2524" y="15828"/>
                </a:lnTo>
                <a:lnTo>
                  <a:pt x="2527" y="15807"/>
                </a:lnTo>
                <a:lnTo>
                  <a:pt x="2528" y="15784"/>
                </a:lnTo>
                <a:lnTo>
                  <a:pt x="2529" y="15763"/>
                </a:lnTo>
                <a:lnTo>
                  <a:pt x="2529" y="15354"/>
                </a:lnTo>
                <a:lnTo>
                  <a:pt x="2179" y="15354"/>
                </a:lnTo>
                <a:lnTo>
                  <a:pt x="2179" y="14979"/>
                </a:lnTo>
                <a:close/>
                <a:moveTo>
                  <a:pt x="4943" y="5869"/>
                </a:moveTo>
                <a:lnTo>
                  <a:pt x="4797" y="6294"/>
                </a:lnTo>
                <a:lnTo>
                  <a:pt x="4791" y="6316"/>
                </a:lnTo>
                <a:lnTo>
                  <a:pt x="4785" y="6339"/>
                </a:lnTo>
                <a:lnTo>
                  <a:pt x="4780" y="6361"/>
                </a:lnTo>
                <a:lnTo>
                  <a:pt x="4777" y="6383"/>
                </a:lnTo>
                <a:lnTo>
                  <a:pt x="4775" y="6406"/>
                </a:lnTo>
                <a:lnTo>
                  <a:pt x="4774" y="6429"/>
                </a:lnTo>
                <a:lnTo>
                  <a:pt x="4774" y="6451"/>
                </a:lnTo>
                <a:lnTo>
                  <a:pt x="4775" y="6473"/>
                </a:lnTo>
                <a:lnTo>
                  <a:pt x="4777" y="6494"/>
                </a:lnTo>
                <a:lnTo>
                  <a:pt x="4780" y="6517"/>
                </a:lnTo>
                <a:lnTo>
                  <a:pt x="4784" y="6538"/>
                </a:lnTo>
                <a:lnTo>
                  <a:pt x="4789" y="6558"/>
                </a:lnTo>
                <a:lnTo>
                  <a:pt x="4795" y="6578"/>
                </a:lnTo>
                <a:lnTo>
                  <a:pt x="4802" y="6599"/>
                </a:lnTo>
                <a:lnTo>
                  <a:pt x="4810" y="6618"/>
                </a:lnTo>
                <a:lnTo>
                  <a:pt x="4819" y="6637"/>
                </a:lnTo>
                <a:lnTo>
                  <a:pt x="4829" y="6654"/>
                </a:lnTo>
                <a:lnTo>
                  <a:pt x="4840" y="6672"/>
                </a:lnTo>
                <a:lnTo>
                  <a:pt x="4852" y="6689"/>
                </a:lnTo>
                <a:lnTo>
                  <a:pt x="4865" y="6704"/>
                </a:lnTo>
                <a:lnTo>
                  <a:pt x="4878" y="6719"/>
                </a:lnTo>
                <a:lnTo>
                  <a:pt x="4892" y="6732"/>
                </a:lnTo>
                <a:lnTo>
                  <a:pt x="4907" y="6745"/>
                </a:lnTo>
                <a:lnTo>
                  <a:pt x="4923" y="6756"/>
                </a:lnTo>
                <a:lnTo>
                  <a:pt x="4939" y="6768"/>
                </a:lnTo>
                <a:lnTo>
                  <a:pt x="4957" y="6777"/>
                </a:lnTo>
                <a:lnTo>
                  <a:pt x="4976" y="6784"/>
                </a:lnTo>
                <a:lnTo>
                  <a:pt x="4994" y="6791"/>
                </a:lnTo>
                <a:lnTo>
                  <a:pt x="5014" y="6796"/>
                </a:lnTo>
                <a:lnTo>
                  <a:pt x="5034" y="6800"/>
                </a:lnTo>
                <a:lnTo>
                  <a:pt x="5055" y="6802"/>
                </a:lnTo>
                <a:lnTo>
                  <a:pt x="5076" y="6803"/>
                </a:lnTo>
                <a:lnTo>
                  <a:pt x="5560" y="6803"/>
                </a:lnTo>
                <a:lnTo>
                  <a:pt x="5546" y="6842"/>
                </a:lnTo>
                <a:lnTo>
                  <a:pt x="5590" y="6842"/>
                </a:lnTo>
                <a:lnTo>
                  <a:pt x="5764" y="6842"/>
                </a:lnTo>
                <a:lnTo>
                  <a:pt x="5932" y="6843"/>
                </a:lnTo>
                <a:lnTo>
                  <a:pt x="6093" y="6847"/>
                </a:lnTo>
                <a:lnTo>
                  <a:pt x="6246" y="6850"/>
                </a:lnTo>
                <a:lnTo>
                  <a:pt x="6393" y="6854"/>
                </a:lnTo>
                <a:lnTo>
                  <a:pt x="6533" y="6858"/>
                </a:lnTo>
                <a:lnTo>
                  <a:pt x="6667" y="6864"/>
                </a:lnTo>
                <a:lnTo>
                  <a:pt x="6794" y="6870"/>
                </a:lnTo>
                <a:lnTo>
                  <a:pt x="6915" y="6876"/>
                </a:lnTo>
                <a:lnTo>
                  <a:pt x="7030" y="6883"/>
                </a:lnTo>
                <a:lnTo>
                  <a:pt x="7139" y="6890"/>
                </a:lnTo>
                <a:lnTo>
                  <a:pt x="7242" y="6898"/>
                </a:lnTo>
                <a:lnTo>
                  <a:pt x="7340" y="6906"/>
                </a:lnTo>
                <a:lnTo>
                  <a:pt x="7432" y="6915"/>
                </a:lnTo>
                <a:lnTo>
                  <a:pt x="7517" y="6923"/>
                </a:lnTo>
                <a:lnTo>
                  <a:pt x="7598" y="6933"/>
                </a:lnTo>
                <a:lnTo>
                  <a:pt x="7674" y="6942"/>
                </a:lnTo>
                <a:lnTo>
                  <a:pt x="7744" y="6951"/>
                </a:lnTo>
                <a:lnTo>
                  <a:pt x="7811" y="6960"/>
                </a:lnTo>
                <a:lnTo>
                  <a:pt x="7871" y="6969"/>
                </a:lnTo>
                <a:lnTo>
                  <a:pt x="7928" y="6978"/>
                </a:lnTo>
                <a:lnTo>
                  <a:pt x="7979" y="6986"/>
                </a:lnTo>
                <a:lnTo>
                  <a:pt x="8026" y="6995"/>
                </a:lnTo>
                <a:lnTo>
                  <a:pt x="8070" y="7003"/>
                </a:lnTo>
                <a:lnTo>
                  <a:pt x="8143" y="7020"/>
                </a:lnTo>
                <a:lnTo>
                  <a:pt x="8202" y="7033"/>
                </a:lnTo>
                <a:lnTo>
                  <a:pt x="8245" y="7045"/>
                </a:lnTo>
                <a:lnTo>
                  <a:pt x="8276" y="7054"/>
                </a:lnTo>
                <a:lnTo>
                  <a:pt x="8476" y="7116"/>
                </a:lnTo>
                <a:lnTo>
                  <a:pt x="8557" y="7140"/>
                </a:lnTo>
                <a:lnTo>
                  <a:pt x="8641" y="7166"/>
                </a:lnTo>
                <a:lnTo>
                  <a:pt x="8685" y="7180"/>
                </a:lnTo>
                <a:lnTo>
                  <a:pt x="8729" y="7196"/>
                </a:lnTo>
                <a:lnTo>
                  <a:pt x="8774" y="7211"/>
                </a:lnTo>
                <a:lnTo>
                  <a:pt x="8820" y="7227"/>
                </a:lnTo>
                <a:lnTo>
                  <a:pt x="8866" y="7244"/>
                </a:lnTo>
                <a:lnTo>
                  <a:pt x="8913" y="7262"/>
                </a:lnTo>
                <a:lnTo>
                  <a:pt x="8960" y="7282"/>
                </a:lnTo>
                <a:lnTo>
                  <a:pt x="9006" y="7302"/>
                </a:lnTo>
                <a:lnTo>
                  <a:pt x="9054" y="7323"/>
                </a:lnTo>
                <a:lnTo>
                  <a:pt x="9101" y="7346"/>
                </a:lnTo>
                <a:lnTo>
                  <a:pt x="9149" y="7371"/>
                </a:lnTo>
                <a:lnTo>
                  <a:pt x="9195" y="7396"/>
                </a:lnTo>
                <a:lnTo>
                  <a:pt x="9241" y="7422"/>
                </a:lnTo>
                <a:lnTo>
                  <a:pt x="9288" y="7451"/>
                </a:lnTo>
                <a:lnTo>
                  <a:pt x="9333" y="7481"/>
                </a:lnTo>
                <a:lnTo>
                  <a:pt x="9378" y="7512"/>
                </a:lnTo>
                <a:lnTo>
                  <a:pt x="9423" y="7546"/>
                </a:lnTo>
                <a:lnTo>
                  <a:pt x="9466" y="7580"/>
                </a:lnTo>
                <a:lnTo>
                  <a:pt x="9508" y="7617"/>
                </a:lnTo>
                <a:lnTo>
                  <a:pt x="9551" y="7656"/>
                </a:lnTo>
                <a:lnTo>
                  <a:pt x="9591" y="7696"/>
                </a:lnTo>
                <a:lnTo>
                  <a:pt x="9630" y="7739"/>
                </a:lnTo>
                <a:lnTo>
                  <a:pt x="9669" y="7784"/>
                </a:lnTo>
                <a:lnTo>
                  <a:pt x="9706" y="7831"/>
                </a:lnTo>
                <a:lnTo>
                  <a:pt x="9741" y="7881"/>
                </a:lnTo>
                <a:lnTo>
                  <a:pt x="9776" y="7931"/>
                </a:lnTo>
                <a:lnTo>
                  <a:pt x="9808" y="7986"/>
                </a:lnTo>
                <a:lnTo>
                  <a:pt x="9838" y="8041"/>
                </a:lnTo>
                <a:lnTo>
                  <a:pt x="9858" y="8083"/>
                </a:lnTo>
                <a:lnTo>
                  <a:pt x="9882" y="8134"/>
                </a:lnTo>
                <a:lnTo>
                  <a:pt x="9909" y="8194"/>
                </a:lnTo>
                <a:lnTo>
                  <a:pt x="9939" y="8262"/>
                </a:lnTo>
                <a:lnTo>
                  <a:pt x="9971" y="8339"/>
                </a:lnTo>
                <a:lnTo>
                  <a:pt x="10005" y="8422"/>
                </a:lnTo>
                <a:lnTo>
                  <a:pt x="10043" y="8513"/>
                </a:lnTo>
                <a:lnTo>
                  <a:pt x="10082" y="8609"/>
                </a:lnTo>
                <a:lnTo>
                  <a:pt x="10122" y="8711"/>
                </a:lnTo>
                <a:lnTo>
                  <a:pt x="10165" y="8819"/>
                </a:lnTo>
                <a:lnTo>
                  <a:pt x="10208" y="8932"/>
                </a:lnTo>
                <a:lnTo>
                  <a:pt x="10254" y="9049"/>
                </a:lnTo>
                <a:lnTo>
                  <a:pt x="10299" y="9169"/>
                </a:lnTo>
                <a:lnTo>
                  <a:pt x="10345" y="9294"/>
                </a:lnTo>
                <a:lnTo>
                  <a:pt x="10392" y="9420"/>
                </a:lnTo>
                <a:lnTo>
                  <a:pt x="10439" y="9550"/>
                </a:lnTo>
                <a:lnTo>
                  <a:pt x="10448" y="9550"/>
                </a:lnTo>
                <a:lnTo>
                  <a:pt x="10488" y="9550"/>
                </a:lnTo>
                <a:lnTo>
                  <a:pt x="10530" y="9553"/>
                </a:lnTo>
                <a:lnTo>
                  <a:pt x="10570" y="9556"/>
                </a:lnTo>
                <a:lnTo>
                  <a:pt x="10610" y="9561"/>
                </a:lnTo>
                <a:lnTo>
                  <a:pt x="10651" y="9568"/>
                </a:lnTo>
                <a:lnTo>
                  <a:pt x="10691" y="9576"/>
                </a:lnTo>
                <a:lnTo>
                  <a:pt x="10730" y="9585"/>
                </a:lnTo>
                <a:lnTo>
                  <a:pt x="10770" y="9596"/>
                </a:lnTo>
                <a:lnTo>
                  <a:pt x="10809" y="9608"/>
                </a:lnTo>
                <a:lnTo>
                  <a:pt x="10847" y="9622"/>
                </a:lnTo>
                <a:lnTo>
                  <a:pt x="10886" y="9636"/>
                </a:lnTo>
                <a:lnTo>
                  <a:pt x="10923" y="9652"/>
                </a:lnTo>
                <a:lnTo>
                  <a:pt x="10960" y="9668"/>
                </a:lnTo>
                <a:lnTo>
                  <a:pt x="10998" y="9686"/>
                </a:lnTo>
                <a:lnTo>
                  <a:pt x="11033" y="9706"/>
                </a:lnTo>
                <a:lnTo>
                  <a:pt x="11069" y="9727"/>
                </a:lnTo>
                <a:lnTo>
                  <a:pt x="11103" y="9748"/>
                </a:lnTo>
                <a:lnTo>
                  <a:pt x="11139" y="9771"/>
                </a:lnTo>
                <a:lnTo>
                  <a:pt x="11172" y="9795"/>
                </a:lnTo>
                <a:lnTo>
                  <a:pt x="11205" y="9820"/>
                </a:lnTo>
                <a:lnTo>
                  <a:pt x="11238" y="9845"/>
                </a:lnTo>
                <a:lnTo>
                  <a:pt x="11269" y="9873"/>
                </a:lnTo>
                <a:lnTo>
                  <a:pt x="11300" y="9900"/>
                </a:lnTo>
                <a:lnTo>
                  <a:pt x="11329" y="9928"/>
                </a:lnTo>
                <a:lnTo>
                  <a:pt x="11359" y="9959"/>
                </a:lnTo>
                <a:lnTo>
                  <a:pt x="11387" y="9989"/>
                </a:lnTo>
                <a:lnTo>
                  <a:pt x="11414" y="10020"/>
                </a:lnTo>
                <a:lnTo>
                  <a:pt x="11440" y="10053"/>
                </a:lnTo>
                <a:lnTo>
                  <a:pt x="11465" y="10085"/>
                </a:lnTo>
                <a:lnTo>
                  <a:pt x="11491" y="10120"/>
                </a:lnTo>
                <a:lnTo>
                  <a:pt x="11514" y="10154"/>
                </a:lnTo>
                <a:lnTo>
                  <a:pt x="11536" y="10189"/>
                </a:lnTo>
                <a:lnTo>
                  <a:pt x="13739" y="10189"/>
                </a:lnTo>
                <a:lnTo>
                  <a:pt x="13739" y="10565"/>
                </a:lnTo>
                <a:lnTo>
                  <a:pt x="13423" y="10565"/>
                </a:lnTo>
                <a:lnTo>
                  <a:pt x="13423" y="10973"/>
                </a:lnTo>
                <a:lnTo>
                  <a:pt x="13423" y="10995"/>
                </a:lnTo>
                <a:lnTo>
                  <a:pt x="13425" y="11017"/>
                </a:lnTo>
                <a:lnTo>
                  <a:pt x="13427" y="11038"/>
                </a:lnTo>
                <a:lnTo>
                  <a:pt x="13431" y="11058"/>
                </a:lnTo>
                <a:lnTo>
                  <a:pt x="13436" y="11080"/>
                </a:lnTo>
                <a:lnTo>
                  <a:pt x="13441" y="11100"/>
                </a:lnTo>
                <a:lnTo>
                  <a:pt x="13449" y="11119"/>
                </a:lnTo>
                <a:lnTo>
                  <a:pt x="13457" y="11138"/>
                </a:lnTo>
                <a:lnTo>
                  <a:pt x="13465" y="11158"/>
                </a:lnTo>
                <a:lnTo>
                  <a:pt x="13474" y="11176"/>
                </a:lnTo>
                <a:lnTo>
                  <a:pt x="13484" y="11194"/>
                </a:lnTo>
                <a:lnTo>
                  <a:pt x="13495" y="11211"/>
                </a:lnTo>
                <a:lnTo>
                  <a:pt x="13507" y="11227"/>
                </a:lnTo>
                <a:lnTo>
                  <a:pt x="13520" y="11244"/>
                </a:lnTo>
                <a:lnTo>
                  <a:pt x="13533" y="11259"/>
                </a:lnTo>
                <a:lnTo>
                  <a:pt x="13547" y="11274"/>
                </a:lnTo>
                <a:lnTo>
                  <a:pt x="13561" y="11288"/>
                </a:lnTo>
                <a:lnTo>
                  <a:pt x="13578" y="11301"/>
                </a:lnTo>
                <a:lnTo>
                  <a:pt x="13593" y="11313"/>
                </a:lnTo>
                <a:lnTo>
                  <a:pt x="13610" y="11326"/>
                </a:lnTo>
                <a:lnTo>
                  <a:pt x="13627" y="11337"/>
                </a:lnTo>
                <a:lnTo>
                  <a:pt x="13645" y="11347"/>
                </a:lnTo>
                <a:lnTo>
                  <a:pt x="13663" y="11356"/>
                </a:lnTo>
                <a:lnTo>
                  <a:pt x="13681" y="11365"/>
                </a:lnTo>
                <a:lnTo>
                  <a:pt x="13701" y="11372"/>
                </a:lnTo>
                <a:lnTo>
                  <a:pt x="13721" y="11379"/>
                </a:lnTo>
                <a:lnTo>
                  <a:pt x="13741" y="11385"/>
                </a:lnTo>
                <a:lnTo>
                  <a:pt x="13761" y="11389"/>
                </a:lnTo>
                <a:lnTo>
                  <a:pt x="13782" y="11393"/>
                </a:lnTo>
                <a:lnTo>
                  <a:pt x="13803" y="11396"/>
                </a:lnTo>
                <a:lnTo>
                  <a:pt x="13825" y="11397"/>
                </a:lnTo>
                <a:lnTo>
                  <a:pt x="13847" y="11398"/>
                </a:lnTo>
                <a:lnTo>
                  <a:pt x="15024" y="11398"/>
                </a:lnTo>
                <a:lnTo>
                  <a:pt x="15047" y="11397"/>
                </a:lnTo>
                <a:lnTo>
                  <a:pt x="15068" y="11396"/>
                </a:lnTo>
                <a:lnTo>
                  <a:pt x="15089" y="11393"/>
                </a:lnTo>
                <a:lnTo>
                  <a:pt x="15110" y="11389"/>
                </a:lnTo>
                <a:lnTo>
                  <a:pt x="15130" y="11385"/>
                </a:lnTo>
                <a:lnTo>
                  <a:pt x="15150" y="11379"/>
                </a:lnTo>
                <a:lnTo>
                  <a:pt x="15171" y="11372"/>
                </a:lnTo>
                <a:lnTo>
                  <a:pt x="15190" y="11365"/>
                </a:lnTo>
                <a:lnTo>
                  <a:pt x="15208" y="11357"/>
                </a:lnTo>
                <a:lnTo>
                  <a:pt x="15226" y="11347"/>
                </a:lnTo>
                <a:lnTo>
                  <a:pt x="15244" y="11337"/>
                </a:lnTo>
                <a:lnTo>
                  <a:pt x="15261" y="11326"/>
                </a:lnTo>
                <a:lnTo>
                  <a:pt x="15277" y="11314"/>
                </a:lnTo>
                <a:lnTo>
                  <a:pt x="15294" y="11301"/>
                </a:lnTo>
                <a:lnTo>
                  <a:pt x="15310" y="11288"/>
                </a:lnTo>
                <a:lnTo>
                  <a:pt x="15324" y="11274"/>
                </a:lnTo>
                <a:lnTo>
                  <a:pt x="15338" y="11259"/>
                </a:lnTo>
                <a:lnTo>
                  <a:pt x="15351" y="11244"/>
                </a:lnTo>
                <a:lnTo>
                  <a:pt x="15364" y="11227"/>
                </a:lnTo>
                <a:lnTo>
                  <a:pt x="15375" y="11211"/>
                </a:lnTo>
                <a:lnTo>
                  <a:pt x="15386" y="11194"/>
                </a:lnTo>
                <a:lnTo>
                  <a:pt x="15396" y="11176"/>
                </a:lnTo>
                <a:lnTo>
                  <a:pt x="15406" y="11158"/>
                </a:lnTo>
                <a:lnTo>
                  <a:pt x="15415" y="11139"/>
                </a:lnTo>
                <a:lnTo>
                  <a:pt x="15423" y="11119"/>
                </a:lnTo>
                <a:lnTo>
                  <a:pt x="15429" y="11100"/>
                </a:lnTo>
                <a:lnTo>
                  <a:pt x="15435" y="11080"/>
                </a:lnTo>
                <a:lnTo>
                  <a:pt x="15439" y="11059"/>
                </a:lnTo>
                <a:lnTo>
                  <a:pt x="15443" y="11038"/>
                </a:lnTo>
                <a:lnTo>
                  <a:pt x="15446" y="11017"/>
                </a:lnTo>
                <a:lnTo>
                  <a:pt x="15447" y="10995"/>
                </a:lnTo>
                <a:lnTo>
                  <a:pt x="15448" y="10973"/>
                </a:lnTo>
                <a:lnTo>
                  <a:pt x="15448" y="7789"/>
                </a:lnTo>
                <a:lnTo>
                  <a:pt x="15447" y="7752"/>
                </a:lnTo>
                <a:lnTo>
                  <a:pt x="15443" y="7699"/>
                </a:lnTo>
                <a:lnTo>
                  <a:pt x="15438" y="7637"/>
                </a:lnTo>
                <a:lnTo>
                  <a:pt x="15431" y="7571"/>
                </a:lnTo>
                <a:lnTo>
                  <a:pt x="15426" y="7538"/>
                </a:lnTo>
                <a:lnTo>
                  <a:pt x="15422" y="7505"/>
                </a:lnTo>
                <a:lnTo>
                  <a:pt x="15417" y="7474"/>
                </a:lnTo>
                <a:lnTo>
                  <a:pt x="15411" y="7444"/>
                </a:lnTo>
                <a:lnTo>
                  <a:pt x="15404" y="7418"/>
                </a:lnTo>
                <a:lnTo>
                  <a:pt x="15398" y="7396"/>
                </a:lnTo>
                <a:lnTo>
                  <a:pt x="15392" y="7377"/>
                </a:lnTo>
                <a:lnTo>
                  <a:pt x="15385" y="7363"/>
                </a:lnTo>
                <a:lnTo>
                  <a:pt x="15381" y="7354"/>
                </a:lnTo>
                <a:lnTo>
                  <a:pt x="15370" y="7329"/>
                </a:lnTo>
                <a:lnTo>
                  <a:pt x="15351" y="7287"/>
                </a:lnTo>
                <a:lnTo>
                  <a:pt x="15326" y="7226"/>
                </a:lnTo>
                <a:lnTo>
                  <a:pt x="15294" y="7148"/>
                </a:lnTo>
                <a:lnTo>
                  <a:pt x="15257" y="7052"/>
                </a:lnTo>
                <a:lnTo>
                  <a:pt x="15236" y="6997"/>
                </a:lnTo>
                <a:lnTo>
                  <a:pt x="15215" y="6938"/>
                </a:lnTo>
                <a:lnTo>
                  <a:pt x="15192" y="6873"/>
                </a:lnTo>
                <a:lnTo>
                  <a:pt x="15168" y="6804"/>
                </a:lnTo>
                <a:lnTo>
                  <a:pt x="15657" y="6804"/>
                </a:lnTo>
                <a:lnTo>
                  <a:pt x="15679" y="6803"/>
                </a:lnTo>
                <a:lnTo>
                  <a:pt x="15700" y="6801"/>
                </a:lnTo>
                <a:lnTo>
                  <a:pt x="15720" y="6797"/>
                </a:lnTo>
                <a:lnTo>
                  <a:pt x="15739" y="6792"/>
                </a:lnTo>
                <a:lnTo>
                  <a:pt x="15758" y="6785"/>
                </a:lnTo>
                <a:lnTo>
                  <a:pt x="15777" y="6777"/>
                </a:lnTo>
                <a:lnTo>
                  <a:pt x="15794" y="6768"/>
                </a:lnTo>
                <a:lnTo>
                  <a:pt x="15811" y="6757"/>
                </a:lnTo>
                <a:lnTo>
                  <a:pt x="15827" y="6745"/>
                </a:lnTo>
                <a:lnTo>
                  <a:pt x="15842" y="6733"/>
                </a:lnTo>
                <a:lnTo>
                  <a:pt x="15856" y="6719"/>
                </a:lnTo>
                <a:lnTo>
                  <a:pt x="15869" y="6705"/>
                </a:lnTo>
                <a:lnTo>
                  <a:pt x="15882" y="6689"/>
                </a:lnTo>
                <a:lnTo>
                  <a:pt x="15893" y="6672"/>
                </a:lnTo>
                <a:lnTo>
                  <a:pt x="15905" y="6655"/>
                </a:lnTo>
                <a:lnTo>
                  <a:pt x="15915" y="6637"/>
                </a:lnTo>
                <a:lnTo>
                  <a:pt x="15924" y="6619"/>
                </a:lnTo>
                <a:lnTo>
                  <a:pt x="15932" y="6599"/>
                </a:lnTo>
                <a:lnTo>
                  <a:pt x="15939" y="6579"/>
                </a:lnTo>
                <a:lnTo>
                  <a:pt x="15945" y="6559"/>
                </a:lnTo>
                <a:lnTo>
                  <a:pt x="15950" y="6538"/>
                </a:lnTo>
                <a:lnTo>
                  <a:pt x="15954" y="6517"/>
                </a:lnTo>
                <a:lnTo>
                  <a:pt x="15957" y="6494"/>
                </a:lnTo>
                <a:lnTo>
                  <a:pt x="15959" y="6473"/>
                </a:lnTo>
                <a:lnTo>
                  <a:pt x="15960" y="6451"/>
                </a:lnTo>
                <a:lnTo>
                  <a:pt x="15960" y="6429"/>
                </a:lnTo>
                <a:lnTo>
                  <a:pt x="15959" y="6406"/>
                </a:lnTo>
                <a:lnTo>
                  <a:pt x="15956" y="6383"/>
                </a:lnTo>
                <a:lnTo>
                  <a:pt x="15953" y="6361"/>
                </a:lnTo>
                <a:lnTo>
                  <a:pt x="15948" y="6339"/>
                </a:lnTo>
                <a:lnTo>
                  <a:pt x="15943" y="6316"/>
                </a:lnTo>
                <a:lnTo>
                  <a:pt x="15936" y="6294"/>
                </a:lnTo>
                <a:lnTo>
                  <a:pt x="15791" y="5869"/>
                </a:lnTo>
                <a:lnTo>
                  <a:pt x="15783" y="5848"/>
                </a:lnTo>
                <a:lnTo>
                  <a:pt x="15773" y="5826"/>
                </a:lnTo>
                <a:lnTo>
                  <a:pt x="15763" y="5804"/>
                </a:lnTo>
                <a:lnTo>
                  <a:pt x="15752" y="5784"/>
                </a:lnTo>
                <a:lnTo>
                  <a:pt x="15740" y="5763"/>
                </a:lnTo>
                <a:lnTo>
                  <a:pt x="15728" y="5743"/>
                </a:lnTo>
                <a:lnTo>
                  <a:pt x="15715" y="5723"/>
                </a:lnTo>
                <a:lnTo>
                  <a:pt x="15701" y="5704"/>
                </a:lnTo>
                <a:lnTo>
                  <a:pt x="15686" y="5685"/>
                </a:lnTo>
                <a:lnTo>
                  <a:pt x="15670" y="5667"/>
                </a:lnTo>
                <a:lnTo>
                  <a:pt x="15654" y="5649"/>
                </a:lnTo>
                <a:lnTo>
                  <a:pt x="15636" y="5631"/>
                </a:lnTo>
                <a:lnTo>
                  <a:pt x="15619" y="5615"/>
                </a:lnTo>
                <a:lnTo>
                  <a:pt x="15601" y="5599"/>
                </a:lnTo>
                <a:lnTo>
                  <a:pt x="15582" y="5584"/>
                </a:lnTo>
                <a:lnTo>
                  <a:pt x="15564" y="5569"/>
                </a:lnTo>
                <a:lnTo>
                  <a:pt x="15544" y="5555"/>
                </a:lnTo>
                <a:lnTo>
                  <a:pt x="15523" y="5541"/>
                </a:lnTo>
                <a:lnTo>
                  <a:pt x="15503" y="5529"/>
                </a:lnTo>
                <a:lnTo>
                  <a:pt x="15483" y="5517"/>
                </a:lnTo>
                <a:lnTo>
                  <a:pt x="15462" y="5506"/>
                </a:lnTo>
                <a:lnTo>
                  <a:pt x="15441" y="5496"/>
                </a:lnTo>
                <a:lnTo>
                  <a:pt x="15419" y="5487"/>
                </a:lnTo>
                <a:lnTo>
                  <a:pt x="15397" y="5478"/>
                </a:lnTo>
                <a:lnTo>
                  <a:pt x="15375" y="5471"/>
                </a:lnTo>
                <a:lnTo>
                  <a:pt x="15353" y="5463"/>
                </a:lnTo>
                <a:lnTo>
                  <a:pt x="15331" y="5457"/>
                </a:lnTo>
                <a:lnTo>
                  <a:pt x="15309" y="5453"/>
                </a:lnTo>
                <a:lnTo>
                  <a:pt x="15287" y="5449"/>
                </a:lnTo>
                <a:lnTo>
                  <a:pt x="15265" y="5446"/>
                </a:lnTo>
                <a:lnTo>
                  <a:pt x="15243" y="5445"/>
                </a:lnTo>
                <a:lnTo>
                  <a:pt x="15221" y="5444"/>
                </a:lnTo>
                <a:lnTo>
                  <a:pt x="14731" y="5444"/>
                </a:lnTo>
                <a:lnTo>
                  <a:pt x="14673" y="5276"/>
                </a:lnTo>
                <a:lnTo>
                  <a:pt x="14614" y="5110"/>
                </a:lnTo>
                <a:lnTo>
                  <a:pt x="14556" y="4949"/>
                </a:lnTo>
                <a:lnTo>
                  <a:pt x="14498" y="4793"/>
                </a:lnTo>
                <a:lnTo>
                  <a:pt x="14442" y="4641"/>
                </a:lnTo>
                <a:lnTo>
                  <a:pt x="14387" y="4496"/>
                </a:lnTo>
                <a:lnTo>
                  <a:pt x="14334" y="4359"/>
                </a:lnTo>
                <a:lnTo>
                  <a:pt x="14283" y="4229"/>
                </a:lnTo>
                <a:lnTo>
                  <a:pt x="14236" y="4108"/>
                </a:lnTo>
                <a:lnTo>
                  <a:pt x="14191" y="3995"/>
                </a:lnTo>
                <a:lnTo>
                  <a:pt x="14149" y="3894"/>
                </a:lnTo>
                <a:lnTo>
                  <a:pt x="14112" y="3803"/>
                </a:lnTo>
                <a:lnTo>
                  <a:pt x="14078" y="3724"/>
                </a:lnTo>
                <a:lnTo>
                  <a:pt x="14048" y="3657"/>
                </a:lnTo>
                <a:lnTo>
                  <a:pt x="14024" y="3604"/>
                </a:lnTo>
                <a:lnTo>
                  <a:pt x="14005" y="3564"/>
                </a:lnTo>
                <a:lnTo>
                  <a:pt x="13984" y="3525"/>
                </a:lnTo>
                <a:lnTo>
                  <a:pt x="13960" y="3488"/>
                </a:lnTo>
                <a:lnTo>
                  <a:pt x="13935" y="3452"/>
                </a:lnTo>
                <a:lnTo>
                  <a:pt x="13908" y="3419"/>
                </a:lnTo>
                <a:lnTo>
                  <a:pt x="13879" y="3386"/>
                </a:lnTo>
                <a:lnTo>
                  <a:pt x="13849" y="3357"/>
                </a:lnTo>
                <a:lnTo>
                  <a:pt x="13818" y="3328"/>
                </a:lnTo>
                <a:lnTo>
                  <a:pt x="13785" y="3300"/>
                </a:lnTo>
                <a:lnTo>
                  <a:pt x="13751" y="3275"/>
                </a:lnTo>
                <a:lnTo>
                  <a:pt x="13716" y="3251"/>
                </a:lnTo>
                <a:lnTo>
                  <a:pt x="13679" y="3227"/>
                </a:lnTo>
                <a:lnTo>
                  <a:pt x="13642" y="3205"/>
                </a:lnTo>
                <a:lnTo>
                  <a:pt x="13604" y="3185"/>
                </a:lnTo>
                <a:lnTo>
                  <a:pt x="13565" y="3165"/>
                </a:lnTo>
                <a:lnTo>
                  <a:pt x="13525" y="3147"/>
                </a:lnTo>
                <a:lnTo>
                  <a:pt x="13485" y="3128"/>
                </a:lnTo>
                <a:lnTo>
                  <a:pt x="13445" y="3112"/>
                </a:lnTo>
                <a:lnTo>
                  <a:pt x="13403" y="3096"/>
                </a:lnTo>
                <a:lnTo>
                  <a:pt x="13362" y="3080"/>
                </a:lnTo>
                <a:lnTo>
                  <a:pt x="13319" y="3066"/>
                </a:lnTo>
                <a:lnTo>
                  <a:pt x="13236" y="3037"/>
                </a:lnTo>
                <a:lnTo>
                  <a:pt x="13152" y="3011"/>
                </a:lnTo>
                <a:lnTo>
                  <a:pt x="13068" y="2987"/>
                </a:lnTo>
                <a:lnTo>
                  <a:pt x="12987" y="2962"/>
                </a:lnTo>
                <a:lnTo>
                  <a:pt x="12907" y="2937"/>
                </a:lnTo>
                <a:lnTo>
                  <a:pt x="12831" y="2913"/>
                </a:lnTo>
                <a:lnTo>
                  <a:pt x="12823" y="2911"/>
                </a:lnTo>
                <a:lnTo>
                  <a:pt x="12802" y="2905"/>
                </a:lnTo>
                <a:lnTo>
                  <a:pt x="12766" y="2897"/>
                </a:lnTo>
                <a:lnTo>
                  <a:pt x="12713" y="2886"/>
                </a:lnTo>
                <a:lnTo>
                  <a:pt x="12641" y="2872"/>
                </a:lnTo>
                <a:lnTo>
                  <a:pt x="12550" y="2857"/>
                </a:lnTo>
                <a:lnTo>
                  <a:pt x="12498" y="2849"/>
                </a:lnTo>
                <a:lnTo>
                  <a:pt x="12440" y="2841"/>
                </a:lnTo>
                <a:lnTo>
                  <a:pt x="12378" y="2833"/>
                </a:lnTo>
                <a:lnTo>
                  <a:pt x="12309" y="2825"/>
                </a:lnTo>
                <a:lnTo>
                  <a:pt x="12236" y="2817"/>
                </a:lnTo>
                <a:lnTo>
                  <a:pt x="12155" y="2809"/>
                </a:lnTo>
                <a:lnTo>
                  <a:pt x="12070" y="2801"/>
                </a:lnTo>
                <a:lnTo>
                  <a:pt x="11979" y="2792"/>
                </a:lnTo>
                <a:lnTo>
                  <a:pt x="11881" y="2785"/>
                </a:lnTo>
                <a:lnTo>
                  <a:pt x="11777" y="2778"/>
                </a:lnTo>
                <a:lnTo>
                  <a:pt x="11667" y="2771"/>
                </a:lnTo>
                <a:lnTo>
                  <a:pt x="11550" y="2765"/>
                </a:lnTo>
                <a:lnTo>
                  <a:pt x="11426" y="2759"/>
                </a:lnTo>
                <a:lnTo>
                  <a:pt x="11296" y="2754"/>
                </a:lnTo>
                <a:lnTo>
                  <a:pt x="11159" y="2749"/>
                </a:lnTo>
                <a:lnTo>
                  <a:pt x="11015" y="2745"/>
                </a:lnTo>
                <a:lnTo>
                  <a:pt x="10862" y="2742"/>
                </a:lnTo>
                <a:lnTo>
                  <a:pt x="10703" y="2740"/>
                </a:lnTo>
                <a:lnTo>
                  <a:pt x="10537" y="2738"/>
                </a:lnTo>
                <a:lnTo>
                  <a:pt x="10362" y="2738"/>
                </a:lnTo>
                <a:lnTo>
                  <a:pt x="10189" y="2738"/>
                </a:lnTo>
                <a:lnTo>
                  <a:pt x="10023" y="2740"/>
                </a:lnTo>
                <a:lnTo>
                  <a:pt x="9863" y="2742"/>
                </a:lnTo>
                <a:lnTo>
                  <a:pt x="9711" y="2745"/>
                </a:lnTo>
                <a:lnTo>
                  <a:pt x="9567" y="2749"/>
                </a:lnTo>
                <a:lnTo>
                  <a:pt x="9430" y="2754"/>
                </a:lnTo>
                <a:lnTo>
                  <a:pt x="9300" y="2759"/>
                </a:lnTo>
                <a:lnTo>
                  <a:pt x="9176" y="2765"/>
                </a:lnTo>
                <a:lnTo>
                  <a:pt x="9059" y="2771"/>
                </a:lnTo>
                <a:lnTo>
                  <a:pt x="8949" y="2778"/>
                </a:lnTo>
                <a:lnTo>
                  <a:pt x="8845" y="2785"/>
                </a:lnTo>
                <a:lnTo>
                  <a:pt x="8747" y="2792"/>
                </a:lnTo>
                <a:lnTo>
                  <a:pt x="8656" y="2801"/>
                </a:lnTo>
                <a:lnTo>
                  <a:pt x="8570" y="2809"/>
                </a:lnTo>
                <a:lnTo>
                  <a:pt x="8490" y="2817"/>
                </a:lnTo>
                <a:lnTo>
                  <a:pt x="8417" y="2825"/>
                </a:lnTo>
                <a:lnTo>
                  <a:pt x="8348" y="2833"/>
                </a:lnTo>
                <a:lnTo>
                  <a:pt x="8285" y="2841"/>
                </a:lnTo>
                <a:lnTo>
                  <a:pt x="8227" y="2849"/>
                </a:lnTo>
                <a:lnTo>
                  <a:pt x="8175" y="2857"/>
                </a:lnTo>
                <a:lnTo>
                  <a:pt x="8085" y="2872"/>
                </a:lnTo>
                <a:lnTo>
                  <a:pt x="8013" y="2886"/>
                </a:lnTo>
                <a:lnTo>
                  <a:pt x="7960" y="2897"/>
                </a:lnTo>
                <a:lnTo>
                  <a:pt x="7923" y="2905"/>
                </a:lnTo>
                <a:lnTo>
                  <a:pt x="7901" y="2911"/>
                </a:lnTo>
                <a:lnTo>
                  <a:pt x="7894" y="2913"/>
                </a:lnTo>
                <a:lnTo>
                  <a:pt x="7828" y="2931"/>
                </a:lnTo>
                <a:lnTo>
                  <a:pt x="7755" y="2949"/>
                </a:lnTo>
                <a:lnTo>
                  <a:pt x="7678" y="2968"/>
                </a:lnTo>
                <a:lnTo>
                  <a:pt x="7598" y="2990"/>
                </a:lnTo>
                <a:lnTo>
                  <a:pt x="7557" y="3001"/>
                </a:lnTo>
                <a:lnTo>
                  <a:pt x="7514" y="3013"/>
                </a:lnTo>
                <a:lnTo>
                  <a:pt x="7473" y="3025"/>
                </a:lnTo>
                <a:lnTo>
                  <a:pt x="7431" y="3038"/>
                </a:lnTo>
                <a:lnTo>
                  <a:pt x="7388" y="3052"/>
                </a:lnTo>
                <a:lnTo>
                  <a:pt x="7346" y="3068"/>
                </a:lnTo>
                <a:lnTo>
                  <a:pt x="7303" y="3083"/>
                </a:lnTo>
                <a:lnTo>
                  <a:pt x="7262" y="3099"/>
                </a:lnTo>
                <a:lnTo>
                  <a:pt x="7221" y="3117"/>
                </a:lnTo>
                <a:lnTo>
                  <a:pt x="7179" y="3135"/>
                </a:lnTo>
                <a:lnTo>
                  <a:pt x="7140" y="3156"/>
                </a:lnTo>
                <a:lnTo>
                  <a:pt x="7101" y="3176"/>
                </a:lnTo>
                <a:lnTo>
                  <a:pt x="7063" y="3198"/>
                </a:lnTo>
                <a:lnTo>
                  <a:pt x="7025" y="3222"/>
                </a:lnTo>
                <a:lnTo>
                  <a:pt x="6989" y="3247"/>
                </a:lnTo>
                <a:lnTo>
                  <a:pt x="6955" y="3273"/>
                </a:lnTo>
                <a:lnTo>
                  <a:pt x="6921" y="3301"/>
                </a:lnTo>
                <a:lnTo>
                  <a:pt x="6889" y="3331"/>
                </a:lnTo>
                <a:lnTo>
                  <a:pt x="6860" y="3362"/>
                </a:lnTo>
                <a:lnTo>
                  <a:pt x="6832" y="3394"/>
                </a:lnTo>
                <a:lnTo>
                  <a:pt x="6805" y="3430"/>
                </a:lnTo>
                <a:lnTo>
                  <a:pt x="6781" y="3466"/>
                </a:lnTo>
                <a:lnTo>
                  <a:pt x="6760" y="3505"/>
                </a:lnTo>
                <a:lnTo>
                  <a:pt x="6740" y="3545"/>
                </a:lnTo>
                <a:lnTo>
                  <a:pt x="6718" y="3596"/>
                </a:lnTo>
                <a:lnTo>
                  <a:pt x="6692" y="3659"/>
                </a:lnTo>
                <a:lnTo>
                  <a:pt x="6660" y="3734"/>
                </a:lnTo>
                <a:lnTo>
                  <a:pt x="6625" y="3819"/>
                </a:lnTo>
                <a:lnTo>
                  <a:pt x="6586" y="3914"/>
                </a:lnTo>
                <a:lnTo>
                  <a:pt x="6543" y="4020"/>
                </a:lnTo>
                <a:lnTo>
                  <a:pt x="6498" y="4133"/>
                </a:lnTo>
                <a:lnTo>
                  <a:pt x="6450" y="4254"/>
                </a:lnTo>
                <a:lnTo>
                  <a:pt x="6399" y="4384"/>
                </a:lnTo>
                <a:lnTo>
                  <a:pt x="6346" y="4520"/>
                </a:lnTo>
                <a:lnTo>
                  <a:pt x="6291" y="4662"/>
                </a:lnTo>
                <a:lnTo>
                  <a:pt x="6236" y="4811"/>
                </a:lnTo>
                <a:lnTo>
                  <a:pt x="6179" y="4964"/>
                </a:lnTo>
                <a:lnTo>
                  <a:pt x="6122" y="5120"/>
                </a:lnTo>
                <a:lnTo>
                  <a:pt x="6064" y="5281"/>
                </a:lnTo>
                <a:lnTo>
                  <a:pt x="6006" y="5444"/>
                </a:lnTo>
                <a:lnTo>
                  <a:pt x="5512" y="5444"/>
                </a:lnTo>
                <a:lnTo>
                  <a:pt x="5491" y="5445"/>
                </a:lnTo>
                <a:lnTo>
                  <a:pt x="5469" y="5446"/>
                </a:lnTo>
                <a:lnTo>
                  <a:pt x="5446" y="5449"/>
                </a:lnTo>
                <a:lnTo>
                  <a:pt x="5424" y="5453"/>
                </a:lnTo>
                <a:lnTo>
                  <a:pt x="5402" y="5457"/>
                </a:lnTo>
                <a:lnTo>
                  <a:pt x="5380" y="5463"/>
                </a:lnTo>
                <a:lnTo>
                  <a:pt x="5358" y="5471"/>
                </a:lnTo>
                <a:lnTo>
                  <a:pt x="5335" y="5478"/>
                </a:lnTo>
                <a:lnTo>
                  <a:pt x="5314" y="5487"/>
                </a:lnTo>
                <a:lnTo>
                  <a:pt x="5292" y="5496"/>
                </a:lnTo>
                <a:lnTo>
                  <a:pt x="5271" y="5506"/>
                </a:lnTo>
                <a:lnTo>
                  <a:pt x="5251" y="5517"/>
                </a:lnTo>
                <a:lnTo>
                  <a:pt x="5230" y="5529"/>
                </a:lnTo>
                <a:lnTo>
                  <a:pt x="5209" y="5541"/>
                </a:lnTo>
                <a:lnTo>
                  <a:pt x="5189" y="5555"/>
                </a:lnTo>
                <a:lnTo>
                  <a:pt x="5170" y="5569"/>
                </a:lnTo>
                <a:lnTo>
                  <a:pt x="5151" y="5584"/>
                </a:lnTo>
                <a:lnTo>
                  <a:pt x="5132" y="5599"/>
                </a:lnTo>
                <a:lnTo>
                  <a:pt x="5115" y="5615"/>
                </a:lnTo>
                <a:lnTo>
                  <a:pt x="5097" y="5631"/>
                </a:lnTo>
                <a:lnTo>
                  <a:pt x="5079" y="5650"/>
                </a:lnTo>
                <a:lnTo>
                  <a:pt x="5063" y="5667"/>
                </a:lnTo>
                <a:lnTo>
                  <a:pt x="5048" y="5685"/>
                </a:lnTo>
                <a:lnTo>
                  <a:pt x="5033" y="5704"/>
                </a:lnTo>
                <a:lnTo>
                  <a:pt x="5019" y="5723"/>
                </a:lnTo>
                <a:lnTo>
                  <a:pt x="5006" y="5743"/>
                </a:lnTo>
                <a:lnTo>
                  <a:pt x="4993" y="5763"/>
                </a:lnTo>
                <a:lnTo>
                  <a:pt x="4981" y="5784"/>
                </a:lnTo>
                <a:lnTo>
                  <a:pt x="4970" y="5804"/>
                </a:lnTo>
                <a:lnTo>
                  <a:pt x="4960" y="5826"/>
                </a:lnTo>
                <a:lnTo>
                  <a:pt x="4951" y="5848"/>
                </a:lnTo>
                <a:lnTo>
                  <a:pt x="4943" y="5869"/>
                </a:lnTo>
                <a:close/>
                <a:moveTo>
                  <a:pt x="12863" y="8847"/>
                </a:moveTo>
                <a:lnTo>
                  <a:pt x="12824" y="8847"/>
                </a:lnTo>
                <a:lnTo>
                  <a:pt x="12787" y="8846"/>
                </a:lnTo>
                <a:lnTo>
                  <a:pt x="12752" y="8844"/>
                </a:lnTo>
                <a:lnTo>
                  <a:pt x="12718" y="8842"/>
                </a:lnTo>
                <a:lnTo>
                  <a:pt x="12685" y="8839"/>
                </a:lnTo>
                <a:lnTo>
                  <a:pt x="12655" y="8835"/>
                </a:lnTo>
                <a:lnTo>
                  <a:pt x="12626" y="8831"/>
                </a:lnTo>
                <a:lnTo>
                  <a:pt x="12599" y="8825"/>
                </a:lnTo>
                <a:lnTo>
                  <a:pt x="12572" y="8819"/>
                </a:lnTo>
                <a:lnTo>
                  <a:pt x="12548" y="8813"/>
                </a:lnTo>
                <a:lnTo>
                  <a:pt x="12525" y="8806"/>
                </a:lnTo>
                <a:lnTo>
                  <a:pt x="12503" y="8798"/>
                </a:lnTo>
                <a:lnTo>
                  <a:pt x="12483" y="8789"/>
                </a:lnTo>
                <a:lnTo>
                  <a:pt x="12464" y="8780"/>
                </a:lnTo>
                <a:lnTo>
                  <a:pt x="12445" y="8770"/>
                </a:lnTo>
                <a:lnTo>
                  <a:pt x="12429" y="8760"/>
                </a:lnTo>
                <a:lnTo>
                  <a:pt x="12414" y="8748"/>
                </a:lnTo>
                <a:lnTo>
                  <a:pt x="12400" y="8735"/>
                </a:lnTo>
                <a:lnTo>
                  <a:pt x="12387" y="8722"/>
                </a:lnTo>
                <a:lnTo>
                  <a:pt x="12376" y="8709"/>
                </a:lnTo>
                <a:lnTo>
                  <a:pt x="12365" y="8695"/>
                </a:lnTo>
                <a:lnTo>
                  <a:pt x="12356" y="8680"/>
                </a:lnTo>
                <a:lnTo>
                  <a:pt x="12348" y="8664"/>
                </a:lnTo>
                <a:lnTo>
                  <a:pt x="12340" y="8647"/>
                </a:lnTo>
                <a:lnTo>
                  <a:pt x="12333" y="8629"/>
                </a:lnTo>
                <a:lnTo>
                  <a:pt x="12328" y="8612"/>
                </a:lnTo>
                <a:lnTo>
                  <a:pt x="12323" y="8593"/>
                </a:lnTo>
                <a:lnTo>
                  <a:pt x="12319" y="8573"/>
                </a:lnTo>
                <a:lnTo>
                  <a:pt x="12317" y="8552"/>
                </a:lnTo>
                <a:lnTo>
                  <a:pt x="12315" y="8531"/>
                </a:lnTo>
                <a:lnTo>
                  <a:pt x="12314" y="8510"/>
                </a:lnTo>
                <a:lnTo>
                  <a:pt x="12313" y="8487"/>
                </a:lnTo>
                <a:lnTo>
                  <a:pt x="12314" y="8462"/>
                </a:lnTo>
                <a:lnTo>
                  <a:pt x="12317" y="8439"/>
                </a:lnTo>
                <a:lnTo>
                  <a:pt x="12322" y="8416"/>
                </a:lnTo>
                <a:lnTo>
                  <a:pt x="12329" y="8393"/>
                </a:lnTo>
                <a:lnTo>
                  <a:pt x="12339" y="8371"/>
                </a:lnTo>
                <a:lnTo>
                  <a:pt x="12350" y="8351"/>
                </a:lnTo>
                <a:lnTo>
                  <a:pt x="12362" y="8330"/>
                </a:lnTo>
                <a:lnTo>
                  <a:pt x="12376" y="8311"/>
                </a:lnTo>
                <a:lnTo>
                  <a:pt x="12391" y="8291"/>
                </a:lnTo>
                <a:lnTo>
                  <a:pt x="12408" y="8272"/>
                </a:lnTo>
                <a:lnTo>
                  <a:pt x="12426" y="8254"/>
                </a:lnTo>
                <a:lnTo>
                  <a:pt x="12445" y="8236"/>
                </a:lnTo>
                <a:lnTo>
                  <a:pt x="12467" y="8218"/>
                </a:lnTo>
                <a:lnTo>
                  <a:pt x="12489" y="8201"/>
                </a:lnTo>
                <a:lnTo>
                  <a:pt x="12512" y="8184"/>
                </a:lnTo>
                <a:lnTo>
                  <a:pt x="12536" y="8168"/>
                </a:lnTo>
                <a:lnTo>
                  <a:pt x="12561" y="8152"/>
                </a:lnTo>
                <a:lnTo>
                  <a:pt x="12588" y="8136"/>
                </a:lnTo>
                <a:lnTo>
                  <a:pt x="12614" y="8120"/>
                </a:lnTo>
                <a:lnTo>
                  <a:pt x="12642" y="8105"/>
                </a:lnTo>
                <a:lnTo>
                  <a:pt x="12698" y="8076"/>
                </a:lnTo>
                <a:lnTo>
                  <a:pt x="12758" y="8045"/>
                </a:lnTo>
                <a:lnTo>
                  <a:pt x="12880" y="7988"/>
                </a:lnTo>
                <a:lnTo>
                  <a:pt x="13003" y="7929"/>
                </a:lnTo>
                <a:lnTo>
                  <a:pt x="13060" y="7901"/>
                </a:lnTo>
                <a:lnTo>
                  <a:pt x="13121" y="7871"/>
                </a:lnTo>
                <a:lnTo>
                  <a:pt x="13184" y="7842"/>
                </a:lnTo>
                <a:lnTo>
                  <a:pt x="13249" y="7812"/>
                </a:lnTo>
                <a:lnTo>
                  <a:pt x="13315" y="7781"/>
                </a:lnTo>
                <a:lnTo>
                  <a:pt x="13383" y="7752"/>
                </a:lnTo>
                <a:lnTo>
                  <a:pt x="13451" y="7723"/>
                </a:lnTo>
                <a:lnTo>
                  <a:pt x="13518" y="7695"/>
                </a:lnTo>
                <a:lnTo>
                  <a:pt x="13585" y="7669"/>
                </a:lnTo>
                <a:lnTo>
                  <a:pt x="13650" y="7646"/>
                </a:lnTo>
                <a:lnTo>
                  <a:pt x="13682" y="7635"/>
                </a:lnTo>
                <a:lnTo>
                  <a:pt x="13714" y="7625"/>
                </a:lnTo>
                <a:lnTo>
                  <a:pt x="13744" y="7614"/>
                </a:lnTo>
                <a:lnTo>
                  <a:pt x="13774" y="7606"/>
                </a:lnTo>
                <a:lnTo>
                  <a:pt x="13803" y="7598"/>
                </a:lnTo>
                <a:lnTo>
                  <a:pt x="13832" y="7591"/>
                </a:lnTo>
                <a:lnTo>
                  <a:pt x="13860" y="7585"/>
                </a:lnTo>
                <a:lnTo>
                  <a:pt x="13886" y="7580"/>
                </a:lnTo>
                <a:lnTo>
                  <a:pt x="13911" y="7576"/>
                </a:lnTo>
                <a:lnTo>
                  <a:pt x="13937" y="7573"/>
                </a:lnTo>
                <a:lnTo>
                  <a:pt x="13960" y="7571"/>
                </a:lnTo>
                <a:lnTo>
                  <a:pt x="13982" y="7571"/>
                </a:lnTo>
                <a:lnTo>
                  <a:pt x="14025" y="7571"/>
                </a:lnTo>
                <a:lnTo>
                  <a:pt x="14069" y="7572"/>
                </a:lnTo>
                <a:lnTo>
                  <a:pt x="14090" y="7573"/>
                </a:lnTo>
                <a:lnTo>
                  <a:pt x="14110" y="7575"/>
                </a:lnTo>
                <a:lnTo>
                  <a:pt x="14131" y="7577"/>
                </a:lnTo>
                <a:lnTo>
                  <a:pt x="14151" y="7579"/>
                </a:lnTo>
                <a:lnTo>
                  <a:pt x="14170" y="7583"/>
                </a:lnTo>
                <a:lnTo>
                  <a:pt x="14190" y="7587"/>
                </a:lnTo>
                <a:lnTo>
                  <a:pt x="14209" y="7591"/>
                </a:lnTo>
                <a:lnTo>
                  <a:pt x="14227" y="7597"/>
                </a:lnTo>
                <a:lnTo>
                  <a:pt x="14245" y="7603"/>
                </a:lnTo>
                <a:lnTo>
                  <a:pt x="14262" y="7611"/>
                </a:lnTo>
                <a:lnTo>
                  <a:pt x="14279" y="7619"/>
                </a:lnTo>
                <a:lnTo>
                  <a:pt x="14294" y="7630"/>
                </a:lnTo>
                <a:lnTo>
                  <a:pt x="14311" y="7641"/>
                </a:lnTo>
                <a:lnTo>
                  <a:pt x="14325" y="7653"/>
                </a:lnTo>
                <a:lnTo>
                  <a:pt x="14339" y="7666"/>
                </a:lnTo>
                <a:lnTo>
                  <a:pt x="14352" y="7681"/>
                </a:lnTo>
                <a:lnTo>
                  <a:pt x="14364" y="7697"/>
                </a:lnTo>
                <a:lnTo>
                  <a:pt x="14375" y="7716"/>
                </a:lnTo>
                <a:lnTo>
                  <a:pt x="14385" y="7735"/>
                </a:lnTo>
                <a:lnTo>
                  <a:pt x="14395" y="7756"/>
                </a:lnTo>
                <a:lnTo>
                  <a:pt x="14403" y="7779"/>
                </a:lnTo>
                <a:lnTo>
                  <a:pt x="14411" y="7805"/>
                </a:lnTo>
                <a:lnTo>
                  <a:pt x="14417" y="7831"/>
                </a:lnTo>
                <a:lnTo>
                  <a:pt x="14422" y="7860"/>
                </a:lnTo>
                <a:lnTo>
                  <a:pt x="14427" y="7891"/>
                </a:lnTo>
                <a:lnTo>
                  <a:pt x="14430" y="7924"/>
                </a:lnTo>
                <a:lnTo>
                  <a:pt x="14432" y="7958"/>
                </a:lnTo>
                <a:lnTo>
                  <a:pt x="14433" y="7996"/>
                </a:lnTo>
                <a:lnTo>
                  <a:pt x="14433" y="8421"/>
                </a:lnTo>
                <a:lnTo>
                  <a:pt x="14431" y="8453"/>
                </a:lnTo>
                <a:lnTo>
                  <a:pt x="14427" y="8485"/>
                </a:lnTo>
                <a:lnTo>
                  <a:pt x="14419" y="8513"/>
                </a:lnTo>
                <a:lnTo>
                  <a:pt x="14410" y="8541"/>
                </a:lnTo>
                <a:lnTo>
                  <a:pt x="14397" y="8566"/>
                </a:lnTo>
                <a:lnTo>
                  <a:pt x="14383" y="8592"/>
                </a:lnTo>
                <a:lnTo>
                  <a:pt x="14365" y="8615"/>
                </a:lnTo>
                <a:lnTo>
                  <a:pt x="14346" y="8636"/>
                </a:lnTo>
                <a:lnTo>
                  <a:pt x="14325" y="8657"/>
                </a:lnTo>
                <a:lnTo>
                  <a:pt x="14300" y="8676"/>
                </a:lnTo>
                <a:lnTo>
                  <a:pt x="14274" y="8694"/>
                </a:lnTo>
                <a:lnTo>
                  <a:pt x="14247" y="8711"/>
                </a:lnTo>
                <a:lnTo>
                  <a:pt x="14217" y="8726"/>
                </a:lnTo>
                <a:lnTo>
                  <a:pt x="14186" y="8741"/>
                </a:lnTo>
                <a:lnTo>
                  <a:pt x="14152" y="8754"/>
                </a:lnTo>
                <a:lnTo>
                  <a:pt x="14118" y="8767"/>
                </a:lnTo>
                <a:lnTo>
                  <a:pt x="14082" y="8778"/>
                </a:lnTo>
                <a:lnTo>
                  <a:pt x="14044" y="8788"/>
                </a:lnTo>
                <a:lnTo>
                  <a:pt x="14005" y="8797"/>
                </a:lnTo>
                <a:lnTo>
                  <a:pt x="13966" y="8805"/>
                </a:lnTo>
                <a:lnTo>
                  <a:pt x="13924" y="8812"/>
                </a:lnTo>
                <a:lnTo>
                  <a:pt x="13882" y="8819"/>
                </a:lnTo>
                <a:lnTo>
                  <a:pt x="13840" y="8825"/>
                </a:lnTo>
                <a:lnTo>
                  <a:pt x="13795" y="8831"/>
                </a:lnTo>
                <a:lnTo>
                  <a:pt x="13751" y="8835"/>
                </a:lnTo>
                <a:lnTo>
                  <a:pt x="13706" y="8838"/>
                </a:lnTo>
                <a:lnTo>
                  <a:pt x="13660" y="8841"/>
                </a:lnTo>
                <a:lnTo>
                  <a:pt x="13614" y="8844"/>
                </a:lnTo>
                <a:lnTo>
                  <a:pt x="13567" y="8845"/>
                </a:lnTo>
                <a:lnTo>
                  <a:pt x="13520" y="8846"/>
                </a:lnTo>
                <a:lnTo>
                  <a:pt x="13473" y="8847"/>
                </a:lnTo>
                <a:lnTo>
                  <a:pt x="13426" y="8847"/>
                </a:lnTo>
                <a:lnTo>
                  <a:pt x="12863" y="8847"/>
                </a:lnTo>
                <a:close/>
                <a:moveTo>
                  <a:pt x="10362" y="6294"/>
                </a:moveTo>
                <a:lnTo>
                  <a:pt x="10136" y="6293"/>
                </a:lnTo>
                <a:lnTo>
                  <a:pt x="9917" y="6290"/>
                </a:lnTo>
                <a:lnTo>
                  <a:pt x="9705" y="6284"/>
                </a:lnTo>
                <a:lnTo>
                  <a:pt x="9499" y="6277"/>
                </a:lnTo>
                <a:lnTo>
                  <a:pt x="9303" y="6268"/>
                </a:lnTo>
                <a:lnTo>
                  <a:pt x="9112" y="6258"/>
                </a:lnTo>
                <a:lnTo>
                  <a:pt x="8929" y="6246"/>
                </a:lnTo>
                <a:lnTo>
                  <a:pt x="8753" y="6232"/>
                </a:lnTo>
                <a:lnTo>
                  <a:pt x="8585" y="6218"/>
                </a:lnTo>
                <a:lnTo>
                  <a:pt x="8424" y="6202"/>
                </a:lnTo>
                <a:lnTo>
                  <a:pt x="8269" y="6186"/>
                </a:lnTo>
                <a:lnTo>
                  <a:pt x="8123" y="6169"/>
                </a:lnTo>
                <a:lnTo>
                  <a:pt x="7983" y="6151"/>
                </a:lnTo>
                <a:lnTo>
                  <a:pt x="7851" y="6133"/>
                </a:lnTo>
                <a:lnTo>
                  <a:pt x="7726" y="6115"/>
                </a:lnTo>
                <a:lnTo>
                  <a:pt x="7607" y="6096"/>
                </a:lnTo>
                <a:lnTo>
                  <a:pt x="7497" y="6078"/>
                </a:lnTo>
                <a:lnTo>
                  <a:pt x="7393" y="6059"/>
                </a:lnTo>
                <a:lnTo>
                  <a:pt x="7296" y="6041"/>
                </a:lnTo>
                <a:lnTo>
                  <a:pt x="7208" y="6024"/>
                </a:lnTo>
                <a:lnTo>
                  <a:pt x="7125" y="6007"/>
                </a:lnTo>
                <a:lnTo>
                  <a:pt x="7050" y="5990"/>
                </a:lnTo>
                <a:lnTo>
                  <a:pt x="6983" y="5974"/>
                </a:lnTo>
                <a:lnTo>
                  <a:pt x="6921" y="5960"/>
                </a:lnTo>
                <a:lnTo>
                  <a:pt x="6822" y="5935"/>
                </a:lnTo>
                <a:lnTo>
                  <a:pt x="6751" y="5915"/>
                </a:lnTo>
                <a:lnTo>
                  <a:pt x="6708" y="5903"/>
                </a:lnTo>
                <a:lnTo>
                  <a:pt x="6694" y="5899"/>
                </a:lnTo>
                <a:lnTo>
                  <a:pt x="6721" y="5797"/>
                </a:lnTo>
                <a:lnTo>
                  <a:pt x="6747" y="5700"/>
                </a:lnTo>
                <a:lnTo>
                  <a:pt x="6774" y="5605"/>
                </a:lnTo>
                <a:lnTo>
                  <a:pt x="6802" y="5514"/>
                </a:lnTo>
                <a:lnTo>
                  <a:pt x="6830" y="5426"/>
                </a:lnTo>
                <a:lnTo>
                  <a:pt x="6858" y="5341"/>
                </a:lnTo>
                <a:lnTo>
                  <a:pt x="6885" y="5258"/>
                </a:lnTo>
                <a:lnTo>
                  <a:pt x="6913" y="5179"/>
                </a:lnTo>
                <a:lnTo>
                  <a:pt x="6941" y="5102"/>
                </a:lnTo>
                <a:lnTo>
                  <a:pt x="6968" y="5028"/>
                </a:lnTo>
                <a:lnTo>
                  <a:pt x="6995" y="4958"/>
                </a:lnTo>
                <a:lnTo>
                  <a:pt x="7022" y="4889"/>
                </a:lnTo>
                <a:lnTo>
                  <a:pt x="7049" y="4823"/>
                </a:lnTo>
                <a:lnTo>
                  <a:pt x="7076" y="4760"/>
                </a:lnTo>
                <a:lnTo>
                  <a:pt x="7102" y="4700"/>
                </a:lnTo>
                <a:lnTo>
                  <a:pt x="7127" y="4641"/>
                </a:lnTo>
                <a:lnTo>
                  <a:pt x="7175" y="4533"/>
                </a:lnTo>
                <a:lnTo>
                  <a:pt x="7222" y="4432"/>
                </a:lnTo>
                <a:lnTo>
                  <a:pt x="7265" y="4342"/>
                </a:lnTo>
                <a:lnTo>
                  <a:pt x="7304" y="4260"/>
                </a:lnTo>
                <a:lnTo>
                  <a:pt x="7340" y="4188"/>
                </a:lnTo>
                <a:lnTo>
                  <a:pt x="7370" y="4122"/>
                </a:lnTo>
                <a:lnTo>
                  <a:pt x="7383" y="4092"/>
                </a:lnTo>
                <a:lnTo>
                  <a:pt x="7395" y="4063"/>
                </a:lnTo>
                <a:lnTo>
                  <a:pt x="7406" y="4037"/>
                </a:lnTo>
                <a:lnTo>
                  <a:pt x="7415" y="4013"/>
                </a:lnTo>
                <a:lnTo>
                  <a:pt x="7417" y="4007"/>
                </a:lnTo>
                <a:lnTo>
                  <a:pt x="7426" y="3990"/>
                </a:lnTo>
                <a:lnTo>
                  <a:pt x="7434" y="3979"/>
                </a:lnTo>
                <a:lnTo>
                  <a:pt x="7444" y="3966"/>
                </a:lnTo>
                <a:lnTo>
                  <a:pt x="7457" y="3951"/>
                </a:lnTo>
                <a:lnTo>
                  <a:pt x="7475" y="3935"/>
                </a:lnTo>
                <a:lnTo>
                  <a:pt x="7496" y="3917"/>
                </a:lnTo>
                <a:lnTo>
                  <a:pt x="7523" y="3898"/>
                </a:lnTo>
                <a:lnTo>
                  <a:pt x="7556" y="3878"/>
                </a:lnTo>
                <a:lnTo>
                  <a:pt x="7594" y="3858"/>
                </a:lnTo>
                <a:lnTo>
                  <a:pt x="7638" y="3836"/>
                </a:lnTo>
                <a:lnTo>
                  <a:pt x="7689" y="3814"/>
                </a:lnTo>
                <a:lnTo>
                  <a:pt x="7748" y="3791"/>
                </a:lnTo>
                <a:lnTo>
                  <a:pt x="7815" y="3769"/>
                </a:lnTo>
                <a:lnTo>
                  <a:pt x="7889" y="3747"/>
                </a:lnTo>
                <a:lnTo>
                  <a:pt x="7973" y="3724"/>
                </a:lnTo>
                <a:lnTo>
                  <a:pt x="8067" y="3702"/>
                </a:lnTo>
                <a:lnTo>
                  <a:pt x="8170" y="3681"/>
                </a:lnTo>
                <a:lnTo>
                  <a:pt x="8283" y="3661"/>
                </a:lnTo>
                <a:lnTo>
                  <a:pt x="8407" y="3640"/>
                </a:lnTo>
                <a:lnTo>
                  <a:pt x="8544" y="3621"/>
                </a:lnTo>
                <a:lnTo>
                  <a:pt x="8691" y="3604"/>
                </a:lnTo>
                <a:lnTo>
                  <a:pt x="8851" y="3588"/>
                </a:lnTo>
                <a:lnTo>
                  <a:pt x="9025" y="3574"/>
                </a:lnTo>
                <a:lnTo>
                  <a:pt x="9211" y="3560"/>
                </a:lnTo>
                <a:lnTo>
                  <a:pt x="9412" y="3550"/>
                </a:lnTo>
                <a:lnTo>
                  <a:pt x="9626" y="3541"/>
                </a:lnTo>
                <a:lnTo>
                  <a:pt x="9856" y="3534"/>
                </a:lnTo>
                <a:lnTo>
                  <a:pt x="10101" y="3531"/>
                </a:lnTo>
                <a:lnTo>
                  <a:pt x="10362" y="3529"/>
                </a:lnTo>
                <a:lnTo>
                  <a:pt x="10624" y="3530"/>
                </a:lnTo>
                <a:lnTo>
                  <a:pt x="10869" y="3534"/>
                </a:lnTo>
                <a:lnTo>
                  <a:pt x="11098" y="3540"/>
                </a:lnTo>
                <a:lnTo>
                  <a:pt x="11313" y="3547"/>
                </a:lnTo>
                <a:lnTo>
                  <a:pt x="11513" y="3557"/>
                </a:lnTo>
                <a:lnTo>
                  <a:pt x="11699" y="3568"/>
                </a:lnTo>
                <a:lnTo>
                  <a:pt x="11872" y="3582"/>
                </a:lnTo>
                <a:lnTo>
                  <a:pt x="12032" y="3597"/>
                </a:lnTo>
                <a:lnTo>
                  <a:pt x="12180" y="3613"/>
                </a:lnTo>
                <a:lnTo>
                  <a:pt x="12315" y="3630"/>
                </a:lnTo>
                <a:lnTo>
                  <a:pt x="12440" y="3649"/>
                </a:lnTo>
                <a:lnTo>
                  <a:pt x="12553" y="3669"/>
                </a:lnTo>
                <a:lnTo>
                  <a:pt x="12657" y="3689"/>
                </a:lnTo>
                <a:lnTo>
                  <a:pt x="12750" y="3711"/>
                </a:lnTo>
                <a:lnTo>
                  <a:pt x="12835" y="3732"/>
                </a:lnTo>
                <a:lnTo>
                  <a:pt x="12910" y="3756"/>
                </a:lnTo>
                <a:lnTo>
                  <a:pt x="12977" y="3778"/>
                </a:lnTo>
                <a:lnTo>
                  <a:pt x="13036" y="3801"/>
                </a:lnTo>
                <a:lnTo>
                  <a:pt x="13089" y="3824"/>
                </a:lnTo>
                <a:lnTo>
                  <a:pt x="13134" y="3848"/>
                </a:lnTo>
                <a:lnTo>
                  <a:pt x="13174" y="3871"/>
                </a:lnTo>
                <a:lnTo>
                  <a:pt x="13208" y="3894"/>
                </a:lnTo>
                <a:lnTo>
                  <a:pt x="13236" y="3917"/>
                </a:lnTo>
                <a:lnTo>
                  <a:pt x="13260" y="3940"/>
                </a:lnTo>
                <a:lnTo>
                  <a:pt x="13280" y="3961"/>
                </a:lnTo>
                <a:lnTo>
                  <a:pt x="13296" y="3981"/>
                </a:lnTo>
                <a:lnTo>
                  <a:pt x="13309" y="4001"/>
                </a:lnTo>
                <a:lnTo>
                  <a:pt x="13319" y="4021"/>
                </a:lnTo>
                <a:lnTo>
                  <a:pt x="13336" y="4054"/>
                </a:lnTo>
                <a:lnTo>
                  <a:pt x="13347" y="4083"/>
                </a:lnTo>
                <a:lnTo>
                  <a:pt x="13354" y="4102"/>
                </a:lnTo>
                <a:lnTo>
                  <a:pt x="13363" y="4121"/>
                </a:lnTo>
                <a:lnTo>
                  <a:pt x="13373" y="4143"/>
                </a:lnTo>
                <a:lnTo>
                  <a:pt x="13385" y="4166"/>
                </a:lnTo>
                <a:lnTo>
                  <a:pt x="13411" y="4218"/>
                </a:lnTo>
                <a:lnTo>
                  <a:pt x="13444" y="4279"/>
                </a:lnTo>
                <a:lnTo>
                  <a:pt x="13479" y="4349"/>
                </a:lnTo>
                <a:lnTo>
                  <a:pt x="13519" y="4427"/>
                </a:lnTo>
                <a:lnTo>
                  <a:pt x="13561" y="4516"/>
                </a:lnTo>
                <a:lnTo>
                  <a:pt x="13608" y="4617"/>
                </a:lnTo>
                <a:lnTo>
                  <a:pt x="13632" y="4671"/>
                </a:lnTo>
                <a:lnTo>
                  <a:pt x="13657" y="4728"/>
                </a:lnTo>
                <a:lnTo>
                  <a:pt x="13682" y="4789"/>
                </a:lnTo>
                <a:lnTo>
                  <a:pt x="13708" y="4852"/>
                </a:lnTo>
                <a:lnTo>
                  <a:pt x="13734" y="4920"/>
                </a:lnTo>
                <a:lnTo>
                  <a:pt x="13761" y="4990"/>
                </a:lnTo>
                <a:lnTo>
                  <a:pt x="13788" y="5064"/>
                </a:lnTo>
                <a:lnTo>
                  <a:pt x="13816" y="5142"/>
                </a:lnTo>
                <a:lnTo>
                  <a:pt x="13843" y="5223"/>
                </a:lnTo>
                <a:lnTo>
                  <a:pt x="13871" y="5307"/>
                </a:lnTo>
                <a:lnTo>
                  <a:pt x="13898" y="5396"/>
                </a:lnTo>
                <a:lnTo>
                  <a:pt x="13926" y="5488"/>
                </a:lnTo>
                <a:lnTo>
                  <a:pt x="13955" y="5584"/>
                </a:lnTo>
                <a:lnTo>
                  <a:pt x="13983" y="5685"/>
                </a:lnTo>
                <a:lnTo>
                  <a:pt x="14011" y="5789"/>
                </a:lnTo>
                <a:lnTo>
                  <a:pt x="14038" y="5899"/>
                </a:lnTo>
                <a:lnTo>
                  <a:pt x="14024" y="5903"/>
                </a:lnTo>
                <a:lnTo>
                  <a:pt x="13982" y="5915"/>
                </a:lnTo>
                <a:lnTo>
                  <a:pt x="13909" y="5935"/>
                </a:lnTo>
                <a:lnTo>
                  <a:pt x="13809" y="5960"/>
                </a:lnTo>
                <a:lnTo>
                  <a:pt x="13748" y="5974"/>
                </a:lnTo>
                <a:lnTo>
                  <a:pt x="13680" y="5990"/>
                </a:lnTo>
                <a:lnTo>
                  <a:pt x="13605" y="6007"/>
                </a:lnTo>
                <a:lnTo>
                  <a:pt x="13522" y="6024"/>
                </a:lnTo>
                <a:lnTo>
                  <a:pt x="13432" y="6041"/>
                </a:lnTo>
                <a:lnTo>
                  <a:pt x="13336" y="6059"/>
                </a:lnTo>
                <a:lnTo>
                  <a:pt x="13232" y="6078"/>
                </a:lnTo>
                <a:lnTo>
                  <a:pt x="13121" y="6096"/>
                </a:lnTo>
                <a:lnTo>
                  <a:pt x="13003" y="6115"/>
                </a:lnTo>
                <a:lnTo>
                  <a:pt x="12877" y="6133"/>
                </a:lnTo>
                <a:lnTo>
                  <a:pt x="12744" y="6151"/>
                </a:lnTo>
                <a:lnTo>
                  <a:pt x="12604" y="6169"/>
                </a:lnTo>
                <a:lnTo>
                  <a:pt x="12456" y="6186"/>
                </a:lnTo>
                <a:lnTo>
                  <a:pt x="12302" y="6202"/>
                </a:lnTo>
                <a:lnTo>
                  <a:pt x="12141" y="6218"/>
                </a:lnTo>
                <a:lnTo>
                  <a:pt x="11973" y="6232"/>
                </a:lnTo>
                <a:lnTo>
                  <a:pt x="11796" y="6246"/>
                </a:lnTo>
                <a:lnTo>
                  <a:pt x="11613" y="6258"/>
                </a:lnTo>
                <a:lnTo>
                  <a:pt x="11422" y="6268"/>
                </a:lnTo>
                <a:lnTo>
                  <a:pt x="11225" y="6277"/>
                </a:lnTo>
                <a:lnTo>
                  <a:pt x="11020" y="6284"/>
                </a:lnTo>
                <a:lnTo>
                  <a:pt x="10808" y="6290"/>
                </a:lnTo>
                <a:lnTo>
                  <a:pt x="10589" y="6293"/>
                </a:lnTo>
                <a:lnTo>
                  <a:pt x="10362" y="6294"/>
                </a:lnTo>
                <a:close/>
                <a:moveTo>
                  <a:pt x="4184" y="6883"/>
                </a:moveTo>
                <a:lnTo>
                  <a:pt x="4175" y="6859"/>
                </a:lnTo>
                <a:lnTo>
                  <a:pt x="4165" y="6835"/>
                </a:lnTo>
                <a:lnTo>
                  <a:pt x="4156" y="6811"/>
                </a:lnTo>
                <a:lnTo>
                  <a:pt x="4148" y="6787"/>
                </a:lnTo>
                <a:lnTo>
                  <a:pt x="4141" y="6763"/>
                </a:lnTo>
                <a:lnTo>
                  <a:pt x="4133" y="6737"/>
                </a:lnTo>
                <a:lnTo>
                  <a:pt x="4127" y="6713"/>
                </a:lnTo>
                <a:lnTo>
                  <a:pt x="4121" y="6688"/>
                </a:lnTo>
                <a:lnTo>
                  <a:pt x="4115" y="6663"/>
                </a:lnTo>
                <a:lnTo>
                  <a:pt x="4110" y="6638"/>
                </a:lnTo>
                <a:lnTo>
                  <a:pt x="4105" y="6613"/>
                </a:lnTo>
                <a:lnTo>
                  <a:pt x="4102" y="6588"/>
                </a:lnTo>
                <a:lnTo>
                  <a:pt x="4098" y="6561"/>
                </a:lnTo>
                <a:lnTo>
                  <a:pt x="4096" y="6536"/>
                </a:lnTo>
                <a:lnTo>
                  <a:pt x="4094" y="6511"/>
                </a:lnTo>
                <a:lnTo>
                  <a:pt x="4092" y="6484"/>
                </a:lnTo>
                <a:lnTo>
                  <a:pt x="4092" y="6459"/>
                </a:lnTo>
                <a:lnTo>
                  <a:pt x="4091" y="6433"/>
                </a:lnTo>
                <a:lnTo>
                  <a:pt x="4092" y="6407"/>
                </a:lnTo>
                <a:lnTo>
                  <a:pt x="4093" y="6381"/>
                </a:lnTo>
                <a:lnTo>
                  <a:pt x="4094" y="6356"/>
                </a:lnTo>
                <a:lnTo>
                  <a:pt x="4096" y="6330"/>
                </a:lnTo>
                <a:lnTo>
                  <a:pt x="4099" y="6304"/>
                </a:lnTo>
                <a:lnTo>
                  <a:pt x="4102" y="6278"/>
                </a:lnTo>
                <a:lnTo>
                  <a:pt x="4106" y="6252"/>
                </a:lnTo>
                <a:lnTo>
                  <a:pt x="4111" y="6226"/>
                </a:lnTo>
                <a:lnTo>
                  <a:pt x="4117" y="6200"/>
                </a:lnTo>
                <a:lnTo>
                  <a:pt x="4123" y="6175"/>
                </a:lnTo>
                <a:lnTo>
                  <a:pt x="4129" y="6149"/>
                </a:lnTo>
                <a:lnTo>
                  <a:pt x="4136" y="6123"/>
                </a:lnTo>
                <a:lnTo>
                  <a:pt x="4144" y="6098"/>
                </a:lnTo>
                <a:lnTo>
                  <a:pt x="4152" y="6073"/>
                </a:lnTo>
                <a:lnTo>
                  <a:pt x="4297" y="5648"/>
                </a:lnTo>
                <a:lnTo>
                  <a:pt x="4315" y="5600"/>
                </a:lnTo>
                <a:lnTo>
                  <a:pt x="4334" y="5553"/>
                </a:lnTo>
                <a:lnTo>
                  <a:pt x="4355" y="5507"/>
                </a:lnTo>
                <a:lnTo>
                  <a:pt x="4379" y="5462"/>
                </a:lnTo>
                <a:lnTo>
                  <a:pt x="4403" y="5418"/>
                </a:lnTo>
                <a:lnTo>
                  <a:pt x="4429" y="5374"/>
                </a:lnTo>
                <a:lnTo>
                  <a:pt x="4457" y="5333"/>
                </a:lnTo>
                <a:lnTo>
                  <a:pt x="4487" y="5292"/>
                </a:lnTo>
                <a:lnTo>
                  <a:pt x="4518" y="5252"/>
                </a:lnTo>
                <a:lnTo>
                  <a:pt x="4550" y="5214"/>
                </a:lnTo>
                <a:lnTo>
                  <a:pt x="4584" y="5177"/>
                </a:lnTo>
                <a:lnTo>
                  <a:pt x="4620" y="5141"/>
                </a:lnTo>
                <a:lnTo>
                  <a:pt x="4656" y="5106"/>
                </a:lnTo>
                <a:lnTo>
                  <a:pt x="4693" y="5073"/>
                </a:lnTo>
                <a:lnTo>
                  <a:pt x="4732" y="5042"/>
                </a:lnTo>
                <a:lnTo>
                  <a:pt x="4772" y="5011"/>
                </a:lnTo>
                <a:lnTo>
                  <a:pt x="4813" y="4982"/>
                </a:lnTo>
                <a:lnTo>
                  <a:pt x="4855" y="4955"/>
                </a:lnTo>
                <a:lnTo>
                  <a:pt x="4898" y="4929"/>
                </a:lnTo>
                <a:lnTo>
                  <a:pt x="4941" y="4905"/>
                </a:lnTo>
                <a:lnTo>
                  <a:pt x="4986" y="4883"/>
                </a:lnTo>
                <a:lnTo>
                  <a:pt x="5031" y="4862"/>
                </a:lnTo>
                <a:lnTo>
                  <a:pt x="5076" y="4843"/>
                </a:lnTo>
                <a:lnTo>
                  <a:pt x="5123" y="4826"/>
                </a:lnTo>
                <a:lnTo>
                  <a:pt x="5170" y="4811"/>
                </a:lnTo>
                <a:lnTo>
                  <a:pt x="5217" y="4798"/>
                </a:lnTo>
                <a:lnTo>
                  <a:pt x="5266" y="4787"/>
                </a:lnTo>
                <a:lnTo>
                  <a:pt x="5314" y="4777"/>
                </a:lnTo>
                <a:lnTo>
                  <a:pt x="5363" y="4769"/>
                </a:lnTo>
                <a:lnTo>
                  <a:pt x="5412" y="4764"/>
                </a:lnTo>
                <a:lnTo>
                  <a:pt x="5461" y="4761"/>
                </a:lnTo>
                <a:lnTo>
                  <a:pt x="5511" y="4760"/>
                </a:lnTo>
                <a:lnTo>
                  <a:pt x="5526" y="4760"/>
                </a:lnTo>
                <a:lnTo>
                  <a:pt x="5560" y="4666"/>
                </a:lnTo>
                <a:lnTo>
                  <a:pt x="5595" y="4574"/>
                </a:lnTo>
                <a:lnTo>
                  <a:pt x="5629" y="4484"/>
                </a:lnTo>
                <a:lnTo>
                  <a:pt x="5662" y="4397"/>
                </a:lnTo>
                <a:lnTo>
                  <a:pt x="5695" y="4311"/>
                </a:lnTo>
                <a:lnTo>
                  <a:pt x="5727" y="4228"/>
                </a:lnTo>
                <a:lnTo>
                  <a:pt x="5758" y="4148"/>
                </a:lnTo>
                <a:lnTo>
                  <a:pt x="5789" y="4070"/>
                </a:lnTo>
                <a:lnTo>
                  <a:pt x="5818" y="3994"/>
                </a:lnTo>
                <a:lnTo>
                  <a:pt x="5847" y="3922"/>
                </a:lnTo>
                <a:lnTo>
                  <a:pt x="5875" y="3852"/>
                </a:lnTo>
                <a:lnTo>
                  <a:pt x="5902" y="3785"/>
                </a:lnTo>
                <a:lnTo>
                  <a:pt x="5927" y="3721"/>
                </a:lnTo>
                <a:lnTo>
                  <a:pt x="5951" y="3661"/>
                </a:lnTo>
                <a:lnTo>
                  <a:pt x="5976" y="3604"/>
                </a:lnTo>
                <a:lnTo>
                  <a:pt x="5998" y="3549"/>
                </a:lnTo>
                <a:lnTo>
                  <a:pt x="5589" y="3557"/>
                </a:lnTo>
                <a:lnTo>
                  <a:pt x="5363" y="3556"/>
                </a:lnTo>
                <a:lnTo>
                  <a:pt x="5143" y="3553"/>
                </a:lnTo>
                <a:lnTo>
                  <a:pt x="4931" y="3548"/>
                </a:lnTo>
                <a:lnTo>
                  <a:pt x="4726" y="3541"/>
                </a:lnTo>
                <a:lnTo>
                  <a:pt x="4529" y="3532"/>
                </a:lnTo>
                <a:lnTo>
                  <a:pt x="4338" y="3521"/>
                </a:lnTo>
                <a:lnTo>
                  <a:pt x="4156" y="3509"/>
                </a:lnTo>
                <a:lnTo>
                  <a:pt x="3980" y="3496"/>
                </a:lnTo>
                <a:lnTo>
                  <a:pt x="3812" y="3481"/>
                </a:lnTo>
                <a:lnTo>
                  <a:pt x="3651" y="3466"/>
                </a:lnTo>
                <a:lnTo>
                  <a:pt x="3496" y="3449"/>
                </a:lnTo>
                <a:lnTo>
                  <a:pt x="3349" y="3432"/>
                </a:lnTo>
                <a:lnTo>
                  <a:pt x="3210" y="3415"/>
                </a:lnTo>
                <a:lnTo>
                  <a:pt x="3077" y="3396"/>
                </a:lnTo>
                <a:lnTo>
                  <a:pt x="2952" y="3378"/>
                </a:lnTo>
                <a:lnTo>
                  <a:pt x="2834" y="3359"/>
                </a:lnTo>
                <a:lnTo>
                  <a:pt x="2723" y="3341"/>
                </a:lnTo>
                <a:lnTo>
                  <a:pt x="2620" y="3323"/>
                </a:lnTo>
                <a:lnTo>
                  <a:pt x="2524" y="3304"/>
                </a:lnTo>
                <a:lnTo>
                  <a:pt x="2434" y="3286"/>
                </a:lnTo>
                <a:lnTo>
                  <a:pt x="2352" y="3270"/>
                </a:lnTo>
                <a:lnTo>
                  <a:pt x="2278" y="3253"/>
                </a:lnTo>
                <a:lnTo>
                  <a:pt x="2209" y="3238"/>
                </a:lnTo>
                <a:lnTo>
                  <a:pt x="2149" y="3223"/>
                </a:lnTo>
                <a:lnTo>
                  <a:pt x="2049" y="3198"/>
                </a:lnTo>
                <a:lnTo>
                  <a:pt x="1978" y="3178"/>
                </a:lnTo>
                <a:lnTo>
                  <a:pt x="1935" y="3166"/>
                </a:lnTo>
                <a:lnTo>
                  <a:pt x="1921" y="3161"/>
                </a:lnTo>
                <a:lnTo>
                  <a:pt x="1947" y="3061"/>
                </a:lnTo>
                <a:lnTo>
                  <a:pt x="1974" y="2962"/>
                </a:lnTo>
                <a:lnTo>
                  <a:pt x="2001" y="2868"/>
                </a:lnTo>
                <a:lnTo>
                  <a:pt x="2029" y="2777"/>
                </a:lnTo>
                <a:lnTo>
                  <a:pt x="2057" y="2688"/>
                </a:lnTo>
                <a:lnTo>
                  <a:pt x="2084" y="2603"/>
                </a:lnTo>
                <a:lnTo>
                  <a:pt x="2112" y="2521"/>
                </a:lnTo>
                <a:lnTo>
                  <a:pt x="2139" y="2441"/>
                </a:lnTo>
                <a:lnTo>
                  <a:pt x="2168" y="2364"/>
                </a:lnTo>
                <a:lnTo>
                  <a:pt x="2195" y="2291"/>
                </a:lnTo>
                <a:lnTo>
                  <a:pt x="2222" y="2220"/>
                </a:lnTo>
                <a:lnTo>
                  <a:pt x="2249" y="2152"/>
                </a:lnTo>
                <a:lnTo>
                  <a:pt x="2276" y="2086"/>
                </a:lnTo>
                <a:lnTo>
                  <a:pt x="2303" y="2022"/>
                </a:lnTo>
                <a:lnTo>
                  <a:pt x="2328" y="1962"/>
                </a:lnTo>
                <a:lnTo>
                  <a:pt x="2354" y="1904"/>
                </a:lnTo>
                <a:lnTo>
                  <a:pt x="2403" y="1795"/>
                </a:lnTo>
                <a:lnTo>
                  <a:pt x="2449" y="1696"/>
                </a:lnTo>
                <a:lnTo>
                  <a:pt x="2492" y="1606"/>
                </a:lnTo>
                <a:lnTo>
                  <a:pt x="2532" y="1524"/>
                </a:lnTo>
                <a:lnTo>
                  <a:pt x="2567" y="1450"/>
                </a:lnTo>
                <a:lnTo>
                  <a:pt x="2597" y="1384"/>
                </a:lnTo>
                <a:lnTo>
                  <a:pt x="2610" y="1355"/>
                </a:lnTo>
                <a:lnTo>
                  <a:pt x="2622" y="1326"/>
                </a:lnTo>
                <a:lnTo>
                  <a:pt x="2633" y="1300"/>
                </a:lnTo>
                <a:lnTo>
                  <a:pt x="2643" y="1275"/>
                </a:lnTo>
                <a:lnTo>
                  <a:pt x="2645" y="1269"/>
                </a:lnTo>
                <a:lnTo>
                  <a:pt x="2654" y="1253"/>
                </a:lnTo>
                <a:lnTo>
                  <a:pt x="2661" y="1241"/>
                </a:lnTo>
                <a:lnTo>
                  <a:pt x="2671" y="1229"/>
                </a:lnTo>
                <a:lnTo>
                  <a:pt x="2685" y="1214"/>
                </a:lnTo>
                <a:lnTo>
                  <a:pt x="2702" y="1198"/>
                </a:lnTo>
                <a:lnTo>
                  <a:pt x="2724" y="1180"/>
                </a:lnTo>
                <a:lnTo>
                  <a:pt x="2750" y="1161"/>
                </a:lnTo>
                <a:lnTo>
                  <a:pt x="2783" y="1141"/>
                </a:lnTo>
                <a:lnTo>
                  <a:pt x="2821" y="1120"/>
                </a:lnTo>
                <a:lnTo>
                  <a:pt x="2865" y="1099"/>
                </a:lnTo>
                <a:lnTo>
                  <a:pt x="2917" y="1077"/>
                </a:lnTo>
                <a:lnTo>
                  <a:pt x="2975" y="1054"/>
                </a:lnTo>
                <a:lnTo>
                  <a:pt x="3042" y="1032"/>
                </a:lnTo>
                <a:lnTo>
                  <a:pt x="3116" y="1010"/>
                </a:lnTo>
                <a:lnTo>
                  <a:pt x="3200" y="987"/>
                </a:lnTo>
                <a:lnTo>
                  <a:pt x="3294" y="965"/>
                </a:lnTo>
                <a:lnTo>
                  <a:pt x="3397" y="944"/>
                </a:lnTo>
                <a:lnTo>
                  <a:pt x="3510" y="923"/>
                </a:lnTo>
                <a:lnTo>
                  <a:pt x="3635" y="903"/>
                </a:lnTo>
                <a:lnTo>
                  <a:pt x="3770" y="884"/>
                </a:lnTo>
                <a:lnTo>
                  <a:pt x="3918" y="867"/>
                </a:lnTo>
                <a:lnTo>
                  <a:pt x="4078" y="851"/>
                </a:lnTo>
                <a:lnTo>
                  <a:pt x="4251" y="837"/>
                </a:lnTo>
                <a:lnTo>
                  <a:pt x="4437" y="824"/>
                </a:lnTo>
                <a:lnTo>
                  <a:pt x="4638" y="812"/>
                </a:lnTo>
                <a:lnTo>
                  <a:pt x="4853" y="804"/>
                </a:lnTo>
                <a:lnTo>
                  <a:pt x="5082" y="797"/>
                </a:lnTo>
                <a:lnTo>
                  <a:pt x="5327" y="793"/>
                </a:lnTo>
                <a:lnTo>
                  <a:pt x="5589" y="792"/>
                </a:lnTo>
                <a:lnTo>
                  <a:pt x="5850" y="793"/>
                </a:lnTo>
                <a:lnTo>
                  <a:pt x="6095" y="797"/>
                </a:lnTo>
                <a:lnTo>
                  <a:pt x="6325" y="802"/>
                </a:lnTo>
                <a:lnTo>
                  <a:pt x="6539" y="810"/>
                </a:lnTo>
                <a:lnTo>
                  <a:pt x="6740" y="821"/>
                </a:lnTo>
                <a:lnTo>
                  <a:pt x="6925" y="832"/>
                </a:lnTo>
                <a:lnTo>
                  <a:pt x="7099" y="845"/>
                </a:lnTo>
                <a:lnTo>
                  <a:pt x="7259" y="860"/>
                </a:lnTo>
                <a:lnTo>
                  <a:pt x="7406" y="876"/>
                </a:lnTo>
                <a:lnTo>
                  <a:pt x="7542" y="893"/>
                </a:lnTo>
                <a:lnTo>
                  <a:pt x="7666" y="912"/>
                </a:lnTo>
                <a:lnTo>
                  <a:pt x="7780" y="932"/>
                </a:lnTo>
                <a:lnTo>
                  <a:pt x="7883" y="952"/>
                </a:lnTo>
                <a:lnTo>
                  <a:pt x="7977" y="973"/>
                </a:lnTo>
                <a:lnTo>
                  <a:pt x="8061" y="996"/>
                </a:lnTo>
                <a:lnTo>
                  <a:pt x="8136" y="1018"/>
                </a:lnTo>
                <a:lnTo>
                  <a:pt x="8204" y="1041"/>
                </a:lnTo>
                <a:lnTo>
                  <a:pt x="8263" y="1064"/>
                </a:lnTo>
                <a:lnTo>
                  <a:pt x="8316" y="1088"/>
                </a:lnTo>
                <a:lnTo>
                  <a:pt x="8361" y="1111"/>
                </a:lnTo>
                <a:lnTo>
                  <a:pt x="8400" y="1134"/>
                </a:lnTo>
                <a:lnTo>
                  <a:pt x="8435" y="1157"/>
                </a:lnTo>
                <a:lnTo>
                  <a:pt x="8463" y="1180"/>
                </a:lnTo>
                <a:lnTo>
                  <a:pt x="8487" y="1202"/>
                </a:lnTo>
                <a:lnTo>
                  <a:pt x="8506" y="1224"/>
                </a:lnTo>
                <a:lnTo>
                  <a:pt x="8523" y="1244"/>
                </a:lnTo>
                <a:lnTo>
                  <a:pt x="8537" y="1265"/>
                </a:lnTo>
                <a:lnTo>
                  <a:pt x="8547" y="1283"/>
                </a:lnTo>
                <a:lnTo>
                  <a:pt x="8563" y="1317"/>
                </a:lnTo>
                <a:lnTo>
                  <a:pt x="8574" y="1347"/>
                </a:lnTo>
                <a:lnTo>
                  <a:pt x="8583" y="1369"/>
                </a:lnTo>
                <a:lnTo>
                  <a:pt x="8595" y="1394"/>
                </a:lnTo>
                <a:lnTo>
                  <a:pt x="8608" y="1422"/>
                </a:lnTo>
                <a:lnTo>
                  <a:pt x="8623" y="1452"/>
                </a:lnTo>
                <a:lnTo>
                  <a:pt x="8640" y="1485"/>
                </a:lnTo>
                <a:lnTo>
                  <a:pt x="8660" y="1522"/>
                </a:lnTo>
                <a:lnTo>
                  <a:pt x="8681" y="1562"/>
                </a:lnTo>
                <a:lnTo>
                  <a:pt x="8703" y="1606"/>
                </a:lnTo>
                <a:lnTo>
                  <a:pt x="8727" y="1652"/>
                </a:lnTo>
                <a:lnTo>
                  <a:pt x="8752" y="1703"/>
                </a:lnTo>
                <a:lnTo>
                  <a:pt x="8779" y="1757"/>
                </a:lnTo>
                <a:lnTo>
                  <a:pt x="8806" y="1816"/>
                </a:lnTo>
                <a:lnTo>
                  <a:pt x="8835" y="1879"/>
                </a:lnTo>
                <a:lnTo>
                  <a:pt x="8864" y="1947"/>
                </a:lnTo>
                <a:lnTo>
                  <a:pt x="8895" y="2018"/>
                </a:lnTo>
                <a:lnTo>
                  <a:pt x="8927" y="2094"/>
                </a:lnTo>
                <a:lnTo>
                  <a:pt x="8970" y="2091"/>
                </a:lnTo>
                <a:lnTo>
                  <a:pt x="9014" y="2089"/>
                </a:lnTo>
                <a:lnTo>
                  <a:pt x="9059" y="2086"/>
                </a:lnTo>
                <a:lnTo>
                  <a:pt x="9105" y="2083"/>
                </a:lnTo>
                <a:lnTo>
                  <a:pt x="9152" y="2081"/>
                </a:lnTo>
                <a:lnTo>
                  <a:pt x="9199" y="2078"/>
                </a:lnTo>
                <a:lnTo>
                  <a:pt x="9247" y="2076"/>
                </a:lnTo>
                <a:lnTo>
                  <a:pt x="9296" y="2074"/>
                </a:lnTo>
                <a:lnTo>
                  <a:pt x="9346" y="2072"/>
                </a:lnTo>
                <a:lnTo>
                  <a:pt x="9398" y="2070"/>
                </a:lnTo>
                <a:lnTo>
                  <a:pt x="9450" y="2068"/>
                </a:lnTo>
                <a:lnTo>
                  <a:pt x="9502" y="2066"/>
                </a:lnTo>
                <a:lnTo>
                  <a:pt x="9557" y="2064"/>
                </a:lnTo>
                <a:lnTo>
                  <a:pt x="9612" y="2062"/>
                </a:lnTo>
                <a:lnTo>
                  <a:pt x="9670" y="2061"/>
                </a:lnTo>
                <a:lnTo>
                  <a:pt x="9727" y="2059"/>
                </a:lnTo>
                <a:lnTo>
                  <a:pt x="9685" y="1945"/>
                </a:lnTo>
                <a:lnTo>
                  <a:pt x="9643" y="1834"/>
                </a:lnTo>
                <a:lnTo>
                  <a:pt x="9602" y="1727"/>
                </a:lnTo>
                <a:lnTo>
                  <a:pt x="9563" y="1624"/>
                </a:lnTo>
                <a:lnTo>
                  <a:pt x="9525" y="1526"/>
                </a:lnTo>
                <a:lnTo>
                  <a:pt x="9487" y="1432"/>
                </a:lnTo>
                <a:lnTo>
                  <a:pt x="9452" y="1344"/>
                </a:lnTo>
                <a:lnTo>
                  <a:pt x="9419" y="1260"/>
                </a:lnTo>
                <a:lnTo>
                  <a:pt x="9386" y="1183"/>
                </a:lnTo>
                <a:lnTo>
                  <a:pt x="9357" y="1111"/>
                </a:lnTo>
                <a:lnTo>
                  <a:pt x="9330" y="1046"/>
                </a:lnTo>
                <a:lnTo>
                  <a:pt x="9306" y="987"/>
                </a:lnTo>
                <a:lnTo>
                  <a:pt x="9283" y="936"/>
                </a:lnTo>
                <a:lnTo>
                  <a:pt x="9263" y="891"/>
                </a:lnTo>
                <a:lnTo>
                  <a:pt x="9246" y="855"/>
                </a:lnTo>
                <a:lnTo>
                  <a:pt x="9233" y="827"/>
                </a:lnTo>
                <a:lnTo>
                  <a:pt x="9211" y="788"/>
                </a:lnTo>
                <a:lnTo>
                  <a:pt x="9188" y="751"/>
                </a:lnTo>
                <a:lnTo>
                  <a:pt x="9163" y="715"/>
                </a:lnTo>
                <a:lnTo>
                  <a:pt x="9135" y="682"/>
                </a:lnTo>
                <a:lnTo>
                  <a:pt x="9107" y="650"/>
                </a:lnTo>
                <a:lnTo>
                  <a:pt x="9077" y="619"/>
                </a:lnTo>
                <a:lnTo>
                  <a:pt x="9046" y="591"/>
                </a:lnTo>
                <a:lnTo>
                  <a:pt x="9012" y="564"/>
                </a:lnTo>
                <a:lnTo>
                  <a:pt x="8978" y="537"/>
                </a:lnTo>
                <a:lnTo>
                  <a:pt x="8943" y="513"/>
                </a:lnTo>
                <a:lnTo>
                  <a:pt x="8907" y="490"/>
                </a:lnTo>
                <a:lnTo>
                  <a:pt x="8869" y="468"/>
                </a:lnTo>
                <a:lnTo>
                  <a:pt x="8832" y="447"/>
                </a:lnTo>
                <a:lnTo>
                  <a:pt x="8793" y="428"/>
                </a:lnTo>
                <a:lnTo>
                  <a:pt x="8753" y="409"/>
                </a:lnTo>
                <a:lnTo>
                  <a:pt x="8713" y="392"/>
                </a:lnTo>
                <a:lnTo>
                  <a:pt x="8672" y="374"/>
                </a:lnTo>
                <a:lnTo>
                  <a:pt x="8630" y="358"/>
                </a:lnTo>
                <a:lnTo>
                  <a:pt x="8589" y="343"/>
                </a:lnTo>
                <a:lnTo>
                  <a:pt x="8548" y="328"/>
                </a:lnTo>
                <a:lnTo>
                  <a:pt x="8463" y="300"/>
                </a:lnTo>
                <a:lnTo>
                  <a:pt x="8379" y="274"/>
                </a:lnTo>
                <a:lnTo>
                  <a:pt x="8297" y="249"/>
                </a:lnTo>
                <a:lnTo>
                  <a:pt x="8215" y="225"/>
                </a:lnTo>
                <a:lnTo>
                  <a:pt x="8135" y="200"/>
                </a:lnTo>
                <a:lnTo>
                  <a:pt x="8059" y="175"/>
                </a:lnTo>
                <a:lnTo>
                  <a:pt x="8052" y="173"/>
                </a:lnTo>
                <a:lnTo>
                  <a:pt x="8030" y="167"/>
                </a:lnTo>
                <a:lnTo>
                  <a:pt x="7993" y="159"/>
                </a:lnTo>
                <a:lnTo>
                  <a:pt x="7940" y="148"/>
                </a:lnTo>
                <a:lnTo>
                  <a:pt x="7868" y="135"/>
                </a:lnTo>
                <a:lnTo>
                  <a:pt x="7778" y="119"/>
                </a:lnTo>
                <a:lnTo>
                  <a:pt x="7726" y="111"/>
                </a:lnTo>
                <a:lnTo>
                  <a:pt x="7668" y="103"/>
                </a:lnTo>
                <a:lnTo>
                  <a:pt x="7605" y="95"/>
                </a:lnTo>
                <a:lnTo>
                  <a:pt x="7536" y="87"/>
                </a:lnTo>
                <a:lnTo>
                  <a:pt x="7463" y="79"/>
                </a:lnTo>
                <a:lnTo>
                  <a:pt x="7383" y="71"/>
                </a:lnTo>
                <a:lnTo>
                  <a:pt x="7297" y="63"/>
                </a:lnTo>
                <a:lnTo>
                  <a:pt x="7206" y="56"/>
                </a:lnTo>
                <a:lnTo>
                  <a:pt x="7108" y="48"/>
                </a:lnTo>
                <a:lnTo>
                  <a:pt x="7004" y="40"/>
                </a:lnTo>
                <a:lnTo>
                  <a:pt x="6894" y="33"/>
                </a:lnTo>
                <a:lnTo>
                  <a:pt x="6777" y="27"/>
                </a:lnTo>
                <a:lnTo>
                  <a:pt x="6653" y="21"/>
                </a:lnTo>
                <a:lnTo>
                  <a:pt x="6523" y="16"/>
                </a:lnTo>
                <a:lnTo>
                  <a:pt x="6386" y="11"/>
                </a:lnTo>
                <a:lnTo>
                  <a:pt x="6242" y="7"/>
                </a:lnTo>
                <a:lnTo>
                  <a:pt x="6090" y="4"/>
                </a:lnTo>
                <a:lnTo>
                  <a:pt x="5930" y="2"/>
                </a:lnTo>
                <a:lnTo>
                  <a:pt x="5764" y="0"/>
                </a:lnTo>
                <a:lnTo>
                  <a:pt x="5591" y="0"/>
                </a:lnTo>
                <a:lnTo>
                  <a:pt x="5416" y="0"/>
                </a:lnTo>
                <a:lnTo>
                  <a:pt x="5250" y="2"/>
                </a:lnTo>
                <a:lnTo>
                  <a:pt x="5090" y="4"/>
                </a:lnTo>
                <a:lnTo>
                  <a:pt x="4939" y="7"/>
                </a:lnTo>
                <a:lnTo>
                  <a:pt x="4794" y="11"/>
                </a:lnTo>
                <a:lnTo>
                  <a:pt x="4657" y="16"/>
                </a:lnTo>
                <a:lnTo>
                  <a:pt x="4527" y="21"/>
                </a:lnTo>
                <a:lnTo>
                  <a:pt x="4403" y="27"/>
                </a:lnTo>
                <a:lnTo>
                  <a:pt x="4286" y="33"/>
                </a:lnTo>
                <a:lnTo>
                  <a:pt x="4176" y="40"/>
                </a:lnTo>
                <a:lnTo>
                  <a:pt x="4072" y="48"/>
                </a:lnTo>
                <a:lnTo>
                  <a:pt x="3974" y="56"/>
                </a:lnTo>
                <a:lnTo>
                  <a:pt x="3883" y="63"/>
                </a:lnTo>
                <a:lnTo>
                  <a:pt x="3797" y="71"/>
                </a:lnTo>
                <a:lnTo>
                  <a:pt x="3717" y="79"/>
                </a:lnTo>
                <a:lnTo>
                  <a:pt x="3644" y="87"/>
                </a:lnTo>
                <a:lnTo>
                  <a:pt x="3575" y="95"/>
                </a:lnTo>
                <a:lnTo>
                  <a:pt x="3513" y="103"/>
                </a:lnTo>
                <a:lnTo>
                  <a:pt x="3454" y="111"/>
                </a:lnTo>
                <a:lnTo>
                  <a:pt x="3402" y="119"/>
                </a:lnTo>
                <a:lnTo>
                  <a:pt x="3312" y="135"/>
                </a:lnTo>
                <a:lnTo>
                  <a:pt x="3240" y="148"/>
                </a:lnTo>
                <a:lnTo>
                  <a:pt x="3187" y="159"/>
                </a:lnTo>
                <a:lnTo>
                  <a:pt x="3150" y="167"/>
                </a:lnTo>
                <a:lnTo>
                  <a:pt x="3128" y="173"/>
                </a:lnTo>
                <a:lnTo>
                  <a:pt x="3121" y="175"/>
                </a:lnTo>
                <a:lnTo>
                  <a:pt x="3055" y="193"/>
                </a:lnTo>
                <a:lnTo>
                  <a:pt x="2982" y="211"/>
                </a:lnTo>
                <a:lnTo>
                  <a:pt x="2905" y="232"/>
                </a:lnTo>
                <a:lnTo>
                  <a:pt x="2825" y="253"/>
                </a:lnTo>
                <a:lnTo>
                  <a:pt x="2741" y="276"/>
                </a:lnTo>
                <a:lnTo>
                  <a:pt x="2658" y="302"/>
                </a:lnTo>
                <a:lnTo>
                  <a:pt x="2615" y="316"/>
                </a:lnTo>
                <a:lnTo>
                  <a:pt x="2573" y="330"/>
                </a:lnTo>
                <a:lnTo>
                  <a:pt x="2531" y="346"/>
                </a:lnTo>
                <a:lnTo>
                  <a:pt x="2489" y="362"/>
                </a:lnTo>
                <a:lnTo>
                  <a:pt x="2448" y="379"/>
                </a:lnTo>
                <a:lnTo>
                  <a:pt x="2408" y="399"/>
                </a:lnTo>
                <a:lnTo>
                  <a:pt x="2367" y="418"/>
                </a:lnTo>
                <a:lnTo>
                  <a:pt x="2328" y="439"/>
                </a:lnTo>
                <a:lnTo>
                  <a:pt x="2290" y="461"/>
                </a:lnTo>
                <a:lnTo>
                  <a:pt x="2252" y="485"/>
                </a:lnTo>
                <a:lnTo>
                  <a:pt x="2216" y="510"/>
                </a:lnTo>
                <a:lnTo>
                  <a:pt x="2182" y="536"/>
                </a:lnTo>
                <a:lnTo>
                  <a:pt x="2149" y="565"/>
                </a:lnTo>
                <a:lnTo>
                  <a:pt x="2117" y="594"/>
                </a:lnTo>
                <a:lnTo>
                  <a:pt x="2087" y="625"/>
                </a:lnTo>
                <a:lnTo>
                  <a:pt x="2059" y="658"/>
                </a:lnTo>
                <a:lnTo>
                  <a:pt x="2033" y="692"/>
                </a:lnTo>
                <a:lnTo>
                  <a:pt x="2009" y="729"/>
                </a:lnTo>
                <a:lnTo>
                  <a:pt x="1987" y="768"/>
                </a:lnTo>
                <a:lnTo>
                  <a:pt x="1968" y="808"/>
                </a:lnTo>
                <a:lnTo>
                  <a:pt x="1946" y="859"/>
                </a:lnTo>
                <a:lnTo>
                  <a:pt x="1919" y="923"/>
                </a:lnTo>
                <a:lnTo>
                  <a:pt x="1887" y="997"/>
                </a:lnTo>
                <a:lnTo>
                  <a:pt x="1852" y="1083"/>
                </a:lnTo>
                <a:lnTo>
                  <a:pt x="1813" y="1178"/>
                </a:lnTo>
                <a:lnTo>
                  <a:pt x="1770" y="1283"/>
                </a:lnTo>
                <a:lnTo>
                  <a:pt x="1725" y="1396"/>
                </a:lnTo>
                <a:lnTo>
                  <a:pt x="1677" y="1518"/>
                </a:lnTo>
                <a:lnTo>
                  <a:pt x="1626" y="1647"/>
                </a:lnTo>
                <a:lnTo>
                  <a:pt x="1574" y="1783"/>
                </a:lnTo>
                <a:lnTo>
                  <a:pt x="1519" y="1925"/>
                </a:lnTo>
                <a:lnTo>
                  <a:pt x="1463" y="2073"/>
                </a:lnTo>
                <a:lnTo>
                  <a:pt x="1406" y="2226"/>
                </a:lnTo>
                <a:lnTo>
                  <a:pt x="1349" y="2383"/>
                </a:lnTo>
                <a:lnTo>
                  <a:pt x="1291" y="2544"/>
                </a:lnTo>
                <a:lnTo>
                  <a:pt x="1233" y="2707"/>
                </a:lnTo>
                <a:lnTo>
                  <a:pt x="739" y="2707"/>
                </a:lnTo>
                <a:lnTo>
                  <a:pt x="718" y="2707"/>
                </a:lnTo>
                <a:lnTo>
                  <a:pt x="696" y="2709"/>
                </a:lnTo>
                <a:lnTo>
                  <a:pt x="673" y="2713"/>
                </a:lnTo>
                <a:lnTo>
                  <a:pt x="651" y="2716"/>
                </a:lnTo>
                <a:lnTo>
                  <a:pt x="629" y="2721"/>
                </a:lnTo>
                <a:lnTo>
                  <a:pt x="607" y="2727"/>
                </a:lnTo>
                <a:lnTo>
                  <a:pt x="585" y="2733"/>
                </a:lnTo>
                <a:lnTo>
                  <a:pt x="563" y="2741"/>
                </a:lnTo>
                <a:lnTo>
                  <a:pt x="541" y="2749"/>
                </a:lnTo>
                <a:lnTo>
                  <a:pt x="520" y="2758"/>
                </a:lnTo>
                <a:lnTo>
                  <a:pt x="499" y="2769"/>
                </a:lnTo>
                <a:lnTo>
                  <a:pt x="478" y="2780"/>
                </a:lnTo>
                <a:lnTo>
                  <a:pt x="457" y="2791"/>
                </a:lnTo>
                <a:lnTo>
                  <a:pt x="437" y="2805"/>
                </a:lnTo>
                <a:lnTo>
                  <a:pt x="416" y="2818"/>
                </a:lnTo>
                <a:lnTo>
                  <a:pt x="397" y="2832"/>
                </a:lnTo>
                <a:lnTo>
                  <a:pt x="378" y="2846"/>
                </a:lnTo>
                <a:lnTo>
                  <a:pt x="360" y="2862"/>
                </a:lnTo>
                <a:lnTo>
                  <a:pt x="342" y="2878"/>
                </a:lnTo>
                <a:lnTo>
                  <a:pt x="324" y="2895"/>
                </a:lnTo>
                <a:lnTo>
                  <a:pt x="308" y="2912"/>
                </a:lnTo>
                <a:lnTo>
                  <a:pt x="291" y="2930"/>
                </a:lnTo>
                <a:lnTo>
                  <a:pt x="275" y="2948"/>
                </a:lnTo>
                <a:lnTo>
                  <a:pt x="260" y="2967"/>
                </a:lnTo>
                <a:lnTo>
                  <a:pt x="246" y="2987"/>
                </a:lnTo>
                <a:lnTo>
                  <a:pt x="233" y="3006"/>
                </a:lnTo>
                <a:lnTo>
                  <a:pt x="220" y="3026"/>
                </a:lnTo>
                <a:lnTo>
                  <a:pt x="209" y="3046"/>
                </a:lnTo>
                <a:lnTo>
                  <a:pt x="198" y="3068"/>
                </a:lnTo>
                <a:lnTo>
                  <a:pt x="188" y="3089"/>
                </a:lnTo>
                <a:lnTo>
                  <a:pt x="178" y="3110"/>
                </a:lnTo>
                <a:lnTo>
                  <a:pt x="170" y="3132"/>
                </a:lnTo>
                <a:lnTo>
                  <a:pt x="24" y="3557"/>
                </a:lnTo>
                <a:lnTo>
                  <a:pt x="17" y="3580"/>
                </a:lnTo>
                <a:lnTo>
                  <a:pt x="12" y="3602"/>
                </a:lnTo>
                <a:lnTo>
                  <a:pt x="7" y="3624"/>
                </a:lnTo>
                <a:lnTo>
                  <a:pt x="4" y="3646"/>
                </a:lnTo>
                <a:lnTo>
                  <a:pt x="2" y="3670"/>
                </a:lnTo>
                <a:lnTo>
                  <a:pt x="0" y="3692"/>
                </a:lnTo>
                <a:lnTo>
                  <a:pt x="0" y="3714"/>
                </a:lnTo>
                <a:lnTo>
                  <a:pt x="1" y="3736"/>
                </a:lnTo>
                <a:lnTo>
                  <a:pt x="3" y="3758"/>
                </a:lnTo>
                <a:lnTo>
                  <a:pt x="6" y="3780"/>
                </a:lnTo>
                <a:lnTo>
                  <a:pt x="11" y="3801"/>
                </a:lnTo>
                <a:lnTo>
                  <a:pt x="16" y="3821"/>
                </a:lnTo>
                <a:lnTo>
                  <a:pt x="22" y="3843"/>
                </a:lnTo>
                <a:lnTo>
                  <a:pt x="29" y="3862"/>
                </a:lnTo>
                <a:lnTo>
                  <a:pt x="37" y="3882"/>
                </a:lnTo>
                <a:lnTo>
                  <a:pt x="46" y="3900"/>
                </a:lnTo>
                <a:lnTo>
                  <a:pt x="56" y="3919"/>
                </a:lnTo>
                <a:lnTo>
                  <a:pt x="67" y="3936"/>
                </a:lnTo>
                <a:lnTo>
                  <a:pt x="79" y="3952"/>
                </a:lnTo>
                <a:lnTo>
                  <a:pt x="91" y="3968"/>
                </a:lnTo>
                <a:lnTo>
                  <a:pt x="105" y="3982"/>
                </a:lnTo>
                <a:lnTo>
                  <a:pt x="119" y="3996"/>
                </a:lnTo>
                <a:lnTo>
                  <a:pt x="134" y="4009"/>
                </a:lnTo>
                <a:lnTo>
                  <a:pt x="150" y="4021"/>
                </a:lnTo>
                <a:lnTo>
                  <a:pt x="166" y="4031"/>
                </a:lnTo>
                <a:lnTo>
                  <a:pt x="183" y="4040"/>
                </a:lnTo>
                <a:lnTo>
                  <a:pt x="202" y="4048"/>
                </a:lnTo>
                <a:lnTo>
                  <a:pt x="221" y="4055"/>
                </a:lnTo>
                <a:lnTo>
                  <a:pt x="241" y="4060"/>
                </a:lnTo>
                <a:lnTo>
                  <a:pt x="261" y="4064"/>
                </a:lnTo>
                <a:lnTo>
                  <a:pt x="281" y="4066"/>
                </a:lnTo>
                <a:lnTo>
                  <a:pt x="303" y="4067"/>
                </a:lnTo>
                <a:lnTo>
                  <a:pt x="787" y="4067"/>
                </a:lnTo>
                <a:lnTo>
                  <a:pt x="762" y="4136"/>
                </a:lnTo>
                <a:lnTo>
                  <a:pt x="739" y="4201"/>
                </a:lnTo>
                <a:lnTo>
                  <a:pt x="717" y="4260"/>
                </a:lnTo>
                <a:lnTo>
                  <a:pt x="697" y="4315"/>
                </a:lnTo>
                <a:lnTo>
                  <a:pt x="658" y="4411"/>
                </a:lnTo>
                <a:lnTo>
                  <a:pt x="626" y="4489"/>
                </a:lnTo>
                <a:lnTo>
                  <a:pt x="601" y="4549"/>
                </a:lnTo>
                <a:lnTo>
                  <a:pt x="581" y="4591"/>
                </a:lnTo>
                <a:lnTo>
                  <a:pt x="570" y="4617"/>
                </a:lnTo>
                <a:lnTo>
                  <a:pt x="566" y="4625"/>
                </a:lnTo>
                <a:lnTo>
                  <a:pt x="559" y="4639"/>
                </a:lnTo>
                <a:lnTo>
                  <a:pt x="553" y="4658"/>
                </a:lnTo>
                <a:lnTo>
                  <a:pt x="546" y="4681"/>
                </a:lnTo>
                <a:lnTo>
                  <a:pt x="540" y="4708"/>
                </a:lnTo>
                <a:lnTo>
                  <a:pt x="535" y="4736"/>
                </a:lnTo>
                <a:lnTo>
                  <a:pt x="530" y="4767"/>
                </a:lnTo>
                <a:lnTo>
                  <a:pt x="525" y="4800"/>
                </a:lnTo>
                <a:lnTo>
                  <a:pt x="521" y="4833"/>
                </a:lnTo>
                <a:lnTo>
                  <a:pt x="513" y="4900"/>
                </a:lnTo>
                <a:lnTo>
                  <a:pt x="508" y="4963"/>
                </a:lnTo>
                <a:lnTo>
                  <a:pt x="504" y="5015"/>
                </a:lnTo>
                <a:lnTo>
                  <a:pt x="503" y="5053"/>
                </a:lnTo>
                <a:lnTo>
                  <a:pt x="503" y="8237"/>
                </a:lnTo>
                <a:lnTo>
                  <a:pt x="504" y="8259"/>
                </a:lnTo>
                <a:lnTo>
                  <a:pt x="505" y="8280"/>
                </a:lnTo>
                <a:lnTo>
                  <a:pt x="508" y="8301"/>
                </a:lnTo>
                <a:lnTo>
                  <a:pt x="512" y="8323"/>
                </a:lnTo>
                <a:lnTo>
                  <a:pt x="516" y="8343"/>
                </a:lnTo>
                <a:lnTo>
                  <a:pt x="522" y="8363"/>
                </a:lnTo>
                <a:lnTo>
                  <a:pt x="529" y="8383"/>
                </a:lnTo>
                <a:lnTo>
                  <a:pt x="536" y="8403"/>
                </a:lnTo>
                <a:lnTo>
                  <a:pt x="545" y="8421"/>
                </a:lnTo>
                <a:lnTo>
                  <a:pt x="555" y="8440"/>
                </a:lnTo>
                <a:lnTo>
                  <a:pt x="565" y="8457"/>
                </a:lnTo>
                <a:lnTo>
                  <a:pt x="576" y="8474"/>
                </a:lnTo>
                <a:lnTo>
                  <a:pt x="588" y="8492"/>
                </a:lnTo>
                <a:lnTo>
                  <a:pt x="600" y="8507"/>
                </a:lnTo>
                <a:lnTo>
                  <a:pt x="613" y="8523"/>
                </a:lnTo>
                <a:lnTo>
                  <a:pt x="627" y="8537"/>
                </a:lnTo>
                <a:lnTo>
                  <a:pt x="642" y="8551"/>
                </a:lnTo>
                <a:lnTo>
                  <a:pt x="657" y="8564"/>
                </a:lnTo>
                <a:lnTo>
                  <a:pt x="673" y="8578"/>
                </a:lnTo>
                <a:lnTo>
                  <a:pt x="690" y="8590"/>
                </a:lnTo>
                <a:lnTo>
                  <a:pt x="707" y="8600"/>
                </a:lnTo>
                <a:lnTo>
                  <a:pt x="725" y="8611"/>
                </a:lnTo>
                <a:lnTo>
                  <a:pt x="743" y="8620"/>
                </a:lnTo>
                <a:lnTo>
                  <a:pt x="762" y="8628"/>
                </a:lnTo>
                <a:lnTo>
                  <a:pt x="781" y="8636"/>
                </a:lnTo>
                <a:lnTo>
                  <a:pt x="801" y="8642"/>
                </a:lnTo>
                <a:lnTo>
                  <a:pt x="821" y="8648"/>
                </a:lnTo>
                <a:lnTo>
                  <a:pt x="842" y="8653"/>
                </a:lnTo>
                <a:lnTo>
                  <a:pt x="862" y="8657"/>
                </a:lnTo>
                <a:lnTo>
                  <a:pt x="883" y="8660"/>
                </a:lnTo>
                <a:lnTo>
                  <a:pt x="905" y="8662"/>
                </a:lnTo>
                <a:lnTo>
                  <a:pt x="927" y="8662"/>
                </a:lnTo>
                <a:lnTo>
                  <a:pt x="1095" y="8662"/>
                </a:lnTo>
                <a:lnTo>
                  <a:pt x="1342" y="8061"/>
                </a:lnTo>
                <a:lnTo>
                  <a:pt x="1371" y="7998"/>
                </a:lnTo>
                <a:lnTo>
                  <a:pt x="1403" y="7938"/>
                </a:lnTo>
                <a:lnTo>
                  <a:pt x="1437" y="7881"/>
                </a:lnTo>
                <a:lnTo>
                  <a:pt x="1473" y="7826"/>
                </a:lnTo>
                <a:lnTo>
                  <a:pt x="1511" y="7774"/>
                </a:lnTo>
                <a:lnTo>
                  <a:pt x="1551" y="7725"/>
                </a:lnTo>
                <a:lnTo>
                  <a:pt x="1592" y="7678"/>
                </a:lnTo>
                <a:lnTo>
                  <a:pt x="1635" y="7634"/>
                </a:lnTo>
                <a:lnTo>
                  <a:pt x="1680" y="7591"/>
                </a:lnTo>
                <a:lnTo>
                  <a:pt x="1725" y="7552"/>
                </a:lnTo>
                <a:lnTo>
                  <a:pt x="1772" y="7514"/>
                </a:lnTo>
                <a:lnTo>
                  <a:pt x="1820" y="7478"/>
                </a:lnTo>
                <a:lnTo>
                  <a:pt x="1869" y="7444"/>
                </a:lnTo>
                <a:lnTo>
                  <a:pt x="1919" y="7413"/>
                </a:lnTo>
                <a:lnTo>
                  <a:pt x="1969" y="7383"/>
                </a:lnTo>
                <a:lnTo>
                  <a:pt x="2019" y="7355"/>
                </a:lnTo>
                <a:lnTo>
                  <a:pt x="2071" y="7329"/>
                </a:lnTo>
                <a:lnTo>
                  <a:pt x="2122" y="7304"/>
                </a:lnTo>
                <a:lnTo>
                  <a:pt x="2174" y="7281"/>
                </a:lnTo>
                <a:lnTo>
                  <a:pt x="2225" y="7258"/>
                </a:lnTo>
                <a:lnTo>
                  <a:pt x="2277" y="7238"/>
                </a:lnTo>
                <a:lnTo>
                  <a:pt x="2328" y="7219"/>
                </a:lnTo>
                <a:lnTo>
                  <a:pt x="2378" y="7202"/>
                </a:lnTo>
                <a:lnTo>
                  <a:pt x="2429" y="7184"/>
                </a:lnTo>
                <a:lnTo>
                  <a:pt x="2478" y="7168"/>
                </a:lnTo>
                <a:lnTo>
                  <a:pt x="2527" y="7154"/>
                </a:lnTo>
                <a:lnTo>
                  <a:pt x="2574" y="7140"/>
                </a:lnTo>
                <a:lnTo>
                  <a:pt x="2621" y="7127"/>
                </a:lnTo>
                <a:lnTo>
                  <a:pt x="2711" y="7103"/>
                </a:lnTo>
                <a:lnTo>
                  <a:pt x="2795" y="7082"/>
                </a:lnTo>
                <a:lnTo>
                  <a:pt x="2921" y="7049"/>
                </a:lnTo>
                <a:lnTo>
                  <a:pt x="2939" y="7044"/>
                </a:lnTo>
                <a:lnTo>
                  <a:pt x="2963" y="7037"/>
                </a:lnTo>
                <a:lnTo>
                  <a:pt x="2994" y="7029"/>
                </a:lnTo>
                <a:lnTo>
                  <a:pt x="3034" y="7020"/>
                </a:lnTo>
                <a:lnTo>
                  <a:pt x="3080" y="7010"/>
                </a:lnTo>
                <a:lnTo>
                  <a:pt x="3135" y="6999"/>
                </a:lnTo>
                <a:lnTo>
                  <a:pt x="3197" y="6988"/>
                </a:lnTo>
                <a:lnTo>
                  <a:pt x="3268" y="6976"/>
                </a:lnTo>
                <a:lnTo>
                  <a:pt x="3348" y="6964"/>
                </a:lnTo>
                <a:lnTo>
                  <a:pt x="3438" y="6952"/>
                </a:lnTo>
                <a:lnTo>
                  <a:pt x="3537" y="6940"/>
                </a:lnTo>
                <a:lnTo>
                  <a:pt x="3645" y="6927"/>
                </a:lnTo>
                <a:lnTo>
                  <a:pt x="3764" y="6915"/>
                </a:lnTo>
                <a:lnTo>
                  <a:pt x="3894" y="6904"/>
                </a:lnTo>
                <a:lnTo>
                  <a:pt x="4033" y="6893"/>
                </a:lnTo>
                <a:lnTo>
                  <a:pt x="4184" y="6883"/>
                </a:lnTo>
                <a:close/>
                <a:moveTo>
                  <a:pt x="1971" y="4834"/>
                </a:moveTo>
                <a:lnTo>
                  <a:pt x="1992" y="4835"/>
                </a:lnTo>
                <a:lnTo>
                  <a:pt x="2016" y="4836"/>
                </a:lnTo>
                <a:lnTo>
                  <a:pt x="2041" y="4839"/>
                </a:lnTo>
                <a:lnTo>
                  <a:pt x="2066" y="4843"/>
                </a:lnTo>
                <a:lnTo>
                  <a:pt x="2093" y="4848"/>
                </a:lnTo>
                <a:lnTo>
                  <a:pt x="2120" y="4854"/>
                </a:lnTo>
                <a:lnTo>
                  <a:pt x="2149" y="4861"/>
                </a:lnTo>
                <a:lnTo>
                  <a:pt x="2178" y="4870"/>
                </a:lnTo>
                <a:lnTo>
                  <a:pt x="2208" y="4879"/>
                </a:lnTo>
                <a:lnTo>
                  <a:pt x="2239" y="4888"/>
                </a:lnTo>
                <a:lnTo>
                  <a:pt x="2270" y="4898"/>
                </a:lnTo>
                <a:lnTo>
                  <a:pt x="2302" y="4909"/>
                </a:lnTo>
                <a:lnTo>
                  <a:pt x="2367" y="4932"/>
                </a:lnTo>
                <a:lnTo>
                  <a:pt x="2434" y="4959"/>
                </a:lnTo>
                <a:lnTo>
                  <a:pt x="2501" y="4986"/>
                </a:lnTo>
                <a:lnTo>
                  <a:pt x="2569" y="5015"/>
                </a:lnTo>
                <a:lnTo>
                  <a:pt x="2636" y="5045"/>
                </a:lnTo>
                <a:lnTo>
                  <a:pt x="2703" y="5075"/>
                </a:lnTo>
                <a:lnTo>
                  <a:pt x="2768" y="5105"/>
                </a:lnTo>
                <a:lnTo>
                  <a:pt x="2831" y="5136"/>
                </a:lnTo>
                <a:lnTo>
                  <a:pt x="2892" y="5165"/>
                </a:lnTo>
                <a:lnTo>
                  <a:pt x="2950" y="5193"/>
                </a:lnTo>
                <a:lnTo>
                  <a:pt x="3072" y="5252"/>
                </a:lnTo>
                <a:lnTo>
                  <a:pt x="3194" y="5310"/>
                </a:lnTo>
                <a:lnTo>
                  <a:pt x="3254" y="5339"/>
                </a:lnTo>
                <a:lnTo>
                  <a:pt x="3310" y="5369"/>
                </a:lnTo>
                <a:lnTo>
                  <a:pt x="3337" y="5385"/>
                </a:lnTo>
                <a:lnTo>
                  <a:pt x="3364" y="5401"/>
                </a:lnTo>
                <a:lnTo>
                  <a:pt x="3391" y="5416"/>
                </a:lnTo>
                <a:lnTo>
                  <a:pt x="3416" y="5432"/>
                </a:lnTo>
                <a:lnTo>
                  <a:pt x="3440" y="5448"/>
                </a:lnTo>
                <a:lnTo>
                  <a:pt x="3463" y="5465"/>
                </a:lnTo>
                <a:lnTo>
                  <a:pt x="3484" y="5483"/>
                </a:lnTo>
                <a:lnTo>
                  <a:pt x="3506" y="5500"/>
                </a:lnTo>
                <a:lnTo>
                  <a:pt x="3526" y="5518"/>
                </a:lnTo>
                <a:lnTo>
                  <a:pt x="3544" y="5536"/>
                </a:lnTo>
                <a:lnTo>
                  <a:pt x="3561" y="5555"/>
                </a:lnTo>
                <a:lnTo>
                  <a:pt x="3576" y="5575"/>
                </a:lnTo>
                <a:lnTo>
                  <a:pt x="3590" y="5594"/>
                </a:lnTo>
                <a:lnTo>
                  <a:pt x="3602" y="5615"/>
                </a:lnTo>
                <a:lnTo>
                  <a:pt x="3612" y="5635"/>
                </a:lnTo>
                <a:lnTo>
                  <a:pt x="3621" y="5658"/>
                </a:lnTo>
                <a:lnTo>
                  <a:pt x="3629" y="5680"/>
                </a:lnTo>
                <a:lnTo>
                  <a:pt x="3634" y="5703"/>
                </a:lnTo>
                <a:lnTo>
                  <a:pt x="3637" y="5727"/>
                </a:lnTo>
                <a:lnTo>
                  <a:pt x="3638" y="5751"/>
                </a:lnTo>
                <a:lnTo>
                  <a:pt x="3638" y="5774"/>
                </a:lnTo>
                <a:lnTo>
                  <a:pt x="3637" y="5795"/>
                </a:lnTo>
                <a:lnTo>
                  <a:pt x="3635" y="5817"/>
                </a:lnTo>
                <a:lnTo>
                  <a:pt x="3632" y="5837"/>
                </a:lnTo>
                <a:lnTo>
                  <a:pt x="3629" y="5857"/>
                </a:lnTo>
                <a:lnTo>
                  <a:pt x="3624" y="5875"/>
                </a:lnTo>
                <a:lnTo>
                  <a:pt x="3618" y="5893"/>
                </a:lnTo>
                <a:lnTo>
                  <a:pt x="3611" y="5911"/>
                </a:lnTo>
                <a:lnTo>
                  <a:pt x="3604" y="5928"/>
                </a:lnTo>
                <a:lnTo>
                  <a:pt x="3596" y="5943"/>
                </a:lnTo>
                <a:lnTo>
                  <a:pt x="3586" y="5958"/>
                </a:lnTo>
                <a:lnTo>
                  <a:pt x="3576" y="5972"/>
                </a:lnTo>
                <a:lnTo>
                  <a:pt x="3564" y="5986"/>
                </a:lnTo>
                <a:lnTo>
                  <a:pt x="3552" y="5999"/>
                </a:lnTo>
                <a:lnTo>
                  <a:pt x="3538" y="6011"/>
                </a:lnTo>
                <a:lnTo>
                  <a:pt x="3523" y="6022"/>
                </a:lnTo>
                <a:lnTo>
                  <a:pt x="3507" y="6033"/>
                </a:lnTo>
                <a:lnTo>
                  <a:pt x="3488" y="6043"/>
                </a:lnTo>
                <a:lnTo>
                  <a:pt x="3469" y="6052"/>
                </a:lnTo>
                <a:lnTo>
                  <a:pt x="3449" y="6060"/>
                </a:lnTo>
                <a:lnTo>
                  <a:pt x="3427" y="6068"/>
                </a:lnTo>
                <a:lnTo>
                  <a:pt x="3404" y="6076"/>
                </a:lnTo>
                <a:lnTo>
                  <a:pt x="3380" y="6082"/>
                </a:lnTo>
                <a:lnTo>
                  <a:pt x="3353" y="6088"/>
                </a:lnTo>
                <a:lnTo>
                  <a:pt x="3326" y="6093"/>
                </a:lnTo>
                <a:lnTo>
                  <a:pt x="3297" y="6097"/>
                </a:lnTo>
                <a:lnTo>
                  <a:pt x="3267" y="6101"/>
                </a:lnTo>
                <a:lnTo>
                  <a:pt x="3234" y="6104"/>
                </a:lnTo>
                <a:lnTo>
                  <a:pt x="3200" y="6106"/>
                </a:lnTo>
                <a:lnTo>
                  <a:pt x="3165" y="6108"/>
                </a:lnTo>
                <a:lnTo>
                  <a:pt x="3127" y="6109"/>
                </a:lnTo>
                <a:lnTo>
                  <a:pt x="3088" y="6109"/>
                </a:lnTo>
                <a:lnTo>
                  <a:pt x="2526" y="6109"/>
                </a:lnTo>
                <a:lnTo>
                  <a:pt x="2478" y="6109"/>
                </a:lnTo>
                <a:lnTo>
                  <a:pt x="2432" y="6109"/>
                </a:lnTo>
                <a:lnTo>
                  <a:pt x="2384" y="6107"/>
                </a:lnTo>
                <a:lnTo>
                  <a:pt x="2338" y="6106"/>
                </a:lnTo>
                <a:lnTo>
                  <a:pt x="2292" y="6103"/>
                </a:lnTo>
                <a:lnTo>
                  <a:pt x="2246" y="6100"/>
                </a:lnTo>
                <a:lnTo>
                  <a:pt x="2201" y="6097"/>
                </a:lnTo>
                <a:lnTo>
                  <a:pt x="2156" y="6093"/>
                </a:lnTo>
                <a:lnTo>
                  <a:pt x="2112" y="6088"/>
                </a:lnTo>
                <a:lnTo>
                  <a:pt x="2069" y="6082"/>
                </a:lnTo>
                <a:lnTo>
                  <a:pt x="2028" y="6075"/>
                </a:lnTo>
                <a:lnTo>
                  <a:pt x="1986" y="6067"/>
                </a:lnTo>
                <a:lnTo>
                  <a:pt x="1946" y="6059"/>
                </a:lnTo>
                <a:lnTo>
                  <a:pt x="1908" y="6050"/>
                </a:lnTo>
                <a:lnTo>
                  <a:pt x="1869" y="6039"/>
                </a:lnTo>
                <a:lnTo>
                  <a:pt x="1834" y="6028"/>
                </a:lnTo>
                <a:lnTo>
                  <a:pt x="1799" y="6016"/>
                </a:lnTo>
                <a:lnTo>
                  <a:pt x="1766" y="6003"/>
                </a:lnTo>
                <a:lnTo>
                  <a:pt x="1734" y="5989"/>
                </a:lnTo>
                <a:lnTo>
                  <a:pt x="1705" y="5973"/>
                </a:lnTo>
                <a:lnTo>
                  <a:pt x="1677" y="5956"/>
                </a:lnTo>
                <a:lnTo>
                  <a:pt x="1651" y="5938"/>
                </a:lnTo>
                <a:lnTo>
                  <a:pt x="1627" y="5919"/>
                </a:lnTo>
                <a:lnTo>
                  <a:pt x="1606" y="5899"/>
                </a:lnTo>
                <a:lnTo>
                  <a:pt x="1586" y="5877"/>
                </a:lnTo>
                <a:lnTo>
                  <a:pt x="1569" y="5854"/>
                </a:lnTo>
                <a:lnTo>
                  <a:pt x="1554" y="5829"/>
                </a:lnTo>
                <a:lnTo>
                  <a:pt x="1542" y="5803"/>
                </a:lnTo>
                <a:lnTo>
                  <a:pt x="1532" y="5776"/>
                </a:lnTo>
                <a:lnTo>
                  <a:pt x="1525" y="5747"/>
                </a:lnTo>
                <a:lnTo>
                  <a:pt x="1520" y="5716"/>
                </a:lnTo>
                <a:lnTo>
                  <a:pt x="1519" y="5684"/>
                </a:lnTo>
                <a:lnTo>
                  <a:pt x="1519" y="5259"/>
                </a:lnTo>
                <a:lnTo>
                  <a:pt x="1519" y="5222"/>
                </a:lnTo>
                <a:lnTo>
                  <a:pt x="1521" y="5186"/>
                </a:lnTo>
                <a:lnTo>
                  <a:pt x="1524" y="5154"/>
                </a:lnTo>
                <a:lnTo>
                  <a:pt x="1529" y="5122"/>
                </a:lnTo>
                <a:lnTo>
                  <a:pt x="1534" y="5094"/>
                </a:lnTo>
                <a:lnTo>
                  <a:pt x="1541" y="5067"/>
                </a:lnTo>
                <a:lnTo>
                  <a:pt x="1549" y="5043"/>
                </a:lnTo>
                <a:lnTo>
                  <a:pt x="1557" y="5019"/>
                </a:lnTo>
                <a:lnTo>
                  <a:pt x="1567" y="4998"/>
                </a:lnTo>
                <a:lnTo>
                  <a:pt x="1577" y="4979"/>
                </a:lnTo>
                <a:lnTo>
                  <a:pt x="1588" y="4961"/>
                </a:lnTo>
                <a:lnTo>
                  <a:pt x="1600" y="4944"/>
                </a:lnTo>
                <a:lnTo>
                  <a:pt x="1613" y="4929"/>
                </a:lnTo>
                <a:lnTo>
                  <a:pt x="1627" y="4915"/>
                </a:lnTo>
                <a:lnTo>
                  <a:pt x="1642" y="4903"/>
                </a:lnTo>
                <a:lnTo>
                  <a:pt x="1658" y="4893"/>
                </a:lnTo>
                <a:lnTo>
                  <a:pt x="1674" y="4883"/>
                </a:lnTo>
                <a:lnTo>
                  <a:pt x="1690" y="4875"/>
                </a:lnTo>
                <a:lnTo>
                  <a:pt x="1707" y="4867"/>
                </a:lnTo>
                <a:lnTo>
                  <a:pt x="1725" y="4860"/>
                </a:lnTo>
                <a:lnTo>
                  <a:pt x="1743" y="4854"/>
                </a:lnTo>
                <a:lnTo>
                  <a:pt x="1762" y="4849"/>
                </a:lnTo>
                <a:lnTo>
                  <a:pt x="1782" y="4845"/>
                </a:lnTo>
                <a:lnTo>
                  <a:pt x="1802" y="4842"/>
                </a:lnTo>
                <a:lnTo>
                  <a:pt x="1822" y="4840"/>
                </a:lnTo>
                <a:lnTo>
                  <a:pt x="1842" y="4838"/>
                </a:lnTo>
                <a:lnTo>
                  <a:pt x="1863" y="4836"/>
                </a:lnTo>
                <a:lnTo>
                  <a:pt x="1884" y="4835"/>
                </a:lnTo>
                <a:lnTo>
                  <a:pt x="1927" y="4834"/>
                </a:lnTo>
                <a:lnTo>
                  <a:pt x="1971" y="4834"/>
                </a:lnTo>
                <a:close/>
                <a:moveTo>
                  <a:pt x="8090" y="13637"/>
                </a:moveTo>
                <a:lnTo>
                  <a:pt x="8052" y="13637"/>
                </a:lnTo>
                <a:lnTo>
                  <a:pt x="8014" y="13636"/>
                </a:lnTo>
                <a:lnTo>
                  <a:pt x="7979" y="13634"/>
                </a:lnTo>
                <a:lnTo>
                  <a:pt x="7945" y="13632"/>
                </a:lnTo>
                <a:lnTo>
                  <a:pt x="7912" y="13629"/>
                </a:lnTo>
                <a:lnTo>
                  <a:pt x="7882" y="13625"/>
                </a:lnTo>
                <a:lnTo>
                  <a:pt x="7853" y="13621"/>
                </a:lnTo>
                <a:lnTo>
                  <a:pt x="7826" y="13615"/>
                </a:lnTo>
                <a:lnTo>
                  <a:pt x="7800" y="13610"/>
                </a:lnTo>
                <a:lnTo>
                  <a:pt x="7774" y="13603"/>
                </a:lnTo>
                <a:lnTo>
                  <a:pt x="7752" y="13596"/>
                </a:lnTo>
                <a:lnTo>
                  <a:pt x="7730" y="13588"/>
                </a:lnTo>
                <a:lnTo>
                  <a:pt x="7710" y="13580"/>
                </a:lnTo>
                <a:lnTo>
                  <a:pt x="7691" y="13571"/>
                </a:lnTo>
                <a:lnTo>
                  <a:pt x="7672" y="13560"/>
                </a:lnTo>
                <a:lnTo>
                  <a:pt x="7656" y="13549"/>
                </a:lnTo>
                <a:lnTo>
                  <a:pt x="7641" y="13538"/>
                </a:lnTo>
                <a:lnTo>
                  <a:pt x="7627" y="13526"/>
                </a:lnTo>
                <a:lnTo>
                  <a:pt x="7614" y="13513"/>
                </a:lnTo>
                <a:lnTo>
                  <a:pt x="7603" y="13500"/>
                </a:lnTo>
                <a:lnTo>
                  <a:pt x="7592" y="13485"/>
                </a:lnTo>
                <a:lnTo>
                  <a:pt x="7583" y="13470"/>
                </a:lnTo>
                <a:lnTo>
                  <a:pt x="7575" y="13454"/>
                </a:lnTo>
                <a:lnTo>
                  <a:pt x="7567" y="13438"/>
                </a:lnTo>
                <a:lnTo>
                  <a:pt x="7561" y="13420"/>
                </a:lnTo>
                <a:lnTo>
                  <a:pt x="7556" y="13402"/>
                </a:lnTo>
                <a:lnTo>
                  <a:pt x="7551" y="13383"/>
                </a:lnTo>
                <a:lnTo>
                  <a:pt x="7546" y="13363"/>
                </a:lnTo>
                <a:lnTo>
                  <a:pt x="7544" y="13343"/>
                </a:lnTo>
                <a:lnTo>
                  <a:pt x="7542" y="13323"/>
                </a:lnTo>
                <a:lnTo>
                  <a:pt x="7541" y="13300"/>
                </a:lnTo>
                <a:lnTo>
                  <a:pt x="7540" y="13277"/>
                </a:lnTo>
                <a:lnTo>
                  <a:pt x="7541" y="13253"/>
                </a:lnTo>
                <a:lnTo>
                  <a:pt x="7544" y="13230"/>
                </a:lnTo>
                <a:lnTo>
                  <a:pt x="7549" y="13206"/>
                </a:lnTo>
                <a:lnTo>
                  <a:pt x="7557" y="13184"/>
                </a:lnTo>
                <a:lnTo>
                  <a:pt x="7566" y="13162"/>
                </a:lnTo>
                <a:lnTo>
                  <a:pt x="7577" y="13141"/>
                </a:lnTo>
                <a:lnTo>
                  <a:pt x="7589" y="13120"/>
                </a:lnTo>
                <a:lnTo>
                  <a:pt x="7603" y="13100"/>
                </a:lnTo>
                <a:lnTo>
                  <a:pt x="7618" y="13081"/>
                </a:lnTo>
                <a:lnTo>
                  <a:pt x="7635" y="13062"/>
                </a:lnTo>
                <a:lnTo>
                  <a:pt x="7653" y="13043"/>
                </a:lnTo>
                <a:lnTo>
                  <a:pt x="7672" y="13026"/>
                </a:lnTo>
                <a:lnTo>
                  <a:pt x="7694" y="13008"/>
                </a:lnTo>
                <a:lnTo>
                  <a:pt x="7716" y="12991"/>
                </a:lnTo>
                <a:lnTo>
                  <a:pt x="7739" y="12975"/>
                </a:lnTo>
                <a:lnTo>
                  <a:pt x="7763" y="12958"/>
                </a:lnTo>
                <a:lnTo>
                  <a:pt x="7788" y="12942"/>
                </a:lnTo>
                <a:lnTo>
                  <a:pt x="7814" y="12926"/>
                </a:lnTo>
                <a:lnTo>
                  <a:pt x="7841" y="12911"/>
                </a:lnTo>
                <a:lnTo>
                  <a:pt x="7868" y="12896"/>
                </a:lnTo>
                <a:lnTo>
                  <a:pt x="7926" y="12865"/>
                </a:lnTo>
                <a:lnTo>
                  <a:pt x="7984" y="12836"/>
                </a:lnTo>
                <a:lnTo>
                  <a:pt x="8106" y="12777"/>
                </a:lnTo>
                <a:lnTo>
                  <a:pt x="8229" y="12719"/>
                </a:lnTo>
                <a:lnTo>
                  <a:pt x="8286" y="12691"/>
                </a:lnTo>
                <a:lnTo>
                  <a:pt x="8348" y="12662"/>
                </a:lnTo>
                <a:lnTo>
                  <a:pt x="8411" y="12632"/>
                </a:lnTo>
                <a:lnTo>
                  <a:pt x="8476" y="12601"/>
                </a:lnTo>
                <a:lnTo>
                  <a:pt x="8543" y="12571"/>
                </a:lnTo>
                <a:lnTo>
                  <a:pt x="8610" y="12542"/>
                </a:lnTo>
                <a:lnTo>
                  <a:pt x="8678" y="12512"/>
                </a:lnTo>
                <a:lnTo>
                  <a:pt x="8745" y="12485"/>
                </a:lnTo>
                <a:lnTo>
                  <a:pt x="8812" y="12460"/>
                </a:lnTo>
                <a:lnTo>
                  <a:pt x="8877" y="12435"/>
                </a:lnTo>
                <a:lnTo>
                  <a:pt x="8909" y="12424"/>
                </a:lnTo>
                <a:lnTo>
                  <a:pt x="8941" y="12414"/>
                </a:lnTo>
                <a:lnTo>
                  <a:pt x="8971" y="12405"/>
                </a:lnTo>
                <a:lnTo>
                  <a:pt x="9001" y="12396"/>
                </a:lnTo>
                <a:lnTo>
                  <a:pt x="9031" y="12388"/>
                </a:lnTo>
                <a:lnTo>
                  <a:pt x="9059" y="12381"/>
                </a:lnTo>
                <a:lnTo>
                  <a:pt x="9087" y="12375"/>
                </a:lnTo>
                <a:lnTo>
                  <a:pt x="9113" y="12370"/>
                </a:lnTo>
                <a:lnTo>
                  <a:pt x="9138" y="12366"/>
                </a:lnTo>
                <a:lnTo>
                  <a:pt x="9164" y="12364"/>
                </a:lnTo>
                <a:lnTo>
                  <a:pt x="9187" y="12362"/>
                </a:lnTo>
                <a:lnTo>
                  <a:pt x="9209" y="12361"/>
                </a:lnTo>
                <a:lnTo>
                  <a:pt x="9252" y="12361"/>
                </a:lnTo>
                <a:lnTo>
                  <a:pt x="9296" y="12363"/>
                </a:lnTo>
                <a:lnTo>
                  <a:pt x="9317" y="12364"/>
                </a:lnTo>
                <a:lnTo>
                  <a:pt x="9337" y="12365"/>
                </a:lnTo>
                <a:lnTo>
                  <a:pt x="9358" y="12367"/>
                </a:lnTo>
                <a:lnTo>
                  <a:pt x="9378" y="12370"/>
                </a:lnTo>
                <a:lnTo>
                  <a:pt x="9398" y="12373"/>
                </a:lnTo>
                <a:lnTo>
                  <a:pt x="9418" y="12377"/>
                </a:lnTo>
                <a:lnTo>
                  <a:pt x="9436" y="12382"/>
                </a:lnTo>
                <a:lnTo>
                  <a:pt x="9454" y="12387"/>
                </a:lnTo>
                <a:lnTo>
                  <a:pt x="9472" y="12394"/>
                </a:lnTo>
                <a:lnTo>
                  <a:pt x="9489" y="12401"/>
                </a:lnTo>
                <a:lnTo>
                  <a:pt x="9506" y="12410"/>
                </a:lnTo>
                <a:lnTo>
                  <a:pt x="9523" y="12419"/>
                </a:lnTo>
                <a:lnTo>
                  <a:pt x="9538" y="12430"/>
                </a:lnTo>
                <a:lnTo>
                  <a:pt x="9552" y="12443"/>
                </a:lnTo>
                <a:lnTo>
                  <a:pt x="9566" y="12456"/>
                </a:lnTo>
                <a:lnTo>
                  <a:pt x="9579" y="12471"/>
                </a:lnTo>
                <a:lnTo>
                  <a:pt x="9591" y="12487"/>
                </a:lnTo>
                <a:lnTo>
                  <a:pt x="9602" y="12505"/>
                </a:lnTo>
                <a:lnTo>
                  <a:pt x="9612" y="12525"/>
                </a:lnTo>
                <a:lnTo>
                  <a:pt x="9622" y="12547"/>
                </a:lnTo>
                <a:lnTo>
                  <a:pt x="9630" y="12569"/>
                </a:lnTo>
                <a:lnTo>
                  <a:pt x="9639" y="12594"/>
                </a:lnTo>
                <a:lnTo>
                  <a:pt x="9645" y="12621"/>
                </a:lnTo>
                <a:lnTo>
                  <a:pt x="9650" y="12650"/>
                </a:lnTo>
                <a:lnTo>
                  <a:pt x="9654" y="12680"/>
                </a:lnTo>
                <a:lnTo>
                  <a:pt x="9657" y="12714"/>
                </a:lnTo>
                <a:lnTo>
                  <a:pt x="9659" y="12748"/>
                </a:lnTo>
                <a:lnTo>
                  <a:pt x="9660" y="12785"/>
                </a:lnTo>
                <a:lnTo>
                  <a:pt x="9660" y="13211"/>
                </a:lnTo>
                <a:lnTo>
                  <a:pt x="9658" y="13244"/>
                </a:lnTo>
                <a:lnTo>
                  <a:pt x="9654" y="13274"/>
                </a:lnTo>
                <a:lnTo>
                  <a:pt x="9647" y="13302"/>
                </a:lnTo>
                <a:lnTo>
                  <a:pt x="9636" y="13331"/>
                </a:lnTo>
                <a:lnTo>
                  <a:pt x="9624" y="13356"/>
                </a:lnTo>
                <a:lnTo>
                  <a:pt x="9610" y="13381"/>
                </a:lnTo>
                <a:lnTo>
                  <a:pt x="9593" y="13404"/>
                </a:lnTo>
                <a:lnTo>
                  <a:pt x="9573" y="13426"/>
                </a:lnTo>
                <a:lnTo>
                  <a:pt x="9552" y="13446"/>
                </a:lnTo>
                <a:lnTo>
                  <a:pt x="9528" y="13465"/>
                </a:lnTo>
                <a:lnTo>
                  <a:pt x="9501" y="13484"/>
                </a:lnTo>
                <a:lnTo>
                  <a:pt x="9474" y="13501"/>
                </a:lnTo>
                <a:lnTo>
                  <a:pt x="9444" y="13516"/>
                </a:lnTo>
                <a:lnTo>
                  <a:pt x="9413" y="13530"/>
                </a:lnTo>
                <a:lnTo>
                  <a:pt x="9379" y="13543"/>
                </a:lnTo>
                <a:lnTo>
                  <a:pt x="9345" y="13556"/>
                </a:lnTo>
                <a:lnTo>
                  <a:pt x="9309" y="13568"/>
                </a:lnTo>
                <a:lnTo>
                  <a:pt x="9272" y="13578"/>
                </a:lnTo>
                <a:lnTo>
                  <a:pt x="9233" y="13587"/>
                </a:lnTo>
                <a:lnTo>
                  <a:pt x="9193" y="13595"/>
                </a:lnTo>
                <a:lnTo>
                  <a:pt x="9152" y="13603"/>
                </a:lnTo>
                <a:lnTo>
                  <a:pt x="9110" y="13609"/>
                </a:lnTo>
                <a:lnTo>
                  <a:pt x="9067" y="13615"/>
                </a:lnTo>
                <a:lnTo>
                  <a:pt x="9022" y="13620"/>
                </a:lnTo>
                <a:lnTo>
                  <a:pt x="8978" y="13624"/>
                </a:lnTo>
                <a:lnTo>
                  <a:pt x="8933" y="13628"/>
                </a:lnTo>
                <a:lnTo>
                  <a:pt x="8887" y="13631"/>
                </a:lnTo>
                <a:lnTo>
                  <a:pt x="8841" y="13633"/>
                </a:lnTo>
                <a:lnTo>
                  <a:pt x="8795" y="13635"/>
                </a:lnTo>
                <a:lnTo>
                  <a:pt x="8748" y="13636"/>
                </a:lnTo>
                <a:lnTo>
                  <a:pt x="8701" y="13637"/>
                </a:lnTo>
                <a:lnTo>
                  <a:pt x="8653" y="13637"/>
                </a:lnTo>
                <a:lnTo>
                  <a:pt x="8090" y="13637"/>
                </a:lnTo>
                <a:close/>
                <a:moveTo>
                  <a:pt x="5591" y="11084"/>
                </a:moveTo>
                <a:lnTo>
                  <a:pt x="5364" y="11083"/>
                </a:lnTo>
                <a:lnTo>
                  <a:pt x="5144" y="11080"/>
                </a:lnTo>
                <a:lnTo>
                  <a:pt x="4932" y="11075"/>
                </a:lnTo>
                <a:lnTo>
                  <a:pt x="4728" y="11067"/>
                </a:lnTo>
                <a:lnTo>
                  <a:pt x="4530" y="11057"/>
                </a:lnTo>
                <a:lnTo>
                  <a:pt x="4340" y="11047"/>
                </a:lnTo>
                <a:lnTo>
                  <a:pt x="4157" y="11035"/>
                </a:lnTo>
                <a:lnTo>
                  <a:pt x="3981" y="11022"/>
                </a:lnTo>
                <a:lnTo>
                  <a:pt x="3813" y="11008"/>
                </a:lnTo>
                <a:lnTo>
                  <a:pt x="3652" y="10992"/>
                </a:lnTo>
                <a:lnTo>
                  <a:pt x="3497" y="10975"/>
                </a:lnTo>
                <a:lnTo>
                  <a:pt x="3350" y="10958"/>
                </a:lnTo>
                <a:lnTo>
                  <a:pt x="3211" y="10941"/>
                </a:lnTo>
                <a:lnTo>
                  <a:pt x="3078" y="10923"/>
                </a:lnTo>
                <a:lnTo>
                  <a:pt x="2953" y="10905"/>
                </a:lnTo>
                <a:lnTo>
                  <a:pt x="2835" y="10886"/>
                </a:lnTo>
                <a:lnTo>
                  <a:pt x="2724" y="10867"/>
                </a:lnTo>
                <a:lnTo>
                  <a:pt x="2620" y="10849"/>
                </a:lnTo>
                <a:lnTo>
                  <a:pt x="2525" y="10831"/>
                </a:lnTo>
                <a:lnTo>
                  <a:pt x="2435" y="10814"/>
                </a:lnTo>
                <a:lnTo>
                  <a:pt x="2353" y="10796"/>
                </a:lnTo>
                <a:lnTo>
                  <a:pt x="2278" y="10780"/>
                </a:lnTo>
                <a:lnTo>
                  <a:pt x="2210" y="10764"/>
                </a:lnTo>
                <a:lnTo>
                  <a:pt x="2150" y="10750"/>
                </a:lnTo>
                <a:lnTo>
                  <a:pt x="2050" y="10725"/>
                </a:lnTo>
                <a:lnTo>
                  <a:pt x="1978" y="10705"/>
                </a:lnTo>
                <a:lnTo>
                  <a:pt x="1936" y="10692"/>
                </a:lnTo>
                <a:lnTo>
                  <a:pt x="1922" y="10688"/>
                </a:lnTo>
                <a:lnTo>
                  <a:pt x="1948" y="10587"/>
                </a:lnTo>
                <a:lnTo>
                  <a:pt x="1975" y="10490"/>
                </a:lnTo>
                <a:lnTo>
                  <a:pt x="2002" y="10396"/>
                </a:lnTo>
                <a:lnTo>
                  <a:pt x="2030" y="10304"/>
                </a:lnTo>
                <a:lnTo>
                  <a:pt x="2057" y="10216"/>
                </a:lnTo>
                <a:lnTo>
                  <a:pt x="2085" y="10131"/>
                </a:lnTo>
                <a:lnTo>
                  <a:pt x="2112" y="10048"/>
                </a:lnTo>
                <a:lnTo>
                  <a:pt x="2140" y="9969"/>
                </a:lnTo>
                <a:lnTo>
                  <a:pt x="2168" y="9892"/>
                </a:lnTo>
                <a:lnTo>
                  <a:pt x="2196" y="9818"/>
                </a:lnTo>
                <a:lnTo>
                  <a:pt x="2223" y="9747"/>
                </a:lnTo>
                <a:lnTo>
                  <a:pt x="2250" y="9678"/>
                </a:lnTo>
                <a:lnTo>
                  <a:pt x="2277" y="9613"/>
                </a:lnTo>
                <a:lnTo>
                  <a:pt x="2303" y="9550"/>
                </a:lnTo>
                <a:lnTo>
                  <a:pt x="2329" y="9489"/>
                </a:lnTo>
                <a:lnTo>
                  <a:pt x="2354" y="9432"/>
                </a:lnTo>
                <a:lnTo>
                  <a:pt x="2404" y="9322"/>
                </a:lnTo>
                <a:lnTo>
                  <a:pt x="2450" y="9223"/>
                </a:lnTo>
                <a:lnTo>
                  <a:pt x="2493" y="9132"/>
                </a:lnTo>
                <a:lnTo>
                  <a:pt x="2533" y="9051"/>
                </a:lnTo>
                <a:lnTo>
                  <a:pt x="2568" y="8977"/>
                </a:lnTo>
                <a:lnTo>
                  <a:pt x="2598" y="8911"/>
                </a:lnTo>
                <a:lnTo>
                  <a:pt x="2611" y="8882"/>
                </a:lnTo>
                <a:lnTo>
                  <a:pt x="2623" y="8854"/>
                </a:lnTo>
                <a:lnTo>
                  <a:pt x="2633" y="8828"/>
                </a:lnTo>
                <a:lnTo>
                  <a:pt x="2643" y="8802"/>
                </a:lnTo>
                <a:lnTo>
                  <a:pt x="2646" y="8796"/>
                </a:lnTo>
                <a:lnTo>
                  <a:pt x="2654" y="8780"/>
                </a:lnTo>
                <a:lnTo>
                  <a:pt x="2662" y="8769"/>
                </a:lnTo>
                <a:lnTo>
                  <a:pt x="2672" y="8756"/>
                </a:lnTo>
                <a:lnTo>
                  <a:pt x="2685" y="8741"/>
                </a:lnTo>
                <a:lnTo>
                  <a:pt x="2703" y="8724"/>
                </a:lnTo>
                <a:lnTo>
                  <a:pt x="2724" y="8707"/>
                </a:lnTo>
                <a:lnTo>
                  <a:pt x="2751" y="8688"/>
                </a:lnTo>
                <a:lnTo>
                  <a:pt x="2784" y="8668"/>
                </a:lnTo>
                <a:lnTo>
                  <a:pt x="2821" y="8646"/>
                </a:lnTo>
                <a:lnTo>
                  <a:pt x="2865" y="8625"/>
                </a:lnTo>
                <a:lnTo>
                  <a:pt x="2917" y="8603"/>
                </a:lnTo>
                <a:lnTo>
                  <a:pt x="2975" y="8581"/>
                </a:lnTo>
                <a:lnTo>
                  <a:pt x="3042" y="8558"/>
                </a:lnTo>
                <a:lnTo>
                  <a:pt x="3117" y="8536"/>
                </a:lnTo>
                <a:lnTo>
                  <a:pt x="3201" y="8514"/>
                </a:lnTo>
                <a:lnTo>
                  <a:pt x="3294" y="8492"/>
                </a:lnTo>
                <a:lnTo>
                  <a:pt x="3398" y="8470"/>
                </a:lnTo>
                <a:lnTo>
                  <a:pt x="3511" y="8449"/>
                </a:lnTo>
                <a:lnTo>
                  <a:pt x="3636" y="8429"/>
                </a:lnTo>
                <a:lnTo>
                  <a:pt x="3771" y="8411"/>
                </a:lnTo>
                <a:lnTo>
                  <a:pt x="3919" y="8393"/>
                </a:lnTo>
                <a:lnTo>
                  <a:pt x="4079" y="8377"/>
                </a:lnTo>
                <a:lnTo>
                  <a:pt x="4253" y="8362"/>
                </a:lnTo>
                <a:lnTo>
                  <a:pt x="4439" y="8350"/>
                </a:lnTo>
                <a:lnTo>
                  <a:pt x="4639" y="8339"/>
                </a:lnTo>
                <a:lnTo>
                  <a:pt x="4854" y="8330"/>
                </a:lnTo>
                <a:lnTo>
                  <a:pt x="5083" y="8324"/>
                </a:lnTo>
                <a:lnTo>
                  <a:pt x="5329" y="8320"/>
                </a:lnTo>
                <a:lnTo>
                  <a:pt x="5591" y="8319"/>
                </a:lnTo>
                <a:lnTo>
                  <a:pt x="5851" y="8320"/>
                </a:lnTo>
                <a:lnTo>
                  <a:pt x="6097" y="8323"/>
                </a:lnTo>
                <a:lnTo>
                  <a:pt x="6326" y="8329"/>
                </a:lnTo>
                <a:lnTo>
                  <a:pt x="6540" y="8337"/>
                </a:lnTo>
                <a:lnTo>
                  <a:pt x="6741" y="8346"/>
                </a:lnTo>
                <a:lnTo>
                  <a:pt x="6926" y="8358"/>
                </a:lnTo>
                <a:lnTo>
                  <a:pt x="7100" y="8371"/>
                </a:lnTo>
                <a:lnTo>
                  <a:pt x="7260" y="8385"/>
                </a:lnTo>
                <a:lnTo>
                  <a:pt x="7407" y="8402"/>
                </a:lnTo>
                <a:lnTo>
                  <a:pt x="7543" y="8420"/>
                </a:lnTo>
                <a:lnTo>
                  <a:pt x="7667" y="8438"/>
                </a:lnTo>
                <a:lnTo>
                  <a:pt x="7781" y="8458"/>
                </a:lnTo>
                <a:lnTo>
                  <a:pt x="7884" y="8478"/>
                </a:lnTo>
                <a:lnTo>
                  <a:pt x="7978" y="8500"/>
                </a:lnTo>
                <a:lnTo>
                  <a:pt x="8063" y="8522"/>
                </a:lnTo>
                <a:lnTo>
                  <a:pt x="8137" y="8544"/>
                </a:lnTo>
                <a:lnTo>
                  <a:pt x="8205" y="8567"/>
                </a:lnTo>
                <a:lnTo>
                  <a:pt x="8264" y="8591"/>
                </a:lnTo>
                <a:lnTo>
                  <a:pt x="8317" y="8614"/>
                </a:lnTo>
                <a:lnTo>
                  <a:pt x="8362" y="8637"/>
                </a:lnTo>
                <a:lnTo>
                  <a:pt x="8401" y="8661"/>
                </a:lnTo>
                <a:lnTo>
                  <a:pt x="8436" y="8684"/>
                </a:lnTo>
                <a:lnTo>
                  <a:pt x="8464" y="8707"/>
                </a:lnTo>
                <a:lnTo>
                  <a:pt x="8488" y="8728"/>
                </a:lnTo>
                <a:lnTo>
                  <a:pt x="8507" y="8751"/>
                </a:lnTo>
                <a:lnTo>
                  <a:pt x="8523" y="8771"/>
                </a:lnTo>
                <a:lnTo>
                  <a:pt x="8537" y="8791"/>
                </a:lnTo>
                <a:lnTo>
                  <a:pt x="8548" y="8810"/>
                </a:lnTo>
                <a:lnTo>
                  <a:pt x="8563" y="8845"/>
                </a:lnTo>
                <a:lnTo>
                  <a:pt x="8575" y="8873"/>
                </a:lnTo>
                <a:lnTo>
                  <a:pt x="8582" y="8891"/>
                </a:lnTo>
                <a:lnTo>
                  <a:pt x="8591" y="8911"/>
                </a:lnTo>
                <a:lnTo>
                  <a:pt x="8601" y="8933"/>
                </a:lnTo>
                <a:lnTo>
                  <a:pt x="8612" y="8956"/>
                </a:lnTo>
                <a:lnTo>
                  <a:pt x="8639" y="9009"/>
                </a:lnTo>
                <a:lnTo>
                  <a:pt x="8671" y="9068"/>
                </a:lnTo>
                <a:lnTo>
                  <a:pt x="8706" y="9138"/>
                </a:lnTo>
                <a:lnTo>
                  <a:pt x="8746" y="9217"/>
                </a:lnTo>
                <a:lnTo>
                  <a:pt x="8790" y="9306"/>
                </a:lnTo>
                <a:lnTo>
                  <a:pt x="8835" y="9406"/>
                </a:lnTo>
                <a:lnTo>
                  <a:pt x="8859" y="9461"/>
                </a:lnTo>
                <a:lnTo>
                  <a:pt x="8884" y="9519"/>
                </a:lnTo>
                <a:lnTo>
                  <a:pt x="8910" y="9578"/>
                </a:lnTo>
                <a:lnTo>
                  <a:pt x="8936" y="9642"/>
                </a:lnTo>
                <a:lnTo>
                  <a:pt x="8962" y="9710"/>
                </a:lnTo>
                <a:lnTo>
                  <a:pt x="8988" y="9780"/>
                </a:lnTo>
                <a:lnTo>
                  <a:pt x="9015" y="9853"/>
                </a:lnTo>
                <a:lnTo>
                  <a:pt x="9043" y="9931"/>
                </a:lnTo>
                <a:lnTo>
                  <a:pt x="9070" y="10012"/>
                </a:lnTo>
                <a:lnTo>
                  <a:pt x="9098" y="10097"/>
                </a:lnTo>
                <a:lnTo>
                  <a:pt x="9126" y="10185"/>
                </a:lnTo>
                <a:lnTo>
                  <a:pt x="9155" y="10277"/>
                </a:lnTo>
                <a:lnTo>
                  <a:pt x="9183" y="10374"/>
                </a:lnTo>
                <a:lnTo>
                  <a:pt x="9210" y="10475"/>
                </a:lnTo>
                <a:lnTo>
                  <a:pt x="9238" y="10579"/>
                </a:lnTo>
                <a:lnTo>
                  <a:pt x="9266" y="10688"/>
                </a:lnTo>
                <a:lnTo>
                  <a:pt x="9252" y="10692"/>
                </a:lnTo>
                <a:lnTo>
                  <a:pt x="9209" y="10705"/>
                </a:lnTo>
                <a:lnTo>
                  <a:pt x="9137" y="10725"/>
                </a:lnTo>
                <a:lnTo>
                  <a:pt x="9038" y="10750"/>
                </a:lnTo>
                <a:lnTo>
                  <a:pt x="8976" y="10764"/>
                </a:lnTo>
                <a:lnTo>
                  <a:pt x="8909" y="10780"/>
                </a:lnTo>
                <a:lnTo>
                  <a:pt x="8833" y="10796"/>
                </a:lnTo>
                <a:lnTo>
                  <a:pt x="8750" y="10814"/>
                </a:lnTo>
                <a:lnTo>
                  <a:pt x="8661" y="10831"/>
                </a:lnTo>
                <a:lnTo>
                  <a:pt x="8564" y="10849"/>
                </a:lnTo>
                <a:lnTo>
                  <a:pt x="8460" y="10867"/>
                </a:lnTo>
                <a:lnTo>
                  <a:pt x="8349" y="10886"/>
                </a:lnTo>
                <a:lnTo>
                  <a:pt x="8230" y="10905"/>
                </a:lnTo>
                <a:lnTo>
                  <a:pt x="8105" y="10923"/>
                </a:lnTo>
                <a:lnTo>
                  <a:pt x="7972" y="10941"/>
                </a:lnTo>
                <a:lnTo>
                  <a:pt x="7832" y="10958"/>
                </a:lnTo>
                <a:lnTo>
                  <a:pt x="7685" y="10975"/>
                </a:lnTo>
                <a:lnTo>
                  <a:pt x="7530" y="10992"/>
                </a:lnTo>
                <a:lnTo>
                  <a:pt x="7369" y="11008"/>
                </a:lnTo>
                <a:lnTo>
                  <a:pt x="7200" y="11022"/>
                </a:lnTo>
                <a:lnTo>
                  <a:pt x="7024" y="11035"/>
                </a:lnTo>
                <a:lnTo>
                  <a:pt x="6841" y="11047"/>
                </a:lnTo>
                <a:lnTo>
                  <a:pt x="6650" y="11057"/>
                </a:lnTo>
                <a:lnTo>
                  <a:pt x="6453" y="11067"/>
                </a:lnTo>
                <a:lnTo>
                  <a:pt x="6248" y="11075"/>
                </a:lnTo>
                <a:lnTo>
                  <a:pt x="6036" y="11080"/>
                </a:lnTo>
                <a:lnTo>
                  <a:pt x="5816" y="11083"/>
                </a:lnTo>
                <a:lnTo>
                  <a:pt x="5591" y="11084"/>
                </a:lnTo>
                <a:close/>
                <a:moveTo>
                  <a:pt x="1971" y="12362"/>
                </a:moveTo>
                <a:lnTo>
                  <a:pt x="1992" y="12362"/>
                </a:lnTo>
                <a:lnTo>
                  <a:pt x="2016" y="12364"/>
                </a:lnTo>
                <a:lnTo>
                  <a:pt x="2041" y="12367"/>
                </a:lnTo>
                <a:lnTo>
                  <a:pt x="2066" y="12371"/>
                </a:lnTo>
                <a:lnTo>
                  <a:pt x="2093" y="12376"/>
                </a:lnTo>
                <a:lnTo>
                  <a:pt x="2120" y="12382"/>
                </a:lnTo>
                <a:lnTo>
                  <a:pt x="2149" y="12389"/>
                </a:lnTo>
                <a:lnTo>
                  <a:pt x="2178" y="12397"/>
                </a:lnTo>
                <a:lnTo>
                  <a:pt x="2208" y="12405"/>
                </a:lnTo>
                <a:lnTo>
                  <a:pt x="2239" y="12415"/>
                </a:lnTo>
                <a:lnTo>
                  <a:pt x="2270" y="12425"/>
                </a:lnTo>
                <a:lnTo>
                  <a:pt x="2302" y="12436"/>
                </a:lnTo>
                <a:lnTo>
                  <a:pt x="2367" y="12460"/>
                </a:lnTo>
                <a:lnTo>
                  <a:pt x="2434" y="12485"/>
                </a:lnTo>
                <a:lnTo>
                  <a:pt x="2501" y="12513"/>
                </a:lnTo>
                <a:lnTo>
                  <a:pt x="2569" y="12542"/>
                </a:lnTo>
                <a:lnTo>
                  <a:pt x="2636" y="12571"/>
                </a:lnTo>
                <a:lnTo>
                  <a:pt x="2703" y="12601"/>
                </a:lnTo>
                <a:lnTo>
                  <a:pt x="2768" y="12632"/>
                </a:lnTo>
                <a:lnTo>
                  <a:pt x="2831" y="12662"/>
                </a:lnTo>
                <a:lnTo>
                  <a:pt x="2892" y="12691"/>
                </a:lnTo>
                <a:lnTo>
                  <a:pt x="2950" y="12719"/>
                </a:lnTo>
                <a:lnTo>
                  <a:pt x="3073" y="12778"/>
                </a:lnTo>
                <a:lnTo>
                  <a:pt x="3194" y="12836"/>
                </a:lnTo>
                <a:lnTo>
                  <a:pt x="3254" y="12866"/>
                </a:lnTo>
                <a:lnTo>
                  <a:pt x="3310" y="12896"/>
                </a:lnTo>
                <a:lnTo>
                  <a:pt x="3338" y="12911"/>
                </a:lnTo>
                <a:lnTo>
                  <a:pt x="3364" y="12927"/>
                </a:lnTo>
                <a:lnTo>
                  <a:pt x="3391" y="12942"/>
                </a:lnTo>
                <a:lnTo>
                  <a:pt x="3416" y="12958"/>
                </a:lnTo>
                <a:lnTo>
                  <a:pt x="3440" y="12975"/>
                </a:lnTo>
                <a:lnTo>
                  <a:pt x="3463" y="12992"/>
                </a:lnTo>
                <a:lnTo>
                  <a:pt x="3485" y="13009"/>
                </a:lnTo>
                <a:lnTo>
                  <a:pt x="3506" y="13026"/>
                </a:lnTo>
                <a:lnTo>
                  <a:pt x="3526" y="13044"/>
                </a:lnTo>
                <a:lnTo>
                  <a:pt x="3544" y="13063"/>
                </a:lnTo>
                <a:lnTo>
                  <a:pt x="3561" y="13082"/>
                </a:lnTo>
                <a:lnTo>
                  <a:pt x="3576" y="13101"/>
                </a:lnTo>
                <a:lnTo>
                  <a:pt x="3590" y="13120"/>
                </a:lnTo>
                <a:lnTo>
                  <a:pt x="3602" y="13142"/>
                </a:lnTo>
                <a:lnTo>
                  <a:pt x="3612" y="13162"/>
                </a:lnTo>
                <a:lnTo>
                  <a:pt x="3621" y="13184"/>
                </a:lnTo>
                <a:lnTo>
                  <a:pt x="3629" y="13206"/>
                </a:lnTo>
                <a:lnTo>
                  <a:pt x="3634" y="13230"/>
                </a:lnTo>
                <a:lnTo>
                  <a:pt x="3637" y="13253"/>
                </a:lnTo>
                <a:lnTo>
                  <a:pt x="3638" y="13277"/>
                </a:lnTo>
                <a:lnTo>
                  <a:pt x="3638" y="13300"/>
                </a:lnTo>
                <a:lnTo>
                  <a:pt x="3637" y="13323"/>
                </a:lnTo>
                <a:lnTo>
                  <a:pt x="3635" y="13343"/>
                </a:lnTo>
                <a:lnTo>
                  <a:pt x="3632" y="13363"/>
                </a:lnTo>
                <a:lnTo>
                  <a:pt x="3629" y="13383"/>
                </a:lnTo>
                <a:lnTo>
                  <a:pt x="3624" y="13402"/>
                </a:lnTo>
                <a:lnTo>
                  <a:pt x="3618" y="13420"/>
                </a:lnTo>
                <a:lnTo>
                  <a:pt x="3611" y="13437"/>
                </a:lnTo>
                <a:lnTo>
                  <a:pt x="3604" y="13454"/>
                </a:lnTo>
                <a:lnTo>
                  <a:pt x="3596" y="13469"/>
                </a:lnTo>
                <a:lnTo>
                  <a:pt x="3586" y="13485"/>
                </a:lnTo>
                <a:lnTo>
                  <a:pt x="3576" y="13499"/>
                </a:lnTo>
                <a:lnTo>
                  <a:pt x="3564" y="13513"/>
                </a:lnTo>
                <a:lnTo>
                  <a:pt x="3552" y="13526"/>
                </a:lnTo>
                <a:lnTo>
                  <a:pt x="3538" y="13538"/>
                </a:lnTo>
                <a:lnTo>
                  <a:pt x="3523" y="13549"/>
                </a:lnTo>
                <a:lnTo>
                  <a:pt x="3507" y="13559"/>
                </a:lnTo>
                <a:lnTo>
                  <a:pt x="3488" y="13570"/>
                </a:lnTo>
                <a:lnTo>
                  <a:pt x="3469" y="13579"/>
                </a:lnTo>
                <a:lnTo>
                  <a:pt x="3449" y="13588"/>
                </a:lnTo>
                <a:lnTo>
                  <a:pt x="3427" y="13596"/>
                </a:lnTo>
                <a:lnTo>
                  <a:pt x="3404" y="13603"/>
                </a:lnTo>
                <a:lnTo>
                  <a:pt x="3380" y="13609"/>
                </a:lnTo>
                <a:lnTo>
                  <a:pt x="3353" y="13615"/>
                </a:lnTo>
                <a:lnTo>
                  <a:pt x="3326" y="13620"/>
                </a:lnTo>
                <a:lnTo>
                  <a:pt x="3297" y="13624"/>
                </a:lnTo>
                <a:lnTo>
                  <a:pt x="3267" y="13628"/>
                </a:lnTo>
                <a:lnTo>
                  <a:pt x="3234" y="13631"/>
                </a:lnTo>
                <a:lnTo>
                  <a:pt x="3200" y="13633"/>
                </a:lnTo>
                <a:lnTo>
                  <a:pt x="3165" y="13635"/>
                </a:lnTo>
                <a:lnTo>
                  <a:pt x="3127" y="13636"/>
                </a:lnTo>
                <a:lnTo>
                  <a:pt x="3088" y="13636"/>
                </a:lnTo>
                <a:lnTo>
                  <a:pt x="2526" y="13636"/>
                </a:lnTo>
                <a:lnTo>
                  <a:pt x="2478" y="13636"/>
                </a:lnTo>
                <a:lnTo>
                  <a:pt x="2432" y="13635"/>
                </a:lnTo>
                <a:lnTo>
                  <a:pt x="2384" y="13634"/>
                </a:lnTo>
                <a:lnTo>
                  <a:pt x="2338" y="13632"/>
                </a:lnTo>
                <a:lnTo>
                  <a:pt x="2292" y="13630"/>
                </a:lnTo>
                <a:lnTo>
                  <a:pt x="2246" y="13627"/>
                </a:lnTo>
                <a:lnTo>
                  <a:pt x="2201" y="13623"/>
                </a:lnTo>
                <a:lnTo>
                  <a:pt x="2156" y="13619"/>
                </a:lnTo>
                <a:lnTo>
                  <a:pt x="2112" y="13614"/>
                </a:lnTo>
                <a:lnTo>
                  <a:pt x="2069" y="13608"/>
                </a:lnTo>
                <a:lnTo>
                  <a:pt x="2028" y="13602"/>
                </a:lnTo>
                <a:lnTo>
                  <a:pt x="1986" y="13594"/>
                </a:lnTo>
                <a:lnTo>
                  <a:pt x="1946" y="13586"/>
                </a:lnTo>
                <a:lnTo>
                  <a:pt x="1908" y="13577"/>
                </a:lnTo>
                <a:lnTo>
                  <a:pt x="1869" y="13567"/>
                </a:lnTo>
                <a:lnTo>
                  <a:pt x="1834" y="13555"/>
                </a:lnTo>
                <a:lnTo>
                  <a:pt x="1799" y="13543"/>
                </a:lnTo>
                <a:lnTo>
                  <a:pt x="1766" y="13530"/>
                </a:lnTo>
                <a:lnTo>
                  <a:pt x="1734" y="13516"/>
                </a:lnTo>
                <a:lnTo>
                  <a:pt x="1705" y="13500"/>
                </a:lnTo>
                <a:lnTo>
                  <a:pt x="1677" y="13484"/>
                </a:lnTo>
                <a:lnTo>
                  <a:pt x="1651" y="13465"/>
                </a:lnTo>
                <a:lnTo>
                  <a:pt x="1627" y="13446"/>
                </a:lnTo>
                <a:lnTo>
                  <a:pt x="1606" y="13426"/>
                </a:lnTo>
                <a:lnTo>
                  <a:pt x="1586" y="13404"/>
                </a:lnTo>
                <a:lnTo>
                  <a:pt x="1569" y="13380"/>
                </a:lnTo>
                <a:lnTo>
                  <a:pt x="1554" y="13356"/>
                </a:lnTo>
                <a:lnTo>
                  <a:pt x="1542" y="13330"/>
                </a:lnTo>
                <a:lnTo>
                  <a:pt x="1532" y="13302"/>
                </a:lnTo>
                <a:lnTo>
                  <a:pt x="1525" y="13274"/>
                </a:lnTo>
                <a:lnTo>
                  <a:pt x="1520" y="13244"/>
                </a:lnTo>
                <a:lnTo>
                  <a:pt x="1519" y="13211"/>
                </a:lnTo>
                <a:lnTo>
                  <a:pt x="1519" y="12786"/>
                </a:lnTo>
                <a:lnTo>
                  <a:pt x="1519" y="12749"/>
                </a:lnTo>
                <a:lnTo>
                  <a:pt x="1521" y="12714"/>
                </a:lnTo>
                <a:lnTo>
                  <a:pt x="1524" y="12681"/>
                </a:lnTo>
                <a:lnTo>
                  <a:pt x="1529" y="12651"/>
                </a:lnTo>
                <a:lnTo>
                  <a:pt x="1534" y="12622"/>
                </a:lnTo>
                <a:lnTo>
                  <a:pt x="1541" y="12595"/>
                </a:lnTo>
                <a:lnTo>
                  <a:pt x="1549" y="12570"/>
                </a:lnTo>
                <a:lnTo>
                  <a:pt x="1557" y="12547"/>
                </a:lnTo>
                <a:lnTo>
                  <a:pt x="1567" y="12525"/>
                </a:lnTo>
                <a:lnTo>
                  <a:pt x="1577" y="12506"/>
                </a:lnTo>
                <a:lnTo>
                  <a:pt x="1588" y="12488"/>
                </a:lnTo>
                <a:lnTo>
                  <a:pt x="1600" y="12472"/>
                </a:lnTo>
                <a:lnTo>
                  <a:pt x="1613" y="12457"/>
                </a:lnTo>
                <a:lnTo>
                  <a:pt x="1627" y="12444"/>
                </a:lnTo>
                <a:lnTo>
                  <a:pt x="1642" y="12431"/>
                </a:lnTo>
                <a:lnTo>
                  <a:pt x="1658" y="12420"/>
                </a:lnTo>
                <a:lnTo>
                  <a:pt x="1674" y="12410"/>
                </a:lnTo>
                <a:lnTo>
                  <a:pt x="1690" y="12402"/>
                </a:lnTo>
                <a:lnTo>
                  <a:pt x="1707" y="12394"/>
                </a:lnTo>
                <a:lnTo>
                  <a:pt x="1725" y="12388"/>
                </a:lnTo>
                <a:lnTo>
                  <a:pt x="1743" y="12382"/>
                </a:lnTo>
                <a:lnTo>
                  <a:pt x="1762" y="12378"/>
                </a:lnTo>
                <a:lnTo>
                  <a:pt x="1782" y="12374"/>
                </a:lnTo>
                <a:lnTo>
                  <a:pt x="1802" y="12370"/>
                </a:lnTo>
                <a:lnTo>
                  <a:pt x="1822" y="12368"/>
                </a:lnTo>
                <a:lnTo>
                  <a:pt x="1842" y="12366"/>
                </a:lnTo>
                <a:lnTo>
                  <a:pt x="1863" y="12364"/>
                </a:lnTo>
                <a:lnTo>
                  <a:pt x="1884" y="12363"/>
                </a:lnTo>
                <a:lnTo>
                  <a:pt x="1927" y="12362"/>
                </a:lnTo>
                <a:lnTo>
                  <a:pt x="1971" y="12362"/>
                </a:lnTo>
                <a:close/>
              </a:path>
            </a:pathLst>
          </a:custGeom>
          <a:solidFill>
            <a:schemeClr val="accent4">
              <a:lumMod val="75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arrow10_1_solid"/>
          <p:cNvSpPr/>
          <p:nvPr>
            <p:custDataLst>
              <p:tags r:id="rId11"/>
            </p:custDataLst>
          </p:nvPr>
        </p:nvSpPr>
        <p:spPr bwMode="auto">
          <a:xfrm>
            <a:off x="1182156" y="1365923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15" name="arrow10_1_solid"/>
          <p:cNvSpPr/>
          <p:nvPr>
            <p:custDataLst>
              <p:tags r:id="rId12"/>
            </p:custDataLst>
          </p:nvPr>
        </p:nvSpPr>
        <p:spPr bwMode="auto">
          <a:xfrm>
            <a:off x="1974244" y="1365924"/>
            <a:ext cx="1106696" cy="144016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16" name="arrow10_1_solid"/>
          <p:cNvSpPr/>
          <p:nvPr>
            <p:custDataLst>
              <p:tags r:id="rId13"/>
            </p:custDataLst>
          </p:nvPr>
        </p:nvSpPr>
        <p:spPr bwMode="auto">
          <a:xfrm>
            <a:off x="1644786" y="1896744"/>
            <a:ext cx="576064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17" name="arrow10_1_solid"/>
          <p:cNvSpPr/>
          <p:nvPr>
            <p:custDataLst>
              <p:tags r:id="rId14"/>
            </p:custDataLst>
          </p:nvPr>
        </p:nvSpPr>
        <p:spPr bwMode="auto">
          <a:xfrm>
            <a:off x="3621000" y="1365924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18" name="arrow10_1_solid"/>
          <p:cNvSpPr/>
          <p:nvPr>
            <p:custDataLst>
              <p:tags r:id="rId15"/>
            </p:custDataLst>
          </p:nvPr>
        </p:nvSpPr>
        <p:spPr bwMode="auto">
          <a:xfrm>
            <a:off x="4521100" y="1365924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19" name="arrow10_1_solid"/>
          <p:cNvSpPr/>
          <p:nvPr>
            <p:custDataLst>
              <p:tags r:id="rId16"/>
            </p:custDataLst>
          </p:nvPr>
        </p:nvSpPr>
        <p:spPr bwMode="auto">
          <a:xfrm>
            <a:off x="5286612" y="1365924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0" name="arrow10_1_solid"/>
          <p:cNvSpPr/>
          <p:nvPr>
            <p:custDataLst>
              <p:tags r:id="rId17"/>
            </p:custDataLst>
          </p:nvPr>
        </p:nvSpPr>
        <p:spPr bwMode="auto">
          <a:xfrm>
            <a:off x="6105276" y="1365924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1" name="arrow10_1_solid"/>
          <p:cNvSpPr/>
          <p:nvPr/>
        </p:nvSpPr>
        <p:spPr bwMode="auto">
          <a:xfrm>
            <a:off x="7770888" y="1365924"/>
            <a:ext cx="242600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2" name="TextBox 21"/>
          <p:cNvSpPr txBox="1"/>
          <p:nvPr>
            <p:custDataLst>
              <p:tags r:id="rId18"/>
            </p:custDataLst>
          </p:nvPr>
        </p:nvSpPr>
        <p:spPr>
          <a:xfrm>
            <a:off x="1323423" y="1509940"/>
            <a:ext cx="753411" cy="34881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роизводство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битума</a:t>
            </a:r>
          </a:p>
        </p:txBody>
      </p:sp>
      <p:sp>
        <p:nvSpPr>
          <p:cNvPr id="23" name="TextBox 22"/>
          <p:cNvSpPr txBox="1"/>
          <p:nvPr>
            <p:custDataLst>
              <p:tags r:id="rId19"/>
            </p:custDataLst>
          </p:nvPr>
        </p:nvSpPr>
        <p:spPr>
          <a:xfrm>
            <a:off x="2098616" y="2025223"/>
            <a:ext cx="859210" cy="34881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роизводство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БВ и эмульсий</a:t>
            </a:r>
          </a:p>
        </p:txBody>
      </p:sp>
      <p:sp>
        <p:nvSpPr>
          <p:cNvPr id="24" name="arrow10_1_solid"/>
          <p:cNvSpPr/>
          <p:nvPr>
            <p:custDataLst>
              <p:tags r:id="rId20"/>
            </p:custDataLst>
          </p:nvPr>
        </p:nvSpPr>
        <p:spPr bwMode="auto">
          <a:xfrm rot="16200000">
            <a:off x="2896553" y="1680114"/>
            <a:ext cx="433258" cy="128479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21"/>
            </p:custDataLst>
          </p:nvPr>
        </p:nvSpPr>
        <p:spPr>
          <a:xfrm rot="5400000">
            <a:off x="1589065" y="1876553"/>
            <a:ext cx="157162" cy="45720"/>
          </a:xfrm>
          <a:prstGeom prst="rect">
            <a:avLst/>
          </a:prstGeom>
          <a:solidFill>
            <a:schemeClr val="accent4">
              <a:lumMod val="90000"/>
            </a:schemeClr>
          </a:solidFill>
          <a:ln w="12700">
            <a:solidFill>
              <a:schemeClr val="accent4">
                <a:lumMod val="90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22"/>
            </p:custDataLst>
          </p:nvPr>
        </p:nvSpPr>
        <p:spPr>
          <a:xfrm>
            <a:off x="2832918" y="1932272"/>
            <a:ext cx="288032" cy="45722"/>
          </a:xfrm>
          <a:prstGeom prst="rect">
            <a:avLst/>
          </a:prstGeom>
          <a:solidFill>
            <a:schemeClr val="accent4">
              <a:lumMod val="90000"/>
            </a:schemeClr>
          </a:solidFill>
          <a:ln w="12700">
            <a:solidFill>
              <a:schemeClr val="accent4">
                <a:lumMod val="90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27" name="TextBox 26"/>
          <p:cNvSpPr txBox="1"/>
          <p:nvPr>
            <p:custDataLst>
              <p:tags r:id="rId23"/>
            </p:custDataLst>
          </p:nvPr>
        </p:nvSpPr>
        <p:spPr>
          <a:xfrm>
            <a:off x="3192958" y="1509940"/>
            <a:ext cx="500138" cy="22057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Хранение</a:t>
            </a:r>
          </a:p>
        </p:txBody>
      </p:sp>
      <p:sp>
        <p:nvSpPr>
          <p:cNvPr id="28" name="TextBox 27"/>
          <p:cNvSpPr txBox="1"/>
          <p:nvPr>
            <p:custDataLst>
              <p:tags r:id="rId24"/>
            </p:custDataLst>
          </p:nvPr>
        </p:nvSpPr>
        <p:spPr>
          <a:xfrm>
            <a:off x="3922656" y="1509940"/>
            <a:ext cx="480902" cy="22057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Доставка</a:t>
            </a:r>
          </a:p>
        </p:txBody>
      </p:sp>
      <p:sp>
        <p:nvSpPr>
          <p:cNvPr id="29" name="TextBox 28"/>
          <p:cNvSpPr txBox="1"/>
          <p:nvPr>
            <p:custDataLst>
              <p:tags r:id="rId25"/>
            </p:custDataLst>
          </p:nvPr>
        </p:nvSpPr>
        <p:spPr>
          <a:xfrm>
            <a:off x="4604724" y="1509940"/>
            <a:ext cx="872034" cy="34881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роизводство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асфальтобетона</a:t>
            </a:r>
          </a:p>
        </p:txBody>
      </p:sp>
      <p:sp>
        <p:nvSpPr>
          <p:cNvPr id="30" name="TextBox 29"/>
          <p:cNvSpPr txBox="1"/>
          <p:nvPr>
            <p:custDataLst>
              <p:tags r:id="rId26"/>
            </p:custDataLst>
          </p:nvPr>
        </p:nvSpPr>
        <p:spPr>
          <a:xfrm>
            <a:off x="5605226" y="1509940"/>
            <a:ext cx="480902" cy="22057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Доставка</a:t>
            </a:r>
          </a:p>
        </p:txBody>
      </p:sp>
      <p:sp>
        <p:nvSpPr>
          <p:cNvPr id="31" name="TextBox 30"/>
          <p:cNvSpPr txBox="1"/>
          <p:nvPr>
            <p:custDataLst>
              <p:tags r:id="rId27"/>
            </p:custDataLst>
          </p:nvPr>
        </p:nvSpPr>
        <p:spPr>
          <a:xfrm>
            <a:off x="6613338" y="1509940"/>
            <a:ext cx="1019510" cy="34881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Укладка дорожного</a:t>
            </a:r>
          </a:p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полотна</a:t>
            </a:r>
          </a:p>
        </p:txBody>
      </p:sp>
      <p:sp>
        <p:nvSpPr>
          <p:cNvPr id="32" name="TextBox 31"/>
          <p:cNvSpPr txBox="1"/>
          <p:nvPr>
            <p:custDataLst>
              <p:tags r:id="rId28"/>
            </p:custDataLst>
          </p:nvPr>
        </p:nvSpPr>
        <p:spPr>
          <a:xfrm>
            <a:off x="7873478" y="1509940"/>
            <a:ext cx="730970" cy="220573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000" b="1" dirty="0" smtClean="0">
                <a:solidFill>
                  <a:schemeClr val="accent4">
                    <a:lumMod val="50000"/>
                  </a:schemeClr>
                </a:solidFill>
                <a:latin typeface="Arial Narrow" panose="020B0606020202030204" pitchFamily="34" charset="0"/>
              </a:rPr>
              <a:t>Эксплуатация</a:t>
            </a:r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287524" y="2384884"/>
            <a:ext cx="1872208" cy="864096"/>
          </a:xfrm>
          <a:prstGeom prst="roundRect">
            <a:avLst>
              <a:gd name="adj" fmla="val 8914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400"/>
              </a:lnSpc>
              <a:spcBef>
                <a:spcPct val="0"/>
              </a:spcBef>
              <a:buClr>
                <a:srgbClr val="3333FF"/>
              </a:buClr>
            </a:pPr>
            <a:r>
              <a:rPr lang="ru-RU" altLang="ru-RU" sz="1400" b="1" dirty="0">
                <a:solidFill>
                  <a:schemeClr val="bg1"/>
                </a:solidFill>
              </a:rPr>
              <a:t>Оценка сырья </a:t>
            </a:r>
            <a:r>
              <a:rPr lang="ru-RU" altLang="ru-RU" sz="1400" b="1" dirty="0" smtClean="0">
                <a:solidFill>
                  <a:schemeClr val="bg1"/>
                </a:solidFill>
              </a:rPr>
              <a:t> для </a:t>
            </a:r>
            <a:r>
              <a:rPr lang="ru-RU" altLang="ru-RU" sz="1400" b="1" dirty="0">
                <a:solidFill>
                  <a:schemeClr val="bg1"/>
                </a:solidFill>
              </a:rPr>
              <a:t>производства вяжущих</a:t>
            </a:r>
            <a:endParaRPr lang="ru-RU" altLang="ru-RU" sz="1400" dirty="0">
              <a:solidFill>
                <a:schemeClr val="bg1"/>
              </a:solidFill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20106" y="2384884"/>
            <a:ext cx="1872208" cy="864096"/>
          </a:xfrm>
          <a:prstGeom prst="roundRect">
            <a:avLst>
              <a:gd name="adj" fmla="val 11240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400"/>
              </a:lnSpc>
              <a:spcBef>
                <a:spcPct val="0"/>
              </a:spcBef>
              <a:buClr>
                <a:srgbClr val="3333FF"/>
              </a:buClr>
            </a:pPr>
            <a:r>
              <a:rPr lang="ru-RU" altLang="ru-RU" sz="1400" b="1" dirty="0">
                <a:solidFill>
                  <a:schemeClr val="bg1"/>
                </a:solidFill>
              </a:rPr>
              <a:t>Комплексная оценка качества БМ, подбор рецептур ПБВ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4752354" y="2384884"/>
            <a:ext cx="1872208" cy="864096"/>
          </a:xfrm>
          <a:prstGeom prst="roundRect">
            <a:avLst>
              <a:gd name="adj" fmla="val 10465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400"/>
              </a:lnSpc>
              <a:spcBef>
                <a:spcPct val="0"/>
              </a:spcBef>
              <a:buClr>
                <a:srgbClr val="3333FF"/>
              </a:buClr>
            </a:pPr>
            <a:r>
              <a:rPr lang="ru-RU" altLang="ru-RU" sz="1400" b="1" dirty="0">
                <a:solidFill>
                  <a:schemeClr val="bg1"/>
                </a:solidFill>
              </a:rPr>
              <a:t>Оценка стабильности показателей вяжущего </a:t>
            </a:r>
          </a:p>
        </p:txBody>
      </p:sp>
      <p:sp>
        <p:nvSpPr>
          <p:cNvPr id="52" name="Скругленный прямоугольник 51"/>
          <p:cNvSpPr/>
          <p:nvPr/>
        </p:nvSpPr>
        <p:spPr>
          <a:xfrm>
            <a:off x="6984268" y="2384884"/>
            <a:ext cx="1872208" cy="864096"/>
          </a:xfrm>
          <a:prstGeom prst="roundRect">
            <a:avLst>
              <a:gd name="adj" fmla="val 9690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400"/>
              </a:lnSpc>
              <a:spcBef>
                <a:spcPct val="0"/>
              </a:spcBef>
              <a:buClr>
                <a:srgbClr val="3333FF"/>
              </a:buClr>
            </a:pPr>
            <a:r>
              <a:rPr lang="ru-RU" altLang="ru-RU" sz="1400" b="1" dirty="0">
                <a:solidFill>
                  <a:schemeClr val="bg1"/>
                </a:solidFill>
              </a:rPr>
              <a:t>Оценка </a:t>
            </a:r>
            <a:r>
              <a:rPr lang="ru-RU" altLang="ru-RU" sz="1400" b="1" dirty="0" smtClean="0">
                <a:solidFill>
                  <a:schemeClr val="bg1"/>
                </a:solidFill>
              </a:rPr>
              <a:t>надежности асфальтобетона</a:t>
            </a:r>
            <a:endParaRPr lang="ru-RU" altLang="ru-RU" sz="1400" b="1" dirty="0">
              <a:solidFill>
                <a:schemeClr val="bg1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87524" y="3248980"/>
            <a:ext cx="1871476" cy="131574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Вязкость</a:t>
            </a: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Групповой </a:t>
            </a:r>
            <a:r>
              <a:rPr lang="ru-RU" altLang="ru-RU" sz="1200" b="1" dirty="0" smtClean="0">
                <a:solidFill>
                  <a:srgbClr val="004077"/>
                </a:solidFill>
              </a:rPr>
              <a:t>химический состав</a:t>
            </a:r>
            <a:r>
              <a:rPr lang="ru-RU" altLang="ru-RU" sz="1200" dirty="0" smtClean="0">
                <a:solidFill>
                  <a:srgbClr val="004077"/>
                </a:solidFill>
              </a:rPr>
              <a:t>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en-US" altLang="ru-RU" sz="1200" dirty="0" err="1">
                <a:solidFill>
                  <a:srgbClr val="004077"/>
                </a:solidFill>
              </a:rPr>
              <a:t>Iatroscan</a:t>
            </a:r>
            <a:r>
              <a:rPr lang="en-US" altLang="ru-RU" sz="1200" dirty="0">
                <a:solidFill>
                  <a:srgbClr val="004077"/>
                </a:solidFill>
              </a:rPr>
              <a:t> MK-6) </a:t>
            </a: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Содержание </a:t>
            </a:r>
            <a:r>
              <a:rPr lang="ru-RU" altLang="ru-RU" sz="1200" b="1" dirty="0">
                <a:solidFill>
                  <a:srgbClr val="004077"/>
                </a:solidFill>
              </a:rPr>
              <a:t>парафинов </a:t>
            </a:r>
          </a:p>
          <a:p>
            <a:pPr>
              <a:spcBef>
                <a:spcPts val="300"/>
              </a:spcBef>
              <a:buClr>
                <a:schemeClr val="accent1"/>
              </a:buClr>
            </a:pPr>
            <a:endParaRPr lang="ru-RU" sz="1200" dirty="0" smtClean="0"/>
          </a:p>
        </p:txBody>
      </p:sp>
      <p:sp>
        <p:nvSpPr>
          <p:cNvPr id="54" name="TextBox 53"/>
          <p:cNvSpPr txBox="1"/>
          <p:nvPr/>
        </p:nvSpPr>
        <p:spPr>
          <a:xfrm>
            <a:off x="2556508" y="3248980"/>
            <a:ext cx="1871476" cy="272382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Реологические характеристики </a:t>
            </a:r>
            <a:r>
              <a:rPr lang="ru-RU" altLang="ru-RU" sz="1200" dirty="0">
                <a:solidFill>
                  <a:srgbClr val="004077"/>
                </a:solidFill>
              </a:rPr>
              <a:t>на всем температурном интервале:  </a:t>
            </a:r>
          </a:p>
          <a:p>
            <a:pPr marL="358775" indent="-171450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srgbClr val="004077"/>
                </a:solidFill>
              </a:rPr>
              <a:t>RV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ru-RU" altLang="ru-RU" sz="1200" dirty="0" err="1">
                <a:solidFill>
                  <a:srgbClr val="004077"/>
                </a:solidFill>
              </a:rPr>
              <a:t>Rheolab</a:t>
            </a:r>
            <a:r>
              <a:rPr lang="ru-RU" altLang="ru-RU" sz="1200" dirty="0">
                <a:solidFill>
                  <a:srgbClr val="004077"/>
                </a:solidFill>
              </a:rPr>
              <a:t> QC)</a:t>
            </a:r>
          </a:p>
          <a:p>
            <a:pPr marL="358775" indent="-171450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srgbClr val="004077"/>
                </a:solidFill>
              </a:rPr>
              <a:t>DSR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ru-RU" altLang="ru-RU" sz="1200" dirty="0" err="1">
                <a:solidFill>
                  <a:srgbClr val="004077"/>
                </a:solidFill>
              </a:rPr>
              <a:t>A.Paar</a:t>
            </a:r>
            <a:r>
              <a:rPr lang="ru-RU" altLang="ru-RU" sz="1200" dirty="0">
                <a:solidFill>
                  <a:srgbClr val="004077"/>
                </a:solidFill>
              </a:rPr>
              <a:t> </a:t>
            </a:r>
            <a:r>
              <a:rPr lang="ru-RU" sz="1200" dirty="0">
                <a:solidFill>
                  <a:srgbClr val="004077"/>
                </a:solidFill>
              </a:rPr>
              <a:t>MCR 102 </a:t>
            </a:r>
            <a:r>
              <a:rPr lang="en-US" sz="1200" dirty="0" err="1">
                <a:solidFill>
                  <a:srgbClr val="004077"/>
                </a:solidFill>
              </a:rPr>
              <a:t>SmartPave</a:t>
            </a:r>
            <a:r>
              <a:rPr lang="ru-RU" altLang="ru-RU" sz="1200" dirty="0">
                <a:solidFill>
                  <a:srgbClr val="004077"/>
                </a:solidFill>
              </a:rPr>
              <a:t>)</a:t>
            </a:r>
          </a:p>
          <a:p>
            <a:pPr marL="358775" indent="-171450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srgbClr val="004077"/>
                </a:solidFill>
              </a:rPr>
              <a:t>BBR</a:t>
            </a:r>
            <a:endParaRPr lang="ru-RU" altLang="ru-RU" sz="1200" dirty="0">
              <a:solidFill>
                <a:srgbClr val="004077"/>
              </a:solidFill>
            </a:endParaRPr>
          </a:p>
          <a:p>
            <a:pPr marL="358775" indent="-171450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srgbClr val="004077"/>
                </a:solidFill>
              </a:rPr>
              <a:t>ABCD</a:t>
            </a:r>
            <a:endParaRPr lang="ru-RU" altLang="ru-RU" sz="1200" dirty="0">
              <a:solidFill>
                <a:srgbClr val="004077"/>
              </a:solidFill>
            </a:endParaRP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Групповой </a:t>
            </a:r>
            <a:r>
              <a:rPr lang="ru-RU" altLang="ru-RU" sz="1200" b="1" dirty="0" smtClean="0">
                <a:solidFill>
                  <a:srgbClr val="004077"/>
                </a:solidFill>
              </a:rPr>
              <a:t>химический состав</a:t>
            </a:r>
            <a:endParaRPr lang="ru-RU" altLang="ru-RU" sz="1200" b="1" dirty="0">
              <a:solidFill>
                <a:srgbClr val="004077"/>
              </a:solidFill>
            </a:endParaRP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Микроструктура</a:t>
            </a:r>
            <a:r>
              <a:rPr lang="ru-RU" altLang="ru-RU" sz="1200" dirty="0">
                <a:solidFill>
                  <a:srgbClr val="004077"/>
                </a:solidFill>
              </a:rPr>
              <a:t> (микроскоп </a:t>
            </a:r>
            <a:r>
              <a:rPr lang="ru-RU" altLang="ru-RU" sz="1200" dirty="0" err="1">
                <a:solidFill>
                  <a:srgbClr val="004077"/>
                </a:solidFill>
              </a:rPr>
              <a:t>Zeiss</a:t>
            </a:r>
            <a:r>
              <a:rPr lang="ru-RU" altLang="ru-RU" sz="1200" dirty="0" smtClean="0">
                <a:solidFill>
                  <a:srgbClr val="004077"/>
                </a:solidFill>
              </a:rPr>
              <a:t>)</a:t>
            </a:r>
            <a:endParaRPr lang="ru-RU" altLang="ru-RU" sz="1200" dirty="0">
              <a:solidFill>
                <a:srgbClr val="004077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4788756" y="3248980"/>
            <a:ext cx="1871476" cy="131574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RTFOT</a:t>
            </a: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PAV</a:t>
            </a: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Устойчивость ПБВ/PMB к </a:t>
            </a:r>
            <a:r>
              <a:rPr lang="ru-RU" altLang="ru-RU" sz="1200" b="1" dirty="0">
                <a:solidFill>
                  <a:srgbClr val="004077"/>
                </a:solidFill>
              </a:rPr>
              <a:t>расслаиванию</a:t>
            </a:r>
            <a:r>
              <a:rPr lang="ru-RU" altLang="ru-RU" sz="1200" dirty="0">
                <a:solidFill>
                  <a:srgbClr val="004077"/>
                </a:solidFill>
              </a:rPr>
              <a:t> при хранении (EN 13399)</a:t>
            </a: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 err="1">
                <a:solidFill>
                  <a:srgbClr val="004077"/>
                </a:solidFill>
              </a:rPr>
              <a:t>Асфальтоанализатор</a:t>
            </a:r>
            <a:endParaRPr lang="ru-RU" altLang="ru-RU" sz="1200" b="1" dirty="0">
              <a:solidFill>
                <a:srgbClr val="004077"/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985000" y="3248980"/>
            <a:ext cx="1871476" cy="246221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Гиратор</a:t>
            </a: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Роликовый </a:t>
            </a:r>
            <a:r>
              <a:rPr lang="ru-RU" altLang="ru-RU" sz="1200" dirty="0" err="1">
                <a:solidFill>
                  <a:srgbClr val="004077"/>
                </a:solidFill>
              </a:rPr>
              <a:t>компактор</a:t>
            </a:r>
            <a:endParaRPr lang="ru-RU" altLang="ru-RU" sz="1200" dirty="0">
              <a:solidFill>
                <a:srgbClr val="004077"/>
              </a:solidFill>
            </a:endParaRP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Устойчивость </a:t>
            </a:r>
            <a:r>
              <a:rPr lang="ru-RU" altLang="ru-RU" sz="1200" dirty="0" smtClean="0">
                <a:solidFill>
                  <a:srgbClr val="004077"/>
                </a:solidFill>
              </a:rPr>
              <a:t>                    к </a:t>
            </a:r>
            <a:r>
              <a:rPr lang="ru-RU" altLang="ru-RU" sz="1200" dirty="0">
                <a:solidFill>
                  <a:srgbClr val="004077"/>
                </a:solidFill>
              </a:rPr>
              <a:t>образованию </a:t>
            </a:r>
            <a:r>
              <a:rPr lang="ru-RU" altLang="ru-RU" sz="1200" b="1" dirty="0">
                <a:solidFill>
                  <a:srgbClr val="004077"/>
                </a:solidFill>
              </a:rPr>
              <a:t>пластической </a:t>
            </a:r>
            <a:r>
              <a:rPr lang="ru-RU" altLang="ru-RU" sz="1200" b="1" dirty="0" smtClean="0">
                <a:solidFill>
                  <a:srgbClr val="004077"/>
                </a:solidFill>
              </a:rPr>
              <a:t>                   и </a:t>
            </a:r>
            <a:r>
              <a:rPr lang="ru-RU" altLang="ru-RU" sz="1200" b="1" dirty="0">
                <a:solidFill>
                  <a:srgbClr val="004077"/>
                </a:solidFill>
              </a:rPr>
              <a:t>абразивной колеи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ru-RU" altLang="ru-RU" sz="1200" dirty="0" err="1">
                <a:solidFill>
                  <a:srgbClr val="004077"/>
                </a:solidFill>
              </a:rPr>
              <a:t>Prall</a:t>
            </a:r>
            <a:r>
              <a:rPr lang="ru-RU" altLang="ru-RU" sz="1200" dirty="0">
                <a:solidFill>
                  <a:srgbClr val="004077"/>
                </a:solidFill>
              </a:rPr>
              <a:t>)</a:t>
            </a: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Усталостная </a:t>
            </a:r>
            <a:r>
              <a:rPr lang="ru-RU" altLang="ru-RU" sz="1200" b="1" dirty="0" err="1">
                <a:solidFill>
                  <a:srgbClr val="004077"/>
                </a:solidFill>
              </a:rPr>
              <a:t>трещиностойкость</a:t>
            </a:r>
            <a:endParaRPr lang="ru-RU" altLang="ru-RU" sz="1200" b="1" dirty="0">
              <a:solidFill>
                <a:srgbClr val="004077"/>
              </a:solidFill>
            </a:endParaRPr>
          </a:p>
          <a:p>
            <a:pPr marL="179388" indent="-93663">
              <a:spcBef>
                <a:spcPts val="300"/>
              </a:spcBef>
              <a:buClr>
                <a:schemeClr val="accent1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Устойчивость к </a:t>
            </a:r>
            <a:r>
              <a:rPr lang="ru-RU" altLang="ru-RU" sz="1200" b="1" dirty="0">
                <a:solidFill>
                  <a:srgbClr val="004077"/>
                </a:solidFill>
              </a:rPr>
              <a:t>климатическим факторам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ru-RU" altLang="ru-RU" sz="1200" dirty="0" err="1">
                <a:solidFill>
                  <a:srgbClr val="004077"/>
                </a:solidFill>
              </a:rPr>
              <a:t>Xenotest</a:t>
            </a:r>
            <a:r>
              <a:rPr lang="ru-RU" altLang="ru-RU" sz="1200" dirty="0">
                <a:solidFill>
                  <a:srgbClr val="004077"/>
                </a:solidFill>
              </a:rPr>
              <a:t>)</a:t>
            </a:r>
          </a:p>
        </p:txBody>
      </p:sp>
      <p:sp>
        <p:nvSpPr>
          <p:cNvPr id="57" name="trian14_1_solid"/>
          <p:cNvSpPr/>
          <p:nvPr/>
        </p:nvSpPr>
        <p:spPr>
          <a:xfrm>
            <a:off x="2195736" y="2672916"/>
            <a:ext cx="288366" cy="317606"/>
          </a:xfrm>
          <a:prstGeom prst="homePlate">
            <a:avLst>
              <a:gd name="adj" fmla="val 9656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58" name="trian14_1_solid"/>
          <p:cNvSpPr/>
          <p:nvPr/>
        </p:nvSpPr>
        <p:spPr>
          <a:xfrm>
            <a:off x="4428318" y="2672916"/>
            <a:ext cx="288366" cy="317606"/>
          </a:xfrm>
          <a:prstGeom prst="homePlate">
            <a:avLst>
              <a:gd name="adj" fmla="val 9656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59" name="trian14_1_solid"/>
          <p:cNvSpPr/>
          <p:nvPr/>
        </p:nvSpPr>
        <p:spPr>
          <a:xfrm>
            <a:off x="6660232" y="2672916"/>
            <a:ext cx="288366" cy="317606"/>
          </a:xfrm>
          <a:prstGeom prst="homePlate">
            <a:avLst>
              <a:gd name="adj" fmla="val 9656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60" name="menzurki"/>
          <p:cNvSpPr>
            <a:spLocks noEditPoints="1"/>
          </p:cNvSpPr>
          <p:nvPr/>
        </p:nvSpPr>
        <p:spPr bwMode="auto">
          <a:xfrm>
            <a:off x="1806632" y="2420888"/>
            <a:ext cx="317096" cy="279096"/>
          </a:xfrm>
          <a:custGeom>
            <a:avLst/>
            <a:gdLst>
              <a:gd name="T0" fmla="*/ 955 w 16027"/>
              <a:gd name="T1" fmla="*/ 11197 h 12643"/>
              <a:gd name="T2" fmla="*/ 1953 w 16027"/>
              <a:gd name="T3" fmla="*/ 12312 h 12643"/>
              <a:gd name="T4" fmla="*/ 3259 w 16027"/>
              <a:gd name="T5" fmla="*/ 12550 h 12643"/>
              <a:gd name="T6" fmla="*/ 2873 w 16027"/>
              <a:gd name="T7" fmla="*/ 12186 h 12643"/>
              <a:gd name="T8" fmla="*/ 2454 w 16027"/>
              <a:gd name="T9" fmla="*/ 11712 h 12643"/>
              <a:gd name="T10" fmla="*/ 1693 w 16027"/>
              <a:gd name="T11" fmla="*/ 11033 h 12643"/>
              <a:gd name="T12" fmla="*/ 1542 w 16027"/>
              <a:gd name="T13" fmla="*/ 10472 h 12643"/>
              <a:gd name="T14" fmla="*/ 4890 w 16027"/>
              <a:gd name="T15" fmla="*/ 6587 h 12643"/>
              <a:gd name="T16" fmla="*/ 3782 w 16027"/>
              <a:gd name="T17" fmla="*/ 1502 h 12643"/>
              <a:gd name="T18" fmla="*/ 7022 w 16027"/>
              <a:gd name="T19" fmla="*/ 879 h 12643"/>
              <a:gd name="T20" fmla="*/ 7015 w 16027"/>
              <a:gd name="T21" fmla="*/ 3983 h 12643"/>
              <a:gd name="T22" fmla="*/ 6850 w 16027"/>
              <a:gd name="T23" fmla="*/ 4729 h 12643"/>
              <a:gd name="T24" fmla="*/ 5975 w 16027"/>
              <a:gd name="T25" fmla="*/ 5967 h 12643"/>
              <a:gd name="T26" fmla="*/ 5246 w 16027"/>
              <a:gd name="T27" fmla="*/ 7010 h 12643"/>
              <a:gd name="T28" fmla="*/ 3841 w 16027"/>
              <a:gd name="T29" fmla="*/ 9310 h 12643"/>
              <a:gd name="T30" fmla="*/ 3233 w 16027"/>
              <a:gd name="T31" fmla="*/ 10564 h 12643"/>
              <a:gd name="T32" fmla="*/ 3228 w 16027"/>
              <a:gd name="T33" fmla="*/ 11460 h 12643"/>
              <a:gd name="T34" fmla="*/ 3553 w 16027"/>
              <a:gd name="T35" fmla="*/ 12167 h 12643"/>
              <a:gd name="T36" fmla="*/ 4012 w 16027"/>
              <a:gd name="T37" fmla="*/ 12530 h 12643"/>
              <a:gd name="T38" fmla="*/ 14664 w 16027"/>
              <a:gd name="T39" fmla="*/ 12643 h 12643"/>
              <a:gd name="T40" fmla="*/ 15235 w 16027"/>
              <a:gd name="T41" fmla="*/ 12512 h 12643"/>
              <a:gd name="T42" fmla="*/ 15683 w 16027"/>
              <a:gd name="T43" fmla="*/ 12132 h 12643"/>
              <a:gd name="T44" fmla="*/ 15994 w 16027"/>
              <a:gd name="T45" fmla="*/ 11398 h 12643"/>
              <a:gd name="T46" fmla="*/ 15962 w 16027"/>
              <a:gd name="T47" fmla="*/ 10501 h 12643"/>
              <a:gd name="T48" fmla="*/ 15268 w 16027"/>
              <a:gd name="T49" fmla="*/ 9134 h 12643"/>
              <a:gd name="T50" fmla="*/ 13891 w 16027"/>
              <a:gd name="T51" fmla="*/ 6898 h 12643"/>
              <a:gd name="T52" fmla="*/ 13188 w 16027"/>
              <a:gd name="T53" fmla="*/ 5903 h 12643"/>
              <a:gd name="T54" fmla="*/ 12336 w 16027"/>
              <a:gd name="T55" fmla="*/ 4687 h 12643"/>
              <a:gd name="T56" fmla="*/ 12198 w 16027"/>
              <a:gd name="T57" fmla="*/ 3768 h 12643"/>
              <a:gd name="T58" fmla="*/ 12688 w 16027"/>
              <a:gd name="T59" fmla="*/ 876 h 12643"/>
              <a:gd name="T60" fmla="*/ 7741 w 16027"/>
              <a:gd name="T61" fmla="*/ 1629 h 12643"/>
              <a:gd name="T62" fmla="*/ 11474 w 16027"/>
              <a:gd name="T63" fmla="*/ 2854 h 12643"/>
              <a:gd name="T64" fmla="*/ 11502 w 16027"/>
              <a:gd name="T65" fmla="*/ 4611 h 12643"/>
              <a:gd name="T66" fmla="*/ 11890 w 16027"/>
              <a:gd name="T67" fmla="*/ 5338 h 12643"/>
              <a:gd name="T68" fmla="*/ 12786 w 16027"/>
              <a:gd name="T69" fmla="*/ 6584 h 12643"/>
              <a:gd name="T70" fmla="*/ 13574 w 16027"/>
              <a:gd name="T71" fmla="*/ 7738 h 12643"/>
              <a:gd name="T72" fmla="*/ 14988 w 16027"/>
              <a:gd name="T73" fmla="*/ 10112 h 12643"/>
              <a:gd name="T74" fmla="*/ 15288 w 16027"/>
              <a:gd name="T75" fmla="*/ 10844 h 12643"/>
              <a:gd name="T76" fmla="*/ 15246 w 16027"/>
              <a:gd name="T77" fmla="*/ 11408 h 12643"/>
              <a:gd name="T78" fmla="*/ 15059 w 16027"/>
              <a:gd name="T79" fmla="*/ 11747 h 12643"/>
              <a:gd name="T80" fmla="*/ 14847 w 16027"/>
              <a:gd name="T81" fmla="*/ 11886 h 12643"/>
              <a:gd name="T82" fmla="*/ 4491 w 16027"/>
              <a:gd name="T83" fmla="*/ 11913 h 12643"/>
              <a:gd name="T84" fmla="*/ 4251 w 16027"/>
              <a:gd name="T85" fmla="*/ 11831 h 12643"/>
              <a:gd name="T86" fmla="*/ 4067 w 16027"/>
              <a:gd name="T87" fmla="*/ 11636 h 12643"/>
              <a:gd name="T88" fmla="*/ 3916 w 16027"/>
              <a:gd name="T89" fmla="*/ 11133 h 12643"/>
              <a:gd name="T90" fmla="*/ 3989 w 16027"/>
              <a:gd name="T91" fmla="*/ 10565 h 12643"/>
              <a:gd name="T92" fmla="*/ 4907 w 16027"/>
              <a:gd name="T93" fmla="*/ 8922 h 12643"/>
              <a:gd name="T94" fmla="*/ 6089 w 16027"/>
              <a:gd name="T95" fmla="*/ 7058 h 12643"/>
              <a:gd name="T96" fmla="*/ 6745 w 16027"/>
              <a:gd name="T97" fmla="*/ 6145 h 12643"/>
              <a:gd name="T98" fmla="*/ 7564 w 16027"/>
              <a:gd name="T99" fmla="*/ 4941 h 12643"/>
              <a:gd name="T100" fmla="*/ 7752 w 16027"/>
              <a:gd name="T101" fmla="*/ 4325 h 12643"/>
              <a:gd name="T102" fmla="*/ 5028 w 16027"/>
              <a:gd name="T103" fmla="*/ 9945 h 12643"/>
              <a:gd name="T104" fmla="*/ 4551 w 16027"/>
              <a:gd name="T105" fmla="*/ 10846 h 12643"/>
              <a:gd name="T106" fmla="*/ 4537 w 16027"/>
              <a:gd name="T107" fmla="*/ 11136 h 12643"/>
              <a:gd name="T108" fmla="*/ 14655 w 16027"/>
              <a:gd name="T109" fmla="*/ 11231 h 12643"/>
              <a:gd name="T110" fmla="*/ 14677 w 16027"/>
              <a:gd name="T111" fmla="*/ 10949 h 12643"/>
              <a:gd name="T112" fmla="*/ 14598 w 16027"/>
              <a:gd name="T113" fmla="*/ 10682 h 12643"/>
              <a:gd name="T114" fmla="*/ 13416 w 16027"/>
              <a:gd name="T115" fmla="*/ 8648 h 12643"/>
              <a:gd name="T116" fmla="*/ 2228 w 16027"/>
              <a:gd name="T117" fmla="*/ 10797 h 12643"/>
              <a:gd name="T118" fmla="*/ 2468 w 16027"/>
              <a:gd name="T119" fmla="*/ 11115 h 12643"/>
              <a:gd name="T120" fmla="*/ 2544 w 16027"/>
              <a:gd name="T121" fmla="*/ 10728 h 12643"/>
              <a:gd name="T122" fmla="*/ 2677 w 16027"/>
              <a:gd name="T123" fmla="*/ 10252 h 12643"/>
              <a:gd name="T124" fmla="*/ 3187 w 16027"/>
              <a:gd name="T125" fmla="*/ 9324 h 12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027" h="12643">
                <a:moveTo>
                  <a:pt x="0" y="1502"/>
                </a:moveTo>
                <a:lnTo>
                  <a:pt x="0" y="2378"/>
                </a:lnTo>
                <a:lnTo>
                  <a:pt x="798" y="2378"/>
                </a:lnTo>
                <a:lnTo>
                  <a:pt x="798" y="10472"/>
                </a:lnTo>
                <a:lnTo>
                  <a:pt x="800" y="10525"/>
                </a:lnTo>
                <a:lnTo>
                  <a:pt x="804" y="10584"/>
                </a:lnTo>
                <a:lnTo>
                  <a:pt x="810" y="10648"/>
                </a:lnTo>
                <a:lnTo>
                  <a:pt x="820" y="10717"/>
                </a:lnTo>
                <a:lnTo>
                  <a:pt x="833" y="10789"/>
                </a:lnTo>
                <a:lnTo>
                  <a:pt x="850" y="10865"/>
                </a:lnTo>
                <a:lnTo>
                  <a:pt x="870" y="10945"/>
                </a:lnTo>
                <a:lnTo>
                  <a:pt x="895" y="11027"/>
                </a:lnTo>
                <a:lnTo>
                  <a:pt x="923" y="11111"/>
                </a:lnTo>
                <a:lnTo>
                  <a:pt x="955" y="11197"/>
                </a:lnTo>
                <a:lnTo>
                  <a:pt x="992" y="11284"/>
                </a:lnTo>
                <a:lnTo>
                  <a:pt x="1033" y="11371"/>
                </a:lnTo>
                <a:lnTo>
                  <a:pt x="1079" y="11459"/>
                </a:lnTo>
                <a:lnTo>
                  <a:pt x="1129" y="11547"/>
                </a:lnTo>
                <a:lnTo>
                  <a:pt x="1185" y="11635"/>
                </a:lnTo>
                <a:lnTo>
                  <a:pt x="1247" y="11720"/>
                </a:lnTo>
                <a:lnTo>
                  <a:pt x="1313" y="11805"/>
                </a:lnTo>
                <a:lnTo>
                  <a:pt x="1386" y="11887"/>
                </a:lnTo>
                <a:lnTo>
                  <a:pt x="1464" y="11967"/>
                </a:lnTo>
                <a:lnTo>
                  <a:pt x="1550" y="12043"/>
                </a:lnTo>
                <a:lnTo>
                  <a:pt x="1641" y="12117"/>
                </a:lnTo>
                <a:lnTo>
                  <a:pt x="1738" y="12186"/>
                </a:lnTo>
                <a:lnTo>
                  <a:pt x="1842" y="12251"/>
                </a:lnTo>
                <a:lnTo>
                  <a:pt x="1953" y="12312"/>
                </a:lnTo>
                <a:lnTo>
                  <a:pt x="2070" y="12367"/>
                </a:lnTo>
                <a:lnTo>
                  <a:pt x="2196" y="12416"/>
                </a:lnTo>
                <a:lnTo>
                  <a:pt x="2329" y="12459"/>
                </a:lnTo>
                <a:lnTo>
                  <a:pt x="2469" y="12495"/>
                </a:lnTo>
                <a:lnTo>
                  <a:pt x="2617" y="12523"/>
                </a:lnTo>
                <a:lnTo>
                  <a:pt x="2774" y="12545"/>
                </a:lnTo>
                <a:lnTo>
                  <a:pt x="2938" y="12558"/>
                </a:lnTo>
                <a:lnTo>
                  <a:pt x="3110" y="12562"/>
                </a:lnTo>
                <a:lnTo>
                  <a:pt x="3136" y="12562"/>
                </a:lnTo>
                <a:lnTo>
                  <a:pt x="3162" y="12560"/>
                </a:lnTo>
                <a:lnTo>
                  <a:pt x="3186" y="12558"/>
                </a:lnTo>
                <a:lnTo>
                  <a:pt x="3211" y="12556"/>
                </a:lnTo>
                <a:lnTo>
                  <a:pt x="3235" y="12553"/>
                </a:lnTo>
                <a:lnTo>
                  <a:pt x="3259" y="12550"/>
                </a:lnTo>
                <a:lnTo>
                  <a:pt x="3284" y="12547"/>
                </a:lnTo>
                <a:lnTo>
                  <a:pt x="3309" y="12545"/>
                </a:lnTo>
                <a:lnTo>
                  <a:pt x="3268" y="12524"/>
                </a:lnTo>
                <a:lnTo>
                  <a:pt x="3227" y="12501"/>
                </a:lnTo>
                <a:lnTo>
                  <a:pt x="3188" y="12476"/>
                </a:lnTo>
                <a:lnTo>
                  <a:pt x="3149" y="12450"/>
                </a:lnTo>
                <a:lnTo>
                  <a:pt x="3111" y="12423"/>
                </a:lnTo>
                <a:lnTo>
                  <a:pt x="3075" y="12394"/>
                </a:lnTo>
                <a:lnTo>
                  <a:pt x="3039" y="12363"/>
                </a:lnTo>
                <a:lnTo>
                  <a:pt x="3004" y="12331"/>
                </a:lnTo>
                <a:lnTo>
                  <a:pt x="2969" y="12297"/>
                </a:lnTo>
                <a:lnTo>
                  <a:pt x="2936" y="12261"/>
                </a:lnTo>
                <a:lnTo>
                  <a:pt x="2904" y="12224"/>
                </a:lnTo>
                <a:lnTo>
                  <a:pt x="2873" y="12186"/>
                </a:lnTo>
                <a:lnTo>
                  <a:pt x="2842" y="12146"/>
                </a:lnTo>
                <a:lnTo>
                  <a:pt x="2813" y="12105"/>
                </a:lnTo>
                <a:lnTo>
                  <a:pt x="2785" y="12062"/>
                </a:lnTo>
                <a:lnTo>
                  <a:pt x="2758" y="12018"/>
                </a:lnTo>
                <a:lnTo>
                  <a:pt x="2741" y="11988"/>
                </a:lnTo>
                <a:lnTo>
                  <a:pt x="2726" y="11958"/>
                </a:lnTo>
                <a:lnTo>
                  <a:pt x="2710" y="11927"/>
                </a:lnTo>
                <a:lnTo>
                  <a:pt x="2696" y="11896"/>
                </a:lnTo>
                <a:lnTo>
                  <a:pt x="2681" y="11864"/>
                </a:lnTo>
                <a:lnTo>
                  <a:pt x="2667" y="11832"/>
                </a:lnTo>
                <a:lnTo>
                  <a:pt x="2654" y="11799"/>
                </a:lnTo>
                <a:lnTo>
                  <a:pt x="2642" y="11766"/>
                </a:lnTo>
                <a:lnTo>
                  <a:pt x="2545" y="11741"/>
                </a:lnTo>
                <a:lnTo>
                  <a:pt x="2454" y="11712"/>
                </a:lnTo>
                <a:lnTo>
                  <a:pt x="2369" y="11679"/>
                </a:lnTo>
                <a:lnTo>
                  <a:pt x="2290" y="11642"/>
                </a:lnTo>
                <a:lnTo>
                  <a:pt x="2215" y="11602"/>
                </a:lnTo>
                <a:lnTo>
                  <a:pt x="2146" y="11558"/>
                </a:lnTo>
                <a:lnTo>
                  <a:pt x="2082" y="11512"/>
                </a:lnTo>
                <a:lnTo>
                  <a:pt x="2021" y="11464"/>
                </a:lnTo>
                <a:lnTo>
                  <a:pt x="1966" y="11413"/>
                </a:lnTo>
                <a:lnTo>
                  <a:pt x="1915" y="11361"/>
                </a:lnTo>
                <a:lnTo>
                  <a:pt x="1869" y="11308"/>
                </a:lnTo>
                <a:lnTo>
                  <a:pt x="1827" y="11254"/>
                </a:lnTo>
                <a:lnTo>
                  <a:pt x="1788" y="11199"/>
                </a:lnTo>
                <a:lnTo>
                  <a:pt x="1753" y="11143"/>
                </a:lnTo>
                <a:lnTo>
                  <a:pt x="1721" y="11088"/>
                </a:lnTo>
                <a:lnTo>
                  <a:pt x="1693" y="11033"/>
                </a:lnTo>
                <a:lnTo>
                  <a:pt x="1668" y="10979"/>
                </a:lnTo>
                <a:lnTo>
                  <a:pt x="1646" y="10925"/>
                </a:lnTo>
                <a:lnTo>
                  <a:pt x="1627" y="10872"/>
                </a:lnTo>
                <a:lnTo>
                  <a:pt x="1610" y="10822"/>
                </a:lnTo>
                <a:lnTo>
                  <a:pt x="1595" y="10774"/>
                </a:lnTo>
                <a:lnTo>
                  <a:pt x="1583" y="10728"/>
                </a:lnTo>
                <a:lnTo>
                  <a:pt x="1573" y="10685"/>
                </a:lnTo>
                <a:lnTo>
                  <a:pt x="1564" y="10644"/>
                </a:lnTo>
                <a:lnTo>
                  <a:pt x="1558" y="10608"/>
                </a:lnTo>
                <a:lnTo>
                  <a:pt x="1552" y="10574"/>
                </a:lnTo>
                <a:lnTo>
                  <a:pt x="1549" y="10545"/>
                </a:lnTo>
                <a:lnTo>
                  <a:pt x="1546" y="10520"/>
                </a:lnTo>
                <a:lnTo>
                  <a:pt x="1543" y="10485"/>
                </a:lnTo>
                <a:lnTo>
                  <a:pt x="1542" y="10472"/>
                </a:lnTo>
                <a:lnTo>
                  <a:pt x="1542" y="2378"/>
                </a:lnTo>
                <a:lnTo>
                  <a:pt x="4418" y="2378"/>
                </a:lnTo>
                <a:lnTo>
                  <a:pt x="4418" y="7284"/>
                </a:lnTo>
                <a:lnTo>
                  <a:pt x="4457" y="7226"/>
                </a:lnTo>
                <a:lnTo>
                  <a:pt x="4495" y="7169"/>
                </a:lnTo>
                <a:lnTo>
                  <a:pt x="4532" y="7112"/>
                </a:lnTo>
                <a:lnTo>
                  <a:pt x="4570" y="7055"/>
                </a:lnTo>
                <a:lnTo>
                  <a:pt x="4608" y="6998"/>
                </a:lnTo>
                <a:lnTo>
                  <a:pt x="4646" y="6941"/>
                </a:lnTo>
                <a:lnTo>
                  <a:pt x="4684" y="6885"/>
                </a:lnTo>
                <a:lnTo>
                  <a:pt x="4723" y="6829"/>
                </a:lnTo>
                <a:lnTo>
                  <a:pt x="4779" y="6748"/>
                </a:lnTo>
                <a:lnTo>
                  <a:pt x="4834" y="6666"/>
                </a:lnTo>
                <a:lnTo>
                  <a:pt x="4890" y="6587"/>
                </a:lnTo>
                <a:lnTo>
                  <a:pt x="4945" y="6508"/>
                </a:lnTo>
                <a:lnTo>
                  <a:pt x="5000" y="6430"/>
                </a:lnTo>
                <a:lnTo>
                  <a:pt x="5056" y="6353"/>
                </a:lnTo>
                <a:lnTo>
                  <a:pt x="5110" y="6277"/>
                </a:lnTo>
                <a:lnTo>
                  <a:pt x="5164" y="6201"/>
                </a:lnTo>
                <a:lnTo>
                  <a:pt x="5164" y="2378"/>
                </a:lnTo>
                <a:lnTo>
                  <a:pt x="5963" y="2378"/>
                </a:lnTo>
                <a:lnTo>
                  <a:pt x="5963" y="1502"/>
                </a:lnTo>
                <a:lnTo>
                  <a:pt x="5613" y="1502"/>
                </a:lnTo>
                <a:lnTo>
                  <a:pt x="5257" y="1502"/>
                </a:lnTo>
                <a:lnTo>
                  <a:pt x="4895" y="1502"/>
                </a:lnTo>
                <a:lnTo>
                  <a:pt x="4528" y="1502"/>
                </a:lnTo>
                <a:lnTo>
                  <a:pt x="4157" y="1502"/>
                </a:lnTo>
                <a:lnTo>
                  <a:pt x="3782" y="1502"/>
                </a:lnTo>
                <a:lnTo>
                  <a:pt x="3405" y="1502"/>
                </a:lnTo>
                <a:lnTo>
                  <a:pt x="3025" y="1502"/>
                </a:lnTo>
                <a:lnTo>
                  <a:pt x="2644" y="1502"/>
                </a:lnTo>
                <a:lnTo>
                  <a:pt x="2263" y="1502"/>
                </a:lnTo>
                <a:lnTo>
                  <a:pt x="1881" y="1502"/>
                </a:lnTo>
                <a:lnTo>
                  <a:pt x="1501" y="1502"/>
                </a:lnTo>
                <a:lnTo>
                  <a:pt x="1121" y="1502"/>
                </a:lnTo>
                <a:lnTo>
                  <a:pt x="744" y="1502"/>
                </a:lnTo>
                <a:lnTo>
                  <a:pt x="371" y="1502"/>
                </a:lnTo>
                <a:lnTo>
                  <a:pt x="0" y="1502"/>
                </a:lnTo>
                <a:close/>
                <a:moveTo>
                  <a:pt x="12688" y="0"/>
                </a:moveTo>
                <a:lnTo>
                  <a:pt x="6358" y="0"/>
                </a:lnTo>
                <a:lnTo>
                  <a:pt x="6358" y="879"/>
                </a:lnTo>
                <a:lnTo>
                  <a:pt x="7022" y="879"/>
                </a:lnTo>
                <a:lnTo>
                  <a:pt x="7020" y="1010"/>
                </a:lnTo>
                <a:lnTo>
                  <a:pt x="7019" y="1171"/>
                </a:lnTo>
                <a:lnTo>
                  <a:pt x="7017" y="1356"/>
                </a:lnTo>
                <a:lnTo>
                  <a:pt x="7015" y="1563"/>
                </a:lnTo>
                <a:lnTo>
                  <a:pt x="7013" y="1788"/>
                </a:lnTo>
                <a:lnTo>
                  <a:pt x="7012" y="2026"/>
                </a:lnTo>
                <a:lnTo>
                  <a:pt x="7010" y="2274"/>
                </a:lnTo>
                <a:lnTo>
                  <a:pt x="7009" y="2529"/>
                </a:lnTo>
                <a:lnTo>
                  <a:pt x="7009" y="2786"/>
                </a:lnTo>
                <a:lnTo>
                  <a:pt x="7009" y="3042"/>
                </a:lnTo>
                <a:lnTo>
                  <a:pt x="7009" y="3295"/>
                </a:lnTo>
                <a:lnTo>
                  <a:pt x="7011" y="3537"/>
                </a:lnTo>
                <a:lnTo>
                  <a:pt x="7013" y="3768"/>
                </a:lnTo>
                <a:lnTo>
                  <a:pt x="7015" y="3983"/>
                </a:lnTo>
                <a:lnTo>
                  <a:pt x="7019" y="4178"/>
                </a:lnTo>
                <a:lnTo>
                  <a:pt x="7024" y="4349"/>
                </a:lnTo>
                <a:lnTo>
                  <a:pt x="7022" y="4368"/>
                </a:lnTo>
                <a:lnTo>
                  <a:pt x="7018" y="4390"/>
                </a:lnTo>
                <a:lnTo>
                  <a:pt x="7011" y="4415"/>
                </a:lnTo>
                <a:lnTo>
                  <a:pt x="7002" y="4442"/>
                </a:lnTo>
                <a:lnTo>
                  <a:pt x="6990" y="4471"/>
                </a:lnTo>
                <a:lnTo>
                  <a:pt x="6976" y="4502"/>
                </a:lnTo>
                <a:lnTo>
                  <a:pt x="6959" y="4535"/>
                </a:lnTo>
                <a:lnTo>
                  <a:pt x="6941" y="4571"/>
                </a:lnTo>
                <a:lnTo>
                  <a:pt x="6921" y="4608"/>
                </a:lnTo>
                <a:lnTo>
                  <a:pt x="6899" y="4647"/>
                </a:lnTo>
                <a:lnTo>
                  <a:pt x="6875" y="4687"/>
                </a:lnTo>
                <a:lnTo>
                  <a:pt x="6850" y="4729"/>
                </a:lnTo>
                <a:lnTo>
                  <a:pt x="6793" y="4816"/>
                </a:lnTo>
                <a:lnTo>
                  <a:pt x="6733" y="4908"/>
                </a:lnTo>
                <a:lnTo>
                  <a:pt x="6668" y="5005"/>
                </a:lnTo>
                <a:lnTo>
                  <a:pt x="6600" y="5104"/>
                </a:lnTo>
                <a:lnTo>
                  <a:pt x="6528" y="5205"/>
                </a:lnTo>
                <a:lnTo>
                  <a:pt x="6455" y="5309"/>
                </a:lnTo>
                <a:lnTo>
                  <a:pt x="6381" y="5412"/>
                </a:lnTo>
                <a:lnTo>
                  <a:pt x="6306" y="5515"/>
                </a:lnTo>
                <a:lnTo>
                  <a:pt x="6231" y="5616"/>
                </a:lnTo>
                <a:lnTo>
                  <a:pt x="6158" y="5716"/>
                </a:lnTo>
                <a:lnTo>
                  <a:pt x="6113" y="5777"/>
                </a:lnTo>
                <a:lnTo>
                  <a:pt x="6068" y="5840"/>
                </a:lnTo>
                <a:lnTo>
                  <a:pt x="6021" y="5903"/>
                </a:lnTo>
                <a:lnTo>
                  <a:pt x="5975" y="5967"/>
                </a:lnTo>
                <a:lnTo>
                  <a:pt x="5928" y="6032"/>
                </a:lnTo>
                <a:lnTo>
                  <a:pt x="5880" y="6098"/>
                </a:lnTo>
                <a:lnTo>
                  <a:pt x="5832" y="6164"/>
                </a:lnTo>
                <a:lnTo>
                  <a:pt x="5784" y="6231"/>
                </a:lnTo>
                <a:lnTo>
                  <a:pt x="5736" y="6299"/>
                </a:lnTo>
                <a:lnTo>
                  <a:pt x="5687" y="6367"/>
                </a:lnTo>
                <a:lnTo>
                  <a:pt x="5637" y="6436"/>
                </a:lnTo>
                <a:lnTo>
                  <a:pt x="5588" y="6506"/>
                </a:lnTo>
                <a:lnTo>
                  <a:pt x="5539" y="6576"/>
                </a:lnTo>
                <a:lnTo>
                  <a:pt x="5490" y="6647"/>
                </a:lnTo>
                <a:lnTo>
                  <a:pt x="5441" y="6720"/>
                </a:lnTo>
                <a:lnTo>
                  <a:pt x="5392" y="6792"/>
                </a:lnTo>
                <a:lnTo>
                  <a:pt x="5319" y="6901"/>
                </a:lnTo>
                <a:lnTo>
                  <a:pt x="5246" y="7010"/>
                </a:lnTo>
                <a:lnTo>
                  <a:pt x="5173" y="7120"/>
                </a:lnTo>
                <a:lnTo>
                  <a:pt x="5100" y="7231"/>
                </a:lnTo>
                <a:lnTo>
                  <a:pt x="5027" y="7342"/>
                </a:lnTo>
                <a:lnTo>
                  <a:pt x="4956" y="7455"/>
                </a:lnTo>
                <a:lnTo>
                  <a:pt x="4885" y="7567"/>
                </a:lnTo>
                <a:lnTo>
                  <a:pt x="4815" y="7678"/>
                </a:lnTo>
                <a:lnTo>
                  <a:pt x="4677" y="7900"/>
                </a:lnTo>
                <a:lnTo>
                  <a:pt x="4542" y="8121"/>
                </a:lnTo>
                <a:lnTo>
                  <a:pt x="4411" y="8337"/>
                </a:lnTo>
                <a:lnTo>
                  <a:pt x="4285" y="8548"/>
                </a:lnTo>
                <a:lnTo>
                  <a:pt x="4165" y="8752"/>
                </a:lnTo>
                <a:lnTo>
                  <a:pt x="4050" y="8949"/>
                </a:lnTo>
                <a:lnTo>
                  <a:pt x="3942" y="9135"/>
                </a:lnTo>
                <a:lnTo>
                  <a:pt x="3841" y="9310"/>
                </a:lnTo>
                <a:lnTo>
                  <a:pt x="3748" y="9473"/>
                </a:lnTo>
                <a:lnTo>
                  <a:pt x="3663" y="9623"/>
                </a:lnTo>
                <a:lnTo>
                  <a:pt x="3588" y="9757"/>
                </a:lnTo>
                <a:lnTo>
                  <a:pt x="3522" y="9874"/>
                </a:lnTo>
                <a:lnTo>
                  <a:pt x="3437" y="10026"/>
                </a:lnTo>
                <a:lnTo>
                  <a:pt x="3406" y="10081"/>
                </a:lnTo>
                <a:lnTo>
                  <a:pt x="3378" y="10138"/>
                </a:lnTo>
                <a:lnTo>
                  <a:pt x="3352" y="10197"/>
                </a:lnTo>
                <a:lnTo>
                  <a:pt x="3327" y="10256"/>
                </a:lnTo>
                <a:lnTo>
                  <a:pt x="3305" y="10316"/>
                </a:lnTo>
                <a:lnTo>
                  <a:pt x="3284" y="10377"/>
                </a:lnTo>
                <a:lnTo>
                  <a:pt x="3264" y="10438"/>
                </a:lnTo>
                <a:lnTo>
                  <a:pt x="3247" y="10501"/>
                </a:lnTo>
                <a:lnTo>
                  <a:pt x="3233" y="10564"/>
                </a:lnTo>
                <a:lnTo>
                  <a:pt x="3220" y="10627"/>
                </a:lnTo>
                <a:lnTo>
                  <a:pt x="3209" y="10691"/>
                </a:lnTo>
                <a:lnTo>
                  <a:pt x="3200" y="10755"/>
                </a:lnTo>
                <a:lnTo>
                  <a:pt x="3193" y="10819"/>
                </a:lnTo>
                <a:lnTo>
                  <a:pt x="3187" y="10884"/>
                </a:lnTo>
                <a:lnTo>
                  <a:pt x="3184" y="10949"/>
                </a:lnTo>
                <a:lnTo>
                  <a:pt x="3183" y="11014"/>
                </a:lnTo>
                <a:lnTo>
                  <a:pt x="3183" y="11079"/>
                </a:lnTo>
                <a:lnTo>
                  <a:pt x="3186" y="11143"/>
                </a:lnTo>
                <a:lnTo>
                  <a:pt x="3191" y="11207"/>
                </a:lnTo>
                <a:lnTo>
                  <a:pt x="3197" y="11271"/>
                </a:lnTo>
                <a:lnTo>
                  <a:pt x="3205" y="11335"/>
                </a:lnTo>
                <a:lnTo>
                  <a:pt x="3216" y="11398"/>
                </a:lnTo>
                <a:lnTo>
                  <a:pt x="3228" y="11460"/>
                </a:lnTo>
                <a:lnTo>
                  <a:pt x="3242" y="11522"/>
                </a:lnTo>
                <a:lnTo>
                  <a:pt x="3258" y="11583"/>
                </a:lnTo>
                <a:lnTo>
                  <a:pt x="3277" y="11644"/>
                </a:lnTo>
                <a:lnTo>
                  <a:pt x="3297" y="11703"/>
                </a:lnTo>
                <a:lnTo>
                  <a:pt x="3319" y="11761"/>
                </a:lnTo>
                <a:lnTo>
                  <a:pt x="3343" y="11818"/>
                </a:lnTo>
                <a:lnTo>
                  <a:pt x="3369" y="11874"/>
                </a:lnTo>
                <a:lnTo>
                  <a:pt x="3397" y="11928"/>
                </a:lnTo>
                <a:lnTo>
                  <a:pt x="3427" y="11982"/>
                </a:lnTo>
                <a:lnTo>
                  <a:pt x="3450" y="12021"/>
                </a:lnTo>
                <a:lnTo>
                  <a:pt x="3475" y="12059"/>
                </a:lnTo>
                <a:lnTo>
                  <a:pt x="3500" y="12096"/>
                </a:lnTo>
                <a:lnTo>
                  <a:pt x="3526" y="12132"/>
                </a:lnTo>
                <a:lnTo>
                  <a:pt x="3553" y="12167"/>
                </a:lnTo>
                <a:lnTo>
                  <a:pt x="3581" y="12201"/>
                </a:lnTo>
                <a:lnTo>
                  <a:pt x="3610" y="12233"/>
                </a:lnTo>
                <a:lnTo>
                  <a:pt x="3639" y="12264"/>
                </a:lnTo>
                <a:lnTo>
                  <a:pt x="3669" y="12295"/>
                </a:lnTo>
                <a:lnTo>
                  <a:pt x="3700" y="12324"/>
                </a:lnTo>
                <a:lnTo>
                  <a:pt x="3732" y="12352"/>
                </a:lnTo>
                <a:lnTo>
                  <a:pt x="3764" y="12379"/>
                </a:lnTo>
                <a:lnTo>
                  <a:pt x="3797" y="12404"/>
                </a:lnTo>
                <a:lnTo>
                  <a:pt x="3831" y="12428"/>
                </a:lnTo>
                <a:lnTo>
                  <a:pt x="3867" y="12451"/>
                </a:lnTo>
                <a:lnTo>
                  <a:pt x="3902" y="12472"/>
                </a:lnTo>
                <a:lnTo>
                  <a:pt x="3938" y="12493"/>
                </a:lnTo>
                <a:lnTo>
                  <a:pt x="3974" y="12512"/>
                </a:lnTo>
                <a:lnTo>
                  <a:pt x="4012" y="12530"/>
                </a:lnTo>
                <a:lnTo>
                  <a:pt x="4049" y="12546"/>
                </a:lnTo>
                <a:lnTo>
                  <a:pt x="4088" y="12561"/>
                </a:lnTo>
                <a:lnTo>
                  <a:pt x="4127" y="12576"/>
                </a:lnTo>
                <a:lnTo>
                  <a:pt x="4166" y="12588"/>
                </a:lnTo>
                <a:lnTo>
                  <a:pt x="4206" y="12600"/>
                </a:lnTo>
                <a:lnTo>
                  <a:pt x="4247" y="12610"/>
                </a:lnTo>
                <a:lnTo>
                  <a:pt x="4288" y="12619"/>
                </a:lnTo>
                <a:lnTo>
                  <a:pt x="4330" y="12626"/>
                </a:lnTo>
                <a:lnTo>
                  <a:pt x="4372" y="12632"/>
                </a:lnTo>
                <a:lnTo>
                  <a:pt x="4415" y="12637"/>
                </a:lnTo>
                <a:lnTo>
                  <a:pt x="4459" y="12640"/>
                </a:lnTo>
                <a:lnTo>
                  <a:pt x="4503" y="12642"/>
                </a:lnTo>
                <a:lnTo>
                  <a:pt x="4547" y="12643"/>
                </a:lnTo>
                <a:lnTo>
                  <a:pt x="14664" y="12643"/>
                </a:lnTo>
                <a:lnTo>
                  <a:pt x="14708" y="12642"/>
                </a:lnTo>
                <a:lnTo>
                  <a:pt x="14752" y="12640"/>
                </a:lnTo>
                <a:lnTo>
                  <a:pt x="14795" y="12637"/>
                </a:lnTo>
                <a:lnTo>
                  <a:pt x="14837" y="12632"/>
                </a:lnTo>
                <a:lnTo>
                  <a:pt x="14880" y="12626"/>
                </a:lnTo>
                <a:lnTo>
                  <a:pt x="14921" y="12619"/>
                </a:lnTo>
                <a:lnTo>
                  <a:pt x="14962" y="12610"/>
                </a:lnTo>
                <a:lnTo>
                  <a:pt x="15003" y="12600"/>
                </a:lnTo>
                <a:lnTo>
                  <a:pt x="15043" y="12588"/>
                </a:lnTo>
                <a:lnTo>
                  <a:pt x="15082" y="12576"/>
                </a:lnTo>
                <a:lnTo>
                  <a:pt x="15121" y="12561"/>
                </a:lnTo>
                <a:lnTo>
                  <a:pt x="15161" y="12546"/>
                </a:lnTo>
                <a:lnTo>
                  <a:pt x="15198" y="12530"/>
                </a:lnTo>
                <a:lnTo>
                  <a:pt x="15235" y="12512"/>
                </a:lnTo>
                <a:lnTo>
                  <a:pt x="15272" y="12493"/>
                </a:lnTo>
                <a:lnTo>
                  <a:pt x="15308" y="12472"/>
                </a:lnTo>
                <a:lnTo>
                  <a:pt x="15343" y="12451"/>
                </a:lnTo>
                <a:lnTo>
                  <a:pt x="15377" y="12428"/>
                </a:lnTo>
                <a:lnTo>
                  <a:pt x="15411" y="12404"/>
                </a:lnTo>
                <a:lnTo>
                  <a:pt x="15444" y="12379"/>
                </a:lnTo>
                <a:lnTo>
                  <a:pt x="15477" y="12352"/>
                </a:lnTo>
                <a:lnTo>
                  <a:pt x="15508" y="12324"/>
                </a:lnTo>
                <a:lnTo>
                  <a:pt x="15539" y="12295"/>
                </a:lnTo>
                <a:lnTo>
                  <a:pt x="15570" y="12264"/>
                </a:lnTo>
                <a:lnTo>
                  <a:pt x="15599" y="12233"/>
                </a:lnTo>
                <a:lnTo>
                  <a:pt x="15628" y="12201"/>
                </a:lnTo>
                <a:lnTo>
                  <a:pt x="15656" y="12167"/>
                </a:lnTo>
                <a:lnTo>
                  <a:pt x="15683" y="12132"/>
                </a:lnTo>
                <a:lnTo>
                  <a:pt x="15709" y="12096"/>
                </a:lnTo>
                <a:lnTo>
                  <a:pt x="15736" y="12059"/>
                </a:lnTo>
                <a:lnTo>
                  <a:pt x="15760" y="12021"/>
                </a:lnTo>
                <a:lnTo>
                  <a:pt x="15784" y="11982"/>
                </a:lnTo>
                <a:lnTo>
                  <a:pt x="15814" y="11928"/>
                </a:lnTo>
                <a:lnTo>
                  <a:pt x="15842" y="11874"/>
                </a:lnTo>
                <a:lnTo>
                  <a:pt x="15867" y="11818"/>
                </a:lnTo>
                <a:lnTo>
                  <a:pt x="15891" y="11761"/>
                </a:lnTo>
                <a:lnTo>
                  <a:pt x="15913" y="11703"/>
                </a:lnTo>
                <a:lnTo>
                  <a:pt x="15933" y="11644"/>
                </a:lnTo>
                <a:lnTo>
                  <a:pt x="15951" y="11583"/>
                </a:lnTo>
                <a:lnTo>
                  <a:pt x="15968" y="11522"/>
                </a:lnTo>
                <a:lnTo>
                  <a:pt x="15982" y="11460"/>
                </a:lnTo>
                <a:lnTo>
                  <a:pt x="15994" y="11398"/>
                </a:lnTo>
                <a:lnTo>
                  <a:pt x="16004" y="11335"/>
                </a:lnTo>
                <a:lnTo>
                  <a:pt x="16013" y="11271"/>
                </a:lnTo>
                <a:lnTo>
                  <a:pt x="16019" y="11207"/>
                </a:lnTo>
                <a:lnTo>
                  <a:pt x="16024" y="11143"/>
                </a:lnTo>
                <a:lnTo>
                  <a:pt x="16026" y="11079"/>
                </a:lnTo>
                <a:lnTo>
                  <a:pt x="16027" y="11014"/>
                </a:lnTo>
                <a:lnTo>
                  <a:pt x="16026" y="10949"/>
                </a:lnTo>
                <a:lnTo>
                  <a:pt x="16022" y="10884"/>
                </a:lnTo>
                <a:lnTo>
                  <a:pt x="16017" y="10819"/>
                </a:lnTo>
                <a:lnTo>
                  <a:pt x="16010" y="10755"/>
                </a:lnTo>
                <a:lnTo>
                  <a:pt x="16001" y="10691"/>
                </a:lnTo>
                <a:lnTo>
                  <a:pt x="15990" y="10627"/>
                </a:lnTo>
                <a:lnTo>
                  <a:pt x="15977" y="10564"/>
                </a:lnTo>
                <a:lnTo>
                  <a:pt x="15962" y="10501"/>
                </a:lnTo>
                <a:lnTo>
                  <a:pt x="15946" y="10438"/>
                </a:lnTo>
                <a:lnTo>
                  <a:pt x="15927" y="10377"/>
                </a:lnTo>
                <a:lnTo>
                  <a:pt x="15906" y="10316"/>
                </a:lnTo>
                <a:lnTo>
                  <a:pt x="15884" y="10256"/>
                </a:lnTo>
                <a:lnTo>
                  <a:pt x="15859" y="10197"/>
                </a:lnTo>
                <a:lnTo>
                  <a:pt x="15833" y="10138"/>
                </a:lnTo>
                <a:lnTo>
                  <a:pt x="15805" y="10081"/>
                </a:lnTo>
                <a:lnTo>
                  <a:pt x="15774" y="10026"/>
                </a:lnTo>
                <a:lnTo>
                  <a:pt x="15688" y="9872"/>
                </a:lnTo>
                <a:lnTo>
                  <a:pt x="15622" y="9755"/>
                </a:lnTo>
                <a:lnTo>
                  <a:pt x="15546" y="9622"/>
                </a:lnTo>
                <a:lnTo>
                  <a:pt x="15462" y="9472"/>
                </a:lnTo>
                <a:lnTo>
                  <a:pt x="15369" y="9309"/>
                </a:lnTo>
                <a:lnTo>
                  <a:pt x="15268" y="9134"/>
                </a:lnTo>
                <a:lnTo>
                  <a:pt x="15160" y="8948"/>
                </a:lnTo>
                <a:lnTo>
                  <a:pt x="15045" y="8751"/>
                </a:lnTo>
                <a:lnTo>
                  <a:pt x="14925" y="8547"/>
                </a:lnTo>
                <a:lnTo>
                  <a:pt x="14799" y="8337"/>
                </a:lnTo>
                <a:lnTo>
                  <a:pt x="14669" y="8121"/>
                </a:lnTo>
                <a:lnTo>
                  <a:pt x="14533" y="7900"/>
                </a:lnTo>
                <a:lnTo>
                  <a:pt x="14395" y="7677"/>
                </a:lnTo>
                <a:lnTo>
                  <a:pt x="14325" y="7565"/>
                </a:lnTo>
                <a:lnTo>
                  <a:pt x="14254" y="7453"/>
                </a:lnTo>
                <a:lnTo>
                  <a:pt x="14182" y="7341"/>
                </a:lnTo>
                <a:lnTo>
                  <a:pt x="14110" y="7229"/>
                </a:lnTo>
                <a:lnTo>
                  <a:pt x="14038" y="7118"/>
                </a:lnTo>
                <a:lnTo>
                  <a:pt x="13965" y="7008"/>
                </a:lnTo>
                <a:lnTo>
                  <a:pt x="13891" y="6898"/>
                </a:lnTo>
                <a:lnTo>
                  <a:pt x="13817" y="6790"/>
                </a:lnTo>
                <a:lnTo>
                  <a:pt x="13768" y="6718"/>
                </a:lnTo>
                <a:lnTo>
                  <a:pt x="13719" y="6646"/>
                </a:lnTo>
                <a:lnTo>
                  <a:pt x="13670" y="6575"/>
                </a:lnTo>
                <a:lnTo>
                  <a:pt x="13621" y="6505"/>
                </a:lnTo>
                <a:lnTo>
                  <a:pt x="13572" y="6435"/>
                </a:lnTo>
                <a:lnTo>
                  <a:pt x="13524" y="6367"/>
                </a:lnTo>
                <a:lnTo>
                  <a:pt x="13475" y="6298"/>
                </a:lnTo>
                <a:lnTo>
                  <a:pt x="13427" y="6231"/>
                </a:lnTo>
                <a:lnTo>
                  <a:pt x="13378" y="6164"/>
                </a:lnTo>
                <a:lnTo>
                  <a:pt x="13330" y="6098"/>
                </a:lnTo>
                <a:lnTo>
                  <a:pt x="13282" y="6032"/>
                </a:lnTo>
                <a:lnTo>
                  <a:pt x="13235" y="5967"/>
                </a:lnTo>
                <a:lnTo>
                  <a:pt x="13188" y="5903"/>
                </a:lnTo>
                <a:lnTo>
                  <a:pt x="13142" y="5840"/>
                </a:lnTo>
                <a:lnTo>
                  <a:pt x="13096" y="5777"/>
                </a:lnTo>
                <a:lnTo>
                  <a:pt x="13051" y="5716"/>
                </a:lnTo>
                <a:lnTo>
                  <a:pt x="12978" y="5616"/>
                </a:lnTo>
                <a:lnTo>
                  <a:pt x="12904" y="5515"/>
                </a:lnTo>
                <a:lnTo>
                  <a:pt x="12830" y="5412"/>
                </a:lnTo>
                <a:lnTo>
                  <a:pt x="12755" y="5309"/>
                </a:lnTo>
                <a:lnTo>
                  <a:pt x="12681" y="5205"/>
                </a:lnTo>
                <a:lnTo>
                  <a:pt x="12610" y="5104"/>
                </a:lnTo>
                <a:lnTo>
                  <a:pt x="12542" y="5005"/>
                </a:lnTo>
                <a:lnTo>
                  <a:pt x="12477" y="4908"/>
                </a:lnTo>
                <a:lnTo>
                  <a:pt x="12416" y="4816"/>
                </a:lnTo>
                <a:lnTo>
                  <a:pt x="12361" y="4729"/>
                </a:lnTo>
                <a:lnTo>
                  <a:pt x="12336" y="4687"/>
                </a:lnTo>
                <a:lnTo>
                  <a:pt x="12312" y="4647"/>
                </a:lnTo>
                <a:lnTo>
                  <a:pt x="12290" y="4608"/>
                </a:lnTo>
                <a:lnTo>
                  <a:pt x="12270" y="4571"/>
                </a:lnTo>
                <a:lnTo>
                  <a:pt x="12251" y="4535"/>
                </a:lnTo>
                <a:lnTo>
                  <a:pt x="12235" y="4502"/>
                </a:lnTo>
                <a:lnTo>
                  <a:pt x="12221" y="4471"/>
                </a:lnTo>
                <a:lnTo>
                  <a:pt x="12209" y="4442"/>
                </a:lnTo>
                <a:lnTo>
                  <a:pt x="12200" y="4415"/>
                </a:lnTo>
                <a:lnTo>
                  <a:pt x="12193" y="4390"/>
                </a:lnTo>
                <a:lnTo>
                  <a:pt x="12188" y="4368"/>
                </a:lnTo>
                <a:lnTo>
                  <a:pt x="12186" y="4349"/>
                </a:lnTo>
                <a:lnTo>
                  <a:pt x="12191" y="4178"/>
                </a:lnTo>
                <a:lnTo>
                  <a:pt x="12195" y="3983"/>
                </a:lnTo>
                <a:lnTo>
                  <a:pt x="12198" y="3768"/>
                </a:lnTo>
                <a:lnTo>
                  <a:pt x="12200" y="3537"/>
                </a:lnTo>
                <a:lnTo>
                  <a:pt x="12201" y="3295"/>
                </a:lnTo>
                <a:lnTo>
                  <a:pt x="12202" y="3042"/>
                </a:lnTo>
                <a:lnTo>
                  <a:pt x="12202" y="2786"/>
                </a:lnTo>
                <a:lnTo>
                  <a:pt x="12201" y="2529"/>
                </a:lnTo>
                <a:lnTo>
                  <a:pt x="12200" y="2273"/>
                </a:lnTo>
                <a:lnTo>
                  <a:pt x="12199" y="2025"/>
                </a:lnTo>
                <a:lnTo>
                  <a:pt x="12198" y="1787"/>
                </a:lnTo>
                <a:lnTo>
                  <a:pt x="12196" y="1562"/>
                </a:lnTo>
                <a:lnTo>
                  <a:pt x="12194" y="1355"/>
                </a:lnTo>
                <a:lnTo>
                  <a:pt x="12192" y="1170"/>
                </a:lnTo>
                <a:lnTo>
                  <a:pt x="12190" y="1008"/>
                </a:lnTo>
                <a:lnTo>
                  <a:pt x="12189" y="876"/>
                </a:lnTo>
                <a:lnTo>
                  <a:pt x="12688" y="876"/>
                </a:lnTo>
                <a:lnTo>
                  <a:pt x="12688" y="0"/>
                </a:lnTo>
                <a:close/>
                <a:moveTo>
                  <a:pt x="7752" y="4325"/>
                </a:moveTo>
                <a:lnTo>
                  <a:pt x="7747" y="4170"/>
                </a:lnTo>
                <a:lnTo>
                  <a:pt x="7744" y="3991"/>
                </a:lnTo>
                <a:lnTo>
                  <a:pt x="7741" y="3791"/>
                </a:lnTo>
                <a:lnTo>
                  <a:pt x="7739" y="3574"/>
                </a:lnTo>
                <a:lnTo>
                  <a:pt x="7737" y="3343"/>
                </a:lnTo>
                <a:lnTo>
                  <a:pt x="7737" y="3101"/>
                </a:lnTo>
                <a:lnTo>
                  <a:pt x="7736" y="2853"/>
                </a:lnTo>
                <a:lnTo>
                  <a:pt x="7737" y="2602"/>
                </a:lnTo>
                <a:lnTo>
                  <a:pt x="7737" y="2350"/>
                </a:lnTo>
                <a:lnTo>
                  <a:pt x="7738" y="2102"/>
                </a:lnTo>
                <a:lnTo>
                  <a:pt x="7740" y="1860"/>
                </a:lnTo>
                <a:lnTo>
                  <a:pt x="7741" y="1629"/>
                </a:lnTo>
                <a:lnTo>
                  <a:pt x="7743" y="1411"/>
                </a:lnTo>
                <a:lnTo>
                  <a:pt x="7744" y="1212"/>
                </a:lnTo>
                <a:lnTo>
                  <a:pt x="7746" y="1031"/>
                </a:lnTo>
                <a:lnTo>
                  <a:pt x="7747" y="876"/>
                </a:lnTo>
                <a:lnTo>
                  <a:pt x="11463" y="876"/>
                </a:lnTo>
                <a:lnTo>
                  <a:pt x="11464" y="1032"/>
                </a:lnTo>
                <a:lnTo>
                  <a:pt x="11466" y="1212"/>
                </a:lnTo>
                <a:lnTo>
                  <a:pt x="11467" y="1412"/>
                </a:lnTo>
                <a:lnTo>
                  <a:pt x="11469" y="1630"/>
                </a:lnTo>
                <a:lnTo>
                  <a:pt x="11470" y="1861"/>
                </a:lnTo>
                <a:lnTo>
                  <a:pt x="11471" y="2103"/>
                </a:lnTo>
                <a:lnTo>
                  <a:pt x="11473" y="2351"/>
                </a:lnTo>
                <a:lnTo>
                  <a:pt x="11473" y="2603"/>
                </a:lnTo>
                <a:lnTo>
                  <a:pt x="11474" y="2854"/>
                </a:lnTo>
                <a:lnTo>
                  <a:pt x="11474" y="3102"/>
                </a:lnTo>
                <a:lnTo>
                  <a:pt x="11473" y="3344"/>
                </a:lnTo>
                <a:lnTo>
                  <a:pt x="11472" y="3574"/>
                </a:lnTo>
                <a:lnTo>
                  <a:pt x="11470" y="3791"/>
                </a:lnTo>
                <a:lnTo>
                  <a:pt x="11468" y="3991"/>
                </a:lnTo>
                <a:lnTo>
                  <a:pt x="11464" y="4170"/>
                </a:lnTo>
                <a:lnTo>
                  <a:pt x="11460" y="4325"/>
                </a:lnTo>
                <a:lnTo>
                  <a:pt x="11460" y="4364"/>
                </a:lnTo>
                <a:lnTo>
                  <a:pt x="11462" y="4403"/>
                </a:lnTo>
                <a:lnTo>
                  <a:pt x="11466" y="4443"/>
                </a:lnTo>
                <a:lnTo>
                  <a:pt x="11472" y="4483"/>
                </a:lnTo>
                <a:lnTo>
                  <a:pt x="11480" y="4525"/>
                </a:lnTo>
                <a:lnTo>
                  <a:pt x="11490" y="4568"/>
                </a:lnTo>
                <a:lnTo>
                  <a:pt x="11502" y="4611"/>
                </a:lnTo>
                <a:lnTo>
                  <a:pt x="11517" y="4655"/>
                </a:lnTo>
                <a:lnTo>
                  <a:pt x="11533" y="4700"/>
                </a:lnTo>
                <a:lnTo>
                  <a:pt x="11552" y="4746"/>
                </a:lnTo>
                <a:lnTo>
                  <a:pt x="11572" y="4793"/>
                </a:lnTo>
                <a:lnTo>
                  <a:pt x="11596" y="4841"/>
                </a:lnTo>
                <a:lnTo>
                  <a:pt x="11621" y="4890"/>
                </a:lnTo>
                <a:lnTo>
                  <a:pt x="11647" y="4941"/>
                </a:lnTo>
                <a:lnTo>
                  <a:pt x="11676" y="4993"/>
                </a:lnTo>
                <a:lnTo>
                  <a:pt x="11707" y="5046"/>
                </a:lnTo>
                <a:lnTo>
                  <a:pt x="11739" y="5101"/>
                </a:lnTo>
                <a:lnTo>
                  <a:pt x="11774" y="5158"/>
                </a:lnTo>
                <a:lnTo>
                  <a:pt x="11811" y="5216"/>
                </a:lnTo>
                <a:lnTo>
                  <a:pt x="11849" y="5277"/>
                </a:lnTo>
                <a:lnTo>
                  <a:pt x="11890" y="5338"/>
                </a:lnTo>
                <a:lnTo>
                  <a:pt x="11933" y="5401"/>
                </a:lnTo>
                <a:lnTo>
                  <a:pt x="11977" y="5466"/>
                </a:lnTo>
                <a:lnTo>
                  <a:pt x="12024" y="5533"/>
                </a:lnTo>
                <a:lnTo>
                  <a:pt x="12122" y="5673"/>
                </a:lnTo>
                <a:lnTo>
                  <a:pt x="12230" y="5821"/>
                </a:lnTo>
                <a:lnTo>
                  <a:pt x="12344" y="5979"/>
                </a:lnTo>
                <a:lnTo>
                  <a:pt x="12465" y="6145"/>
                </a:lnTo>
                <a:lnTo>
                  <a:pt x="12509" y="6206"/>
                </a:lnTo>
                <a:lnTo>
                  <a:pt x="12554" y="6267"/>
                </a:lnTo>
                <a:lnTo>
                  <a:pt x="12600" y="6329"/>
                </a:lnTo>
                <a:lnTo>
                  <a:pt x="12645" y="6392"/>
                </a:lnTo>
                <a:lnTo>
                  <a:pt x="12692" y="6455"/>
                </a:lnTo>
                <a:lnTo>
                  <a:pt x="12738" y="6519"/>
                </a:lnTo>
                <a:lnTo>
                  <a:pt x="12786" y="6584"/>
                </a:lnTo>
                <a:lnTo>
                  <a:pt x="12833" y="6650"/>
                </a:lnTo>
                <a:lnTo>
                  <a:pt x="12881" y="6717"/>
                </a:lnTo>
                <a:lnTo>
                  <a:pt x="12929" y="6784"/>
                </a:lnTo>
                <a:lnTo>
                  <a:pt x="12976" y="6851"/>
                </a:lnTo>
                <a:lnTo>
                  <a:pt x="13024" y="6919"/>
                </a:lnTo>
                <a:lnTo>
                  <a:pt x="13073" y="6988"/>
                </a:lnTo>
                <a:lnTo>
                  <a:pt x="13121" y="7058"/>
                </a:lnTo>
                <a:lnTo>
                  <a:pt x="13169" y="7128"/>
                </a:lnTo>
                <a:lnTo>
                  <a:pt x="13217" y="7198"/>
                </a:lnTo>
                <a:lnTo>
                  <a:pt x="13289" y="7304"/>
                </a:lnTo>
                <a:lnTo>
                  <a:pt x="13361" y="7413"/>
                </a:lnTo>
                <a:lnTo>
                  <a:pt x="13433" y="7520"/>
                </a:lnTo>
                <a:lnTo>
                  <a:pt x="13504" y="7629"/>
                </a:lnTo>
                <a:lnTo>
                  <a:pt x="13574" y="7738"/>
                </a:lnTo>
                <a:lnTo>
                  <a:pt x="13644" y="7848"/>
                </a:lnTo>
                <a:lnTo>
                  <a:pt x="13714" y="7957"/>
                </a:lnTo>
                <a:lnTo>
                  <a:pt x="13782" y="8067"/>
                </a:lnTo>
                <a:lnTo>
                  <a:pt x="13918" y="8286"/>
                </a:lnTo>
                <a:lnTo>
                  <a:pt x="14051" y="8502"/>
                </a:lnTo>
                <a:lnTo>
                  <a:pt x="14179" y="8714"/>
                </a:lnTo>
                <a:lnTo>
                  <a:pt x="14302" y="8922"/>
                </a:lnTo>
                <a:lnTo>
                  <a:pt x="14421" y="9123"/>
                </a:lnTo>
                <a:lnTo>
                  <a:pt x="14533" y="9316"/>
                </a:lnTo>
                <a:lnTo>
                  <a:pt x="14640" y="9500"/>
                </a:lnTo>
                <a:lnTo>
                  <a:pt x="14739" y="9673"/>
                </a:lnTo>
                <a:lnTo>
                  <a:pt x="14830" y="9833"/>
                </a:lnTo>
                <a:lnTo>
                  <a:pt x="14913" y="9980"/>
                </a:lnTo>
                <a:lnTo>
                  <a:pt x="14988" y="10112"/>
                </a:lnTo>
                <a:lnTo>
                  <a:pt x="15053" y="10228"/>
                </a:lnTo>
                <a:lnTo>
                  <a:pt x="15140" y="10384"/>
                </a:lnTo>
                <a:lnTo>
                  <a:pt x="15159" y="10419"/>
                </a:lnTo>
                <a:lnTo>
                  <a:pt x="15176" y="10454"/>
                </a:lnTo>
                <a:lnTo>
                  <a:pt x="15193" y="10490"/>
                </a:lnTo>
                <a:lnTo>
                  <a:pt x="15208" y="10527"/>
                </a:lnTo>
                <a:lnTo>
                  <a:pt x="15222" y="10565"/>
                </a:lnTo>
                <a:lnTo>
                  <a:pt x="15235" y="10603"/>
                </a:lnTo>
                <a:lnTo>
                  <a:pt x="15247" y="10642"/>
                </a:lnTo>
                <a:lnTo>
                  <a:pt x="15258" y="10682"/>
                </a:lnTo>
                <a:lnTo>
                  <a:pt x="15267" y="10722"/>
                </a:lnTo>
                <a:lnTo>
                  <a:pt x="15275" y="10762"/>
                </a:lnTo>
                <a:lnTo>
                  <a:pt x="15282" y="10803"/>
                </a:lnTo>
                <a:lnTo>
                  <a:pt x="15288" y="10844"/>
                </a:lnTo>
                <a:lnTo>
                  <a:pt x="15293" y="10885"/>
                </a:lnTo>
                <a:lnTo>
                  <a:pt x="15296" y="10927"/>
                </a:lnTo>
                <a:lnTo>
                  <a:pt x="15299" y="10969"/>
                </a:lnTo>
                <a:lnTo>
                  <a:pt x="15300" y="11010"/>
                </a:lnTo>
                <a:lnTo>
                  <a:pt x="15300" y="11051"/>
                </a:lnTo>
                <a:lnTo>
                  <a:pt x="15298" y="11092"/>
                </a:lnTo>
                <a:lnTo>
                  <a:pt x="15296" y="11133"/>
                </a:lnTo>
                <a:lnTo>
                  <a:pt x="15292" y="11174"/>
                </a:lnTo>
                <a:lnTo>
                  <a:pt x="15287" y="11214"/>
                </a:lnTo>
                <a:lnTo>
                  <a:pt x="15281" y="11254"/>
                </a:lnTo>
                <a:lnTo>
                  <a:pt x="15274" y="11293"/>
                </a:lnTo>
                <a:lnTo>
                  <a:pt x="15266" y="11332"/>
                </a:lnTo>
                <a:lnTo>
                  <a:pt x="15256" y="11371"/>
                </a:lnTo>
                <a:lnTo>
                  <a:pt x="15246" y="11408"/>
                </a:lnTo>
                <a:lnTo>
                  <a:pt x="15234" y="11445"/>
                </a:lnTo>
                <a:lnTo>
                  <a:pt x="15221" y="11481"/>
                </a:lnTo>
                <a:lnTo>
                  <a:pt x="15206" y="11516"/>
                </a:lnTo>
                <a:lnTo>
                  <a:pt x="15191" y="11551"/>
                </a:lnTo>
                <a:lnTo>
                  <a:pt x="15174" y="11584"/>
                </a:lnTo>
                <a:lnTo>
                  <a:pt x="15157" y="11617"/>
                </a:lnTo>
                <a:lnTo>
                  <a:pt x="15146" y="11636"/>
                </a:lnTo>
                <a:lnTo>
                  <a:pt x="15133" y="11653"/>
                </a:lnTo>
                <a:lnTo>
                  <a:pt x="15121" y="11670"/>
                </a:lnTo>
                <a:lnTo>
                  <a:pt x="15109" y="11687"/>
                </a:lnTo>
                <a:lnTo>
                  <a:pt x="15097" y="11703"/>
                </a:lnTo>
                <a:lnTo>
                  <a:pt x="15085" y="11718"/>
                </a:lnTo>
                <a:lnTo>
                  <a:pt x="15072" y="11733"/>
                </a:lnTo>
                <a:lnTo>
                  <a:pt x="15059" y="11747"/>
                </a:lnTo>
                <a:lnTo>
                  <a:pt x="15046" y="11761"/>
                </a:lnTo>
                <a:lnTo>
                  <a:pt x="15032" y="11774"/>
                </a:lnTo>
                <a:lnTo>
                  <a:pt x="15018" y="11787"/>
                </a:lnTo>
                <a:lnTo>
                  <a:pt x="15004" y="11798"/>
                </a:lnTo>
                <a:lnTo>
                  <a:pt x="14989" y="11810"/>
                </a:lnTo>
                <a:lnTo>
                  <a:pt x="14975" y="11821"/>
                </a:lnTo>
                <a:lnTo>
                  <a:pt x="14960" y="11831"/>
                </a:lnTo>
                <a:lnTo>
                  <a:pt x="14944" y="11840"/>
                </a:lnTo>
                <a:lnTo>
                  <a:pt x="14929" y="11849"/>
                </a:lnTo>
                <a:lnTo>
                  <a:pt x="14913" y="11858"/>
                </a:lnTo>
                <a:lnTo>
                  <a:pt x="14897" y="11866"/>
                </a:lnTo>
                <a:lnTo>
                  <a:pt x="14880" y="11873"/>
                </a:lnTo>
                <a:lnTo>
                  <a:pt x="14864" y="11880"/>
                </a:lnTo>
                <a:lnTo>
                  <a:pt x="14847" y="11886"/>
                </a:lnTo>
                <a:lnTo>
                  <a:pt x="14830" y="11892"/>
                </a:lnTo>
                <a:lnTo>
                  <a:pt x="14812" y="11897"/>
                </a:lnTo>
                <a:lnTo>
                  <a:pt x="14794" y="11901"/>
                </a:lnTo>
                <a:lnTo>
                  <a:pt x="14776" y="11905"/>
                </a:lnTo>
                <a:lnTo>
                  <a:pt x="14758" y="11908"/>
                </a:lnTo>
                <a:lnTo>
                  <a:pt x="14739" y="11911"/>
                </a:lnTo>
                <a:lnTo>
                  <a:pt x="14720" y="11913"/>
                </a:lnTo>
                <a:lnTo>
                  <a:pt x="14701" y="11914"/>
                </a:lnTo>
                <a:lnTo>
                  <a:pt x="14681" y="11915"/>
                </a:lnTo>
                <a:lnTo>
                  <a:pt x="14661" y="11915"/>
                </a:lnTo>
                <a:lnTo>
                  <a:pt x="4549" y="11915"/>
                </a:lnTo>
                <a:lnTo>
                  <a:pt x="4530" y="11915"/>
                </a:lnTo>
                <a:lnTo>
                  <a:pt x="4510" y="11914"/>
                </a:lnTo>
                <a:lnTo>
                  <a:pt x="4491" y="11913"/>
                </a:lnTo>
                <a:lnTo>
                  <a:pt x="4472" y="11911"/>
                </a:lnTo>
                <a:lnTo>
                  <a:pt x="4454" y="11908"/>
                </a:lnTo>
                <a:lnTo>
                  <a:pt x="4434" y="11905"/>
                </a:lnTo>
                <a:lnTo>
                  <a:pt x="4416" y="11901"/>
                </a:lnTo>
                <a:lnTo>
                  <a:pt x="4399" y="11897"/>
                </a:lnTo>
                <a:lnTo>
                  <a:pt x="4381" y="11892"/>
                </a:lnTo>
                <a:lnTo>
                  <a:pt x="4364" y="11886"/>
                </a:lnTo>
                <a:lnTo>
                  <a:pt x="4347" y="11880"/>
                </a:lnTo>
                <a:lnTo>
                  <a:pt x="4330" y="11873"/>
                </a:lnTo>
                <a:lnTo>
                  <a:pt x="4314" y="11866"/>
                </a:lnTo>
                <a:lnTo>
                  <a:pt x="4298" y="11858"/>
                </a:lnTo>
                <a:lnTo>
                  <a:pt x="4282" y="11849"/>
                </a:lnTo>
                <a:lnTo>
                  <a:pt x="4266" y="11840"/>
                </a:lnTo>
                <a:lnTo>
                  <a:pt x="4251" y="11831"/>
                </a:lnTo>
                <a:lnTo>
                  <a:pt x="4236" y="11821"/>
                </a:lnTo>
                <a:lnTo>
                  <a:pt x="4221" y="11810"/>
                </a:lnTo>
                <a:lnTo>
                  <a:pt x="4207" y="11798"/>
                </a:lnTo>
                <a:lnTo>
                  <a:pt x="4193" y="11787"/>
                </a:lnTo>
                <a:lnTo>
                  <a:pt x="4179" y="11774"/>
                </a:lnTo>
                <a:lnTo>
                  <a:pt x="4165" y="11761"/>
                </a:lnTo>
                <a:lnTo>
                  <a:pt x="4152" y="11747"/>
                </a:lnTo>
                <a:lnTo>
                  <a:pt x="4139" y="11733"/>
                </a:lnTo>
                <a:lnTo>
                  <a:pt x="4126" y="11718"/>
                </a:lnTo>
                <a:lnTo>
                  <a:pt x="4114" y="11703"/>
                </a:lnTo>
                <a:lnTo>
                  <a:pt x="4102" y="11687"/>
                </a:lnTo>
                <a:lnTo>
                  <a:pt x="4090" y="11670"/>
                </a:lnTo>
                <a:lnTo>
                  <a:pt x="4079" y="11653"/>
                </a:lnTo>
                <a:lnTo>
                  <a:pt x="4067" y="11636"/>
                </a:lnTo>
                <a:lnTo>
                  <a:pt x="4056" y="11617"/>
                </a:lnTo>
                <a:lnTo>
                  <a:pt x="4038" y="11584"/>
                </a:lnTo>
                <a:lnTo>
                  <a:pt x="4022" y="11551"/>
                </a:lnTo>
                <a:lnTo>
                  <a:pt x="4006" y="11516"/>
                </a:lnTo>
                <a:lnTo>
                  <a:pt x="3992" y="11481"/>
                </a:lnTo>
                <a:lnTo>
                  <a:pt x="3978" y="11445"/>
                </a:lnTo>
                <a:lnTo>
                  <a:pt x="3966" y="11408"/>
                </a:lnTo>
                <a:lnTo>
                  <a:pt x="3956" y="11371"/>
                </a:lnTo>
                <a:lnTo>
                  <a:pt x="3946" y="11332"/>
                </a:lnTo>
                <a:lnTo>
                  <a:pt x="3938" y="11293"/>
                </a:lnTo>
                <a:lnTo>
                  <a:pt x="3930" y="11254"/>
                </a:lnTo>
                <a:lnTo>
                  <a:pt x="3924" y="11214"/>
                </a:lnTo>
                <a:lnTo>
                  <a:pt x="3920" y="11174"/>
                </a:lnTo>
                <a:lnTo>
                  <a:pt x="3916" y="11133"/>
                </a:lnTo>
                <a:lnTo>
                  <a:pt x="3914" y="11092"/>
                </a:lnTo>
                <a:lnTo>
                  <a:pt x="3912" y="11051"/>
                </a:lnTo>
                <a:lnTo>
                  <a:pt x="3912" y="11010"/>
                </a:lnTo>
                <a:lnTo>
                  <a:pt x="3913" y="10969"/>
                </a:lnTo>
                <a:lnTo>
                  <a:pt x="3916" y="10927"/>
                </a:lnTo>
                <a:lnTo>
                  <a:pt x="3919" y="10885"/>
                </a:lnTo>
                <a:lnTo>
                  <a:pt x="3924" y="10844"/>
                </a:lnTo>
                <a:lnTo>
                  <a:pt x="3929" y="10803"/>
                </a:lnTo>
                <a:lnTo>
                  <a:pt x="3936" y="10762"/>
                </a:lnTo>
                <a:lnTo>
                  <a:pt x="3945" y="10722"/>
                </a:lnTo>
                <a:lnTo>
                  <a:pt x="3954" y="10682"/>
                </a:lnTo>
                <a:lnTo>
                  <a:pt x="3965" y="10642"/>
                </a:lnTo>
                <a:lnTo>
                  <a:pt x="3976" y="10603"/>
                </a:lnTo>
                <a:lnTo>
                  <a:pt x="3989" y="10565"/>
                </a:lnTo>
                <a:lnTo>
                  <a:pt x="4003" y="10527"/>
                </a:lnTo>
                <a:lnTo>
                  <a:pt x="4018" y="10490"/>
                </a:lnTo>
                <a:lnTo>
                  <a:pt x="4035" y="10454"/>
                </a:lnTo>
                <a:lnTo>
                  <a:pt x="4052" y="10419"/>
                </a:lnTo>
                <a:lnTo>
                  <a:pt x="4071" y="10384"/>
                </a:lnTo>
                <a:lnTo>
                  <a:pt x="4157" y="10228"/>
                </a:lnTo>
                <a:lnTo>
                  <a:pt x="4222" y="10112"/>
                </a:lnTo>
                <a:lnTo>
                  <a:pt x="4296" y="9980"/>
                </a:lnTo>
                <a:lnTo>
                  <a:pt x="4379" y="9833"/>
                </a:lnTo>
                <a:lnTo>
                  <a:pt x="4472" y="9673"/>
                </a:lnTo>
                <a:lnTo>
                  <a:pt x="4571" y="9500"/>
                </a:lnTo>
                <a:lnTo>
                  <a:pt x="4677" y="9316"/>
                </a:lnTo>
                <a:lnTo>
                  <a:pt x="4789" y="9123"/>
                </a:lnTo>
                <a:lnTo>
                  <a:pt x="4907" y="8922"/>
                </a:lnTo>
                <a:lnTo>
                  <a:pt x="5030" y="8714"/>
                </a:lnTo>
                <a:lnTo>
                  <a:pt x="5159" y="8502"/>
                </a:lnTo>
                <a:lnTo>
                  <a:pt x="5292" y="8286"/>
                </a:lnTo>
                <a:lnTo>
                  <a:pt x="5427" y="8067"/>
                </a:lnTo>
                <a:lnTo>
                  <a:pt x="5496" y="7957"/>
                </a:lnTo>
                <a:lnTo>
                  <a:pt x="5565" y="7848"/>
                </a:lnTo>
                <a:lnTo>
                  <a:pt x="5635" y="7738"/>
                </a:lnTo>
                <a:lnTo>
                  <a:pt x="5707" y="7629"/>
                </a:lnTo>
                <a:lnTo>
                  <a:pt x="5778" y="7520"/>
                </a:lnTo>
                <a:lnTo>
                  <a:pt x="5849" y="7413"/>
                </a:lnTo>
                <a:lnTo>
                  <a:pt x="5921" y="7304"/>
                </a:lnTo>
                <a:lnTo>
                  <a:pt x="5992" y="7198"/>
                </a:lnTo>
                <a:lnTo>
                  <a:pt x="6041" y="7128"/>
                </a:lnTo>
                <a:lnTo>
                  <a:pt x="6089" y="7058"/>
                </a:lnTo>
                <a:lnTo>
                  <a:pt x="6137" y="6988"/>
                </a:lnTo>
                <a:lnTo>
                  <a:pt x="6185" y="6919"/>
                </a:lnTo>
                <a:lnTo>
                  <a:pt x="6234" y="6851"/>
                </a:lnTo>
                <a:lnTo>
                  <a:pt x="6282" y="6784"/>
                </a:lnTo>
                <a:lnTo>
                  <a:pt x="6330" y="6717"/>
                </a:lnTo>
                <a:lnTo>
                  <a:pt x="6377" y="6650"/>
                </a:lnTo>
                <a:lnTo>
                  <a:pt x="6424" y="6584"/>
                </a:lnTo>
                <a:lnTo>
                  <a:pt x="6471" y="6519"/>
                </a:lnTo>
                <a:lnTo>
                  <a:pt x="6518" y="6455"/>
                </a:lnTo>
                <a:lnTo>
                  <a:pt x="6564" y="6392"/>
                </a:lnTo>
                <a:lnTo>
                  <a:pt x="6610" y="6329"/>
                </a:lnTo>
                <a:lnTo>
                  <a:pt x="6655" y="6267"/>
                </a:lnTo>
                <a:lnTo>
                  <a:pt x="6700" y="6206"/>
                </a:lnTo>
                <a:lnTo>
                  <a:pt x="6745" y="6145"/>
                </a:lnTo>
                <a:lnTo>
                  <a:pt x="6867" y="5979"/>
                </a:lnTo>
                <a:lnTo>
                  <a:pt x="6982" y="5821"/>
                </a:lnTo>
                <a:lnTo>
                  <a:pt x="7088" y="5673"/>
                </a:lnTo>
                <a:lnTo>
                  <a:pt x="7187" y="5533"/>
                </a:lnTo>
                <a:lnTo>
                  <a:pt x="7234" y="5466"/>
                </a:lnTo>
                <a:lnTo>
                  <a:pt x="7278" y="5401"/>
                </a:lnTo>
                <a:lnTo>
                  <a:pt x="7321" y="5338"/>
                </a:lnTo>
                <a:lnTo>
                  <a:pt x="7361" y="5277"/>
                </a:lnTo>
                <a:lnTo>
                  <a:pt x="7400" y="5216"/>
                </a:lnTo>
                <a:lnTo>
                  <a:pt x="7438" y="5158"/>
                </a:lnTo>
                <a:lnTo>
                  <a:pt x="7472" y="5101"/>
                </a:lnTo>
                <a:lnTo>
                  <a:pt x="7505" y="5046"/>
                </a:lnTo>
                <a:lnTo>
                  <a:pt x="7536" y="4993"/>
                </a:lnTo>
                <a:lnTo>
                  <a:pt x="7564" y="4941"/>
                </a:lnTo>
                <a:lnTo>
                  <a:pt x="7591" y="4890"/>
                </a:lnTo>
                <a:lnTo>
                  <a:pt x="7616" y="4841"/>
                </a:lnTo>
                <a:lnTo>
                  <a:pt x="7638" y="4793"/>
                </a:lnTo>
                <a:lnTo>
                  <a:pt x="7659" y="4746"/>
                </a:lnTo>
                <a:lnTo>
                  <a:pt x="7678" y="4700"/>
                </a:lnTo>
                <a:lnTo>
                  <a:pt x="7694" y="4655"/>
                </a:lnTo>
                <a:lnTo>
                  <a:pt x="7709" y="4611"/>
                </a:lnTo>
                <a:lnTo>
                  <a:pt x="7721" y="4568"/>
                </a:lnTo>
                <a:lnTo>
                  <a:pt x="7731" y="4525"/>
                </a:lnTo>
                <a:lnTo>
                  <a:pt x="7740" y="4483"/>
                </a:lnTo>
                <a:lnTo>
                  <a:pt x="7746" y="4443"/>
                </a:lnTo>
                <a:lnTo>
                  <a:pt x="7750" y="4403"/>
                </a:lnTo>
                <a:lnTo>
                  <a:pt x="7752" y="4364"/>
                </a:lnTo>
                <a:lnTo>
                  <a:pt x="7752" y="4325"/>
                </a:lnTo>
                <a:close/>
                <a:moveTo>
                  <a:pt x="13149" y="8222"/>
                </a:moveTo>
                <a:lnTo>
                  <a:pt x="6060" y="8222"/>
                </a:lnTo>
                <a:lnTo>
                  <a:pt x="5971" y="8364"/>
                </a:lnTo>
                <a:lnTo>
                  <a:pt x="5882" y="8505"/>
                </a:lnTo>
                <a:lnTo>
                  <a:pt x="5794" y="8648"/>
                </a:lnTo>
                <a:lnTo>
                  <a:pt x="5707" y="8792"/>
                </a:lnTo>
                <a:lnTo>
                  <a:pt x="5620" y="8935"/>
                </a:lnTo>
                <a:lnTo>
                  <a:pt x="5534" y="9078"/>
                </a:lnTo>
                <a:lnTo>
                  <a:pt x="5448" y="9222"/>
                </a:lnTo>
                <a:lnTo>
                  <a:pt x="5363" y="9366"/>
                </a:lnTo>
                <a:lnTo>
                  <a:pt x="5279" y="9511"/>
                </a:lnTo>
                <a:lnTo>
                  <a:pt x="5195" y="9656"/>
                </a:lnTo>
                <a:lnTo>
                  <a:pt x="5112" y="9800"/>
                </a:lnTo>
                <a:lnTo>
                  <a:pt x="5028" y="9945"/>
                </a:lnTo>
                <a:lnTo>
                  <a:pt x="4945" y="10090"/>
                </a:lnTo>
                <a:lnTo>
                  <a:pt x="4863" y="10235"/>
                </a:lnTo>
                <a:lnTo>
                  <a:pt x="4781" y="10380"/>
                </a:lnTo>
                <a:lnTo>
                  <a:pt x="4699" y="10525"/>
                </a:lnTo>
                <a:lnTo>
                  <a:pt x="4609" y="10689"/>
                </a:lnTo>
                <a:lnTo>
                  <a:pt x="4601" y="10704"/>
                </a:lnTo>
                <a:lnTo>
                  <a:pt x="4593" y="10719"/>
                </a:lnTo>
                <a:lnTo>
                  <a:pt x="4586" y="10736"/>
                </a:lnTo>
                <a:lnTo>
                  <a:pt x="4579" y="10753"/>
                </a:lnTo>
                <a:lnTo>
                  <a:pt x="4573" y="10770"/>
                </a:lnTo>
                <a:lnTo>
                  <a:pt x="4567" y="10789"/>
                </a:lnTo>
                <a:lnTo>
                  <a:pt x="4561" y="10807"/>
                </a:lnTo>
                <a:lnTo>
                  <a:pt x="4556" y="10826"/>
                </a:lnTo>
                <a:lnTo>
                  <a:pt x="4551" y="10846"/>
                </a:lnTo>
                <a:lnTo>
                  <a:pt x="4547" y="10866"/>
                </a:lnTo>
                <a:lnTo>
                  <a:pt x="4543" y="10886"/>
                </a:lnTo>
                <a:lnTo>
                  <a:pt x="4540" y="10908"/>
                </a:lnTo>
                <a:lnTo>
                  <a:pt x="4537" y="10928"/>
                </a:lnTo>
                <a:lnTo>
                  <a:pt x="4535" y="10949"/>
                </a:lnTo>
                <a:lnTo>
                  <a:pt x="4533" y="10970"/>
                </a:lnTo>
                <a:lnTo>
                  <a:pt x="4532" y="10991"/>
                </a:lnTo>
                <a:lnTo>
                  <a:pt x="4531" y="11012"/>
                </a:lnTo>
                <a:lnTo>
                  <a:pt x="4531" y="11033"/>
                </a:lnTo>
                <a:lnTo>
                  <a:pt x="4531" y="11054"/>
                </a:lnTo>
                <a:lnTo>
                  <a:pt x="4532" y="11075"/>
                </a:lnTo>
                <a:lnTo>
                  <a:pt x="4533" y="11096"/>
                </a:lnTo>
                <a:lnTo>
                  <a:pt x="4535" y="11116"/>
                </a:lnTo>
                <a:lnTo>
                  <a:pt x="4537" y="11136"/>
                </a:lnTo>
                <a:lnTo>
                  <a:pt x="4540" y="11156"/>
                </a:lnTo>
                <a:lnTo>
                  <a:pt x="4544" y="11176"/>
                </a:lnTo>
                <a:lnTo>
                  <a:pt x="4548" y="11195"/>
                </a:lnTo>
                <a:lnTo>
                  <a:pt x="4553" y="11213"/>
                </a:lnTo>
                <a:lnTo>
                  <a:pt x="4558" y="11231"/>
                </a:lnTo>
                <a:lnTo>
                  <a:pt x="4564" y="11249"/>
                </a:lnTo>
                <a:lnTo>
                  <a:pt x="4571" y="11265"/>
                </a:lnTo>
                <a:lnTo>
                  <a:pt x="4578" y="11281"/>
                </a:lnTo>
                <a:lnTo>
                  <a:pt x="4586" y="11297"/>
                </a:lnTo>
                <a:lnTo>
                  <a:pt x="14627" y="11297"/>
                </a:lnTo>
                <a:lnTo>
                  <a:pt x="14635" y="11282"/>
                </a:lnTo>
                <a:lnTo>
                  <a:pt x="14642" y="11266"/>
                </a:lnTo>
                <a:lnTo>
                  <a:pt x="14649" y="11249"/>
                </a:lnTo>
                <a:lnTo>
                  <a:pt x="14655" y="11231"/>
                </a:lnTo>
                <a:lnTo>
                  <a:pt x="14660" y="11213"/>
                </a:lnTo>
                <a:lnTo>
                  <a:pt x="14665" y="11195"/>
                </a:lnTo>
                <a:lnTo>
                  <a:pt x="14669" y="11176"/>
                </a:lnTo>
                <a:lnTo>
                  <a:pt x="14672" y="11157"/>
                </a:lnTo>
                <a:lnTo>
                  <a:pt x="14675" y="11137"/>
                </a:lnTo>
                <a:lnTo>
                  <a:pt x="14678" y="11117"/>
                </a:lnTo>
                <a:lnTo>
                  <a:pt x="14679" y="11096"/>
                </a:lnTo>
                <a:lnTo>
                  <a:pt x="14681" y="11076"/>
                </a:lnTo>
                <a:lnTo>
                  <a:pt x="14681" y="11055"/>
                </a:lnTo>
                <a:lnTo>
                  <a:pt x="14681" y="11034"/>
                </a:lnTo>
                <a:lnTo>
                  <a:pt x="14681" y="11013"/>
                </a:lnTo>
                <a:lnTo>
                  <a:pt x="14680" y="10991"/>
                </a:lnTo>
                <a:lnTo>
                  <a:pt x="14679" y="10970"/>
                </a:lnTo>
                <a:lnTo>
                  <a:pt x="14677" y="10949"/>
                </a:lnTo>
                <a:lnTo>
                  <a:pt x="14674" y="10928"/>
                </a:lnTo>
                <a:lnTo>
                  <a:pt x="14671" y="10907"/>
                </a:lnTo>
                <a:lnTo>
                  <a:pt x="14668" y="10885"/>
                </a:lnTo>
                <a:lnTo>
                  <a:pt x="14664" y="10865"/>
                </a:lnTo>
                <a:lnTo>
                  <a:pt x="14659" y="10844"/>
                </a:lnTo>
                <a:lnTo>
                  <a:pt x="14654" y="10824"/>
                </a:lnTo>
                <a:lnTo>
                  <a:pt x="14649" y="10805"/>
                </a:lnTo>
                <a:lnTo>
                  <a:pt x="14643" y="10786"/>
                </a:lnTo>
                <a:lnTo>
                  <a:pt x="14636" y="10767"/>
                </a:lnTo>
                <a:lnTo>
                  <a:pt x="14629" y="10749"/>
                </a:lnTo>
                <a:lnTo>
                  <a:pt x="14622" y="10731"/>
                </a:lnTo>
                <a:lnTo>
                  <a:pt x="14614" y="10714"/>
                </a:lnTo>
                <a:lnTo>
                  <a:pt x="14606" y="10698"/>
                </a:lnTo>
                <a:lnTo>
                  <a:pt x="14598" y="10682"/>
                </a:lnTo>
                <a:lnTo>
                  <a:pt x="14514" y="10531"/>
                </a:lnTo>
                <a:lnTo>
                  <a:pt x="14432" y="10386"/>
                </a:lnTo>
                <a:lnTo>
                  <a:pt x="14349" y="10240"/>
                </a:lnTo>
                <a:lnTo>
                  <a:pt x="14267" y="10094"/>
                </a:lnTo>
                <a:lnTo>
                  <a:pt x="14184" y="9948"/>
                </a:lnTo>
                <a:lnTo>
                  <a:pt x="14100" y="9803"/>
                </a:lnTo>
                <a:lnTo>
                  <a:pt x="14017" y="9658"/>
                </a:lnTo>
                <a:lnTo>
                  <a:pt x="13932" y="9513"/>
                </a:lnTo>
                <a:lnTo>
                  <a:pt x="13847" y="9368"/>
                </a:lnTo>
                <a:lnTo>
                  <a:pt x="13762" y="9223"/>
                </a:lnTo>
                <a:lnTo>
                  <a:pt x="13676" y="9079"/>
                </a:lnTo>
                <a:lnTo>
                  <a:pt x="13590" y="8935"/>
                </a:lnTo>
                <a:lnTo>
                  <a:pt x="13504" y="8792"/>
                </a:lnTo>
                <a:lnTo>
                  <a:pt x="13416" y="8648"/>
                </a:lnTo>
                <a:lnTo>
                  <a:pt x="13327" y="8506"/>
                </a:lnTo>
                <a:lnTo>
                  <a:pt x="13239" y="8364"/>
                </a:lnTo>
                <a:lnTo>
                  <a:pt x="13149" y="8222"/>
                </a:lnTo>
                <a:close/>
                <a:moveTo>
                  <a:pt x="2162" y="10516"/>
                </a:moveTo>
                <a:lnTo>
                  <a:pt x="2162" y="10537"/>
                </a:lnTo>
                <a:lnTo>
                  <a:pt x="2165" y="10563"/>
                </a:lnTo>
                <a:lnTo>
                  <a:pt x="2169" y="10594"/>
                </a:lnTo>
                <a:lnTo>
                  <a:pt x="2175" y="10628"/>
                </a:lnTo>
                <a:lnTo>
                  <a:pt x="2184" y="10667"/>
                </a:lnTo>
                <a:lnTo>
                  <a:pt x="2196" y="10708"/>
                </a:lnTo>
                <a:lnTo>
                  <a:pt x="2203" y="10729"/>
                </a:lnTo>
                <a:lnTo>
                  <a:pt x="2210" y="10751"/>
                </a:lnTo>
                <a:lnTo>
                  <a:pt x="2219" y="10774"/>
                </a:lnTo>
                <a:lnTo>
                  <a:pt x="2228" y="10797"/>
                </a:lnTo>
                <a:lnTo>
                  <a:pt x="2238" y="10820"/>
                </a:lnTo>
                <a:lnTo>
                  <a:pt x="2249" y="10843"/>
                </a:lnTo>
                <a:lnTo>
                  <a:pt x="2262" y="10867"/>
                </a:lnTo>
                <a:lnTo>
                  <a:pt x="2275" y="10891"/>
                </a:lnTo>
                <a:lnTo>
                  <a:pt x="2289" y="10915"/>
                </a:lnTo>
                <a:lnTo>
                  <a:pt x="2304" y="10938"/>
                </a:lnTo>
                <a:lnTo>
                  <a:pt x="2320" y="10962"/>
                </a:lnTo>
                <a:lnTo>
                  <a:pt x="2338" y="10985"/>
                </a:lnTo>
                <a:lnTo>
                  <a:pt x="2356" y="11008"/>
                </a:lnTo>
                <a:lnTo>
                  <a:pt x="2376" y="11030"/>
                </a:lnTo>
                <a:lnTo>
                  <a:pt x="2397" y="11052"/>
                </a:lnTo>
                <a:lnTo>
                  <a:pt x="2419" y="11074"/>
                </a:lnTo>
                <a:lnTo>
                  <a:pt x="2443" y="11095"/>
                </a:lnTo>
                <a:lnTo>
                  <a:pt x="2468" y="11115"/>
                </a:lnTo>
                <a:lnTo>
                  <a:pt x="2494" y="11134"/>
                </a:lnTo>
                <a:lnTo>
                  <a:pt x="2522" y="11153"/>
                </a:lnTo>
                <a:lnTo>
                  <a:pt x="2521" y="11118"/>
                </a:lnTo>
                <a:lnTo>
                  <a:pt x="2520" y="11083"/>
                </a:lnTo>
                <a:lnTo>
                  <a:pt x="2520" y="11047"/>
                </a:lnTo>
                <a:lnTo>
                  <a:pt x="2520" y="11012"/>
                </a:lnTo>
                <a:lnTo>
                  <a:pt x="2521" y="10976"/>
                </a:lnTo>
                <a:lnTo>
                  <a:pt x="2523" y="10941"/>
                </a:lnTo>
                <a:lnTo>
                  <a:pt x="2525" y="10905"/>
                </a:lnTo>
                <a:lnTo>
                  <a:pt x="2527" y="10869"/>
                </a:lnTo>
                <a:lnTo>
                  <a:pt x="2531" y="10833"/>
                </a:lnTo>
                <a:lnTo>
                  <a:pt x="2535" y="10798"/>
                </a:lnTo>
                <a:lnTo>
                  <a:pt x="2539" y="10763"/>
                </a:lnTo>
                <a:lnTo>
                  <a:pt x="2544" y="10728"/>
                </a:lnTo>
                <a:lnTo>
                  <a:pt x="2550" y="10692"/>
                </a:lnTo>
                <a:lnTo>
                  <a:pt x="2556" y="10658"/>
                </a:lnTo>
                <a:lnTo>
                  <a:pt x="2563" y="10623"/>
                </a:lnTo>
                <a:lnTo>
                  <a:pt x="2570" y="10588"/>
                </a:lnTo>
                <a:lnTo>
                  <a:pt x="2578" y="10553"/>
                </a:lnTo>
                <a:lnTo>
                  <a:pt x="2587" y="10519"/>
                </a:lnTo>
                <a:lnTo>
                  <a:pt x="2596" y="10485"/>
                </a:lnTo>
                <a:lnTo>
                  <a:pt x="2606" y="10451"/>
                </a:lnTo>
                <a:lnTo>
                  <a:pt x="2616" y="10417"/>
                </a:lnTo>
                <a:lnTo>
                  <a:pt x="2627" y="10384"/>
                </a:lnTo>
                <a:lnTo>
                  <a:pt x="2638" y="10350"/>
                </a:lnTo>
                <a:lnTo>
                  <a:pt x="2650" y="10317"/>
                </a:lnTo>
                <a:lnTo>
                  <a:pt x="2663" y="10284"/>
                </a:lnTo>
                <a:lnTo>
                  <a:pt x="2677" y="10252"/>
                </a:lnTo>
                <a:lnTo>
                  <a:pt x="2691" y="10220"/>
                </a:lnTo>
                <a:lnTo>
                  <a:pt x="2706" y="10188"/>
                </a:lnTo>
                <a:lnTo>
                  <a:pt x="2721" y="10155"/>
                </a:lnTo>
                <a:lnTo>
                  <a:pt x="2737" y="10124"/>
                </a:lnTo>
                <a:lnTo>
                  <a:pt x="2753" y="10093"/>
                </a:lnTo>
                <a:lnTo>
                  <a:pt x="2770" y="10062"/>
                </a:lnTo>
                <a:lnTo>
                  <a:pt x="2856" y="9911"/>
                </a:lnTo>
                <a:lnTo>
                  <a:pt x="2893" y="9844"/>
                </a:lnTo>
                <a:lnTo>
                  <a:pt x="2934" y="9771"/>
                </a:lnTo>
                <a:lnTo>
                  <a:pt x="2978" y="9692"/>
                </a:lnTo>
                <a:lnTo>
                  <a:pt x="3026" y="9608"/>
                </a:lnTo>
                <a:lnTo>
                  <a:pt x="3077" y="9518"/>
                </a:lnTo>
                <a:lnTo>
                  <a:pt x="3130" y="9423"/>
                </a:lnTo>
                <a:lnTo>
                  <a:pt x="3187" y="9324"/>
                </a:lnTo>
                <a:lnTo>
                  <a:pt x="3246" y="9220"/>
                </a:lnTo>
                <a:lnTo>
                  <a:pt x="3309" y="9113"/>
                </a:lnTo>
                <a:lnTo>
                  <a:pt x="3373" y="9002"/>
                </a:lnTo>
                <a:lnTo>
                  <a:pt x="3439" y="8888"/>
                </a:lnTo>
                <a:lnTo>
                  <a:pt x="3508" y="8770"/>
                </a:lnTo>
                <a:lnTo>
                  <a:pt x="3578" y="8650"/>
                </a:lnTo>
                <a:lnTo>
                  <a:pt x="3651" y="8528"/>
                </a:lnTo>
                <a:lnTo>
                  <a:pt x="3725" y="8403"/>
                </a:lnTo>
                <a:lnTo>
                  <a:pt x="3801" y="8277"/>
                </a:lnTo>
                <a:lnTo>
                  <a:pt x="3801" y="6358"/>
                </a:lnTo>
                <a:lnTo>
                  <a:pt x="2162" y="6358"/>
                </a:lnTo>
                <a:lnTo>
                  <a:pt x="2162" y="105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1" name="microskop"/>
          <p:cNvSpPr>
            <a:spLocks noEditPoints="1"/>
          </p:cNvSpPr>
          <p:nvPr/>
        </p:nvSpPr>
        <p:spPr bwMode="auto">
          <a:xfrm>
            <a:off x="4139952" y="2420888"/>
            <a:ext cx="212725" cy="297656"/>
          </a:xfrm>
          <a:custGeom>
            <a:avLst/>
            <a:gdLst>
              <a:gd name="T0" fmla="*/ 7665 w 11524"/>
              <a:gd name="T1" fmla="*/ 3865 h 16125"/>
              <a:gd name="T2" fmla="*/ 7232 w 11524"/>
              <a:gd name="T3" fmla="*/ 3514 h 16125"/>
              <a:gd name="T4" fmla="*/ 10168 w 11524"/>
              <a:gd name="T5" fmla="*/ 11727 h 16125"/>
              <a:gd name="T6" fmla="*/ 5110 w 11524"/>
              <a:gd name="T7" fmla="*/ 8328 h 16125"/>
              <a:gd name="T8" fmla="*/ 5612 w 11524"/>
              <a:gd name="T9" fmla="*/ 8409 h 16125"/>
              <a:gd name="T10" fmla="*/ 6177 w 11524"/>
              <a:gd name="T11" fmla="*/ 8386 h 16125"/>
              <a:gd name="T12" fmla="*/ 5329 w 11524"/>
              <a:gd name="T13" fmla="*/ 3124 h 16125"/>
              <a:gd name="T14" fmla="*/ 4880 w 11524"/>
              <a:gd name="T15" fmla="*/ 3244 h 16125"/>
              <a:gd name="T16" fmla="*/ 4465 w 11524"/>
              <a:gd name="T17" fmla="*/ 3438 h 16125"/>
              <a:gd name="T18" fmla="*/ 4093 w 11524"/>
              <a:gd name="T19" fmla="*/ 3696 h 16125"/>
              <a:gd name="T20" fmla="*/ 3774 w 11524"/>
              <a:gd name="T21" fmla="*/ 4006 h 16125"/>
              <a:gd name="T22" fmla="*/ 3446 w 11524"/>
              <a:gd name="T23" fmla="*/ 4480 h 16125"/>
              <a:gd name="T24" fmla="*/ 3227 w 11524"/>
              <a:gd name="T25" fmla="*/ 5020 h 16125"/>
              <a:gd name="T26" fmla="*/ 3129 w 11524"/>
              <a:gd name="T27" fmla="*/ 5613 h 16125"/>
              <a:gd name="T28" fmla="*/ 3140 w 11524"/>
              <a:gd name="T29" fmla="*/ 6023 h 16125"/>
              <a:gd name="T30" fmla="*/ 7160 w 11524"/>
              <a:gd name="T31" fmla="*/ 617 h 16125"/>
              <a:gd name="T32" fmla="*/ 8804 w 11524"/>
              <a:gd name="T33" fmla="*/ 6062 h 16125"/>
              <a:gd name="T34" fmla="*/ 6104 w 11524"/>
              <a:gd name="T35" fmla="*/ 4980 h 16125"/>
              <a:gd name="T36" fmla="*/ 6401 w 11524"/>
              <a:gd name="T37" fmla="*/ 5190 h 16125"/>
              <a:gd name="T38" fmla="*/ 6582 w 11524"/>
              <a:gd name="T39" fmla="*/ 5508 h 16125"/>
              <a:gd name="T40" fmla="*/ 6610 w 11524"/>
              <a:gd name="T41" fmla="*/ 5889 h 16125"/>
              <a:gd name="T42" fmla="*/ 6476 w 11524"/>
              <a:gd name="T43" fmla="*/ 6232 h 16125"/>
              <a:gd name="T44" fmla="*/ 6214 w 11524"/>
              <a:gd name="T45" fmla="*/ 6483 h 16125"/>
              <a:gd name="T46" fmla="*/ 5863 w 11524"/>
              <a:gd name="T47" fmla="*/ 6601 h 16125"/>
              <a:gd name="T48" fmla="*/ 5485 w 11524"/>
              <a:gd name="T49" fmla="*/ 6555 h 16125"/>
              <a:gd name="T50" fmla="*/ 5179 w 11524"/>
              <a:gd name="T51" fmla="*/ 6357 h 16125"/>
              <a:gd name="T52" fmla="*/ 4982 w 11524"/>
              <a:gd name="T53" fmla="*/ 6050 h 16125"/>
              <a:gd name="T54" fmla="*/ 4935 w 11524"/>
              <a:gd name="T55" fmla="*/ 5673 h 16125"/>
              <a:gd name="T56" fmla="*/ 5054 w 11524"/>
              <a:gd name="T57" fmla="*/ 5321 h 16125"/>
              <a:gd name="T58" fmla="*/ 5303 w 11524"/>
              <a:gd name="T59" fmla="*/ 5058 h 16125"/>
              <a:gd name="T60" fmla="*/ 5647 w 11524"/>
              <a:gd name="T61" fmla="*/ 4923 h 16125"/>
              <a:gd name="T62" fmla="*/ 6763 w 11524"/>
              <a:gd name="T63" fmla="*/ 4504 h 16125"/>
              <a:gd name="T64" fmla="*/ 6472 w 11524"/>
              <a:gd name="T65" fmla="*/ 4323 h 16125"/>
              <a:gd name="T66" fmla="*/ 6143 w 11524"/>
              <a:gd name="T67" fmla="*/ 4207 h 16125"/>
              <a:gd name="T68" fmla="*/ 5786 w 11524"/>
              <a:gd name="T69" fmla="*/ 4166 h 16125"/>
              <a:gd name="T70" fmla="*/ 5428 w 11524"/>
              <a:gd name="T71" fmla="*/ 4207 h 16125"/>
              <a:gd name="T72" fmla="*/ 5100 w 11524"/>
              <a:gd name="T73" fmla="*/ 4323 h 16125"/>
              <a:gd name="T74" fmla="*/ 4809 w 11524"/>
              <a:gd name="T75" fmla="*/ 4504 h 16125"/>
              <a:gd name="T76" fmla="*/ 4591 w 11524"/>
              <a:gd name="T77" fmla="*/ 4714 h 16125"/>
              <a:gd name="T78" fmla="*/ 4396 w 11524"/>
              <a:gd name="T79" fmla="*/ 4995 h 16125"/>
              <a:gd name="T80" fmla="*/ 4265 w 11524"/>
              <a:gd name="T81" fmla="*/ 5316 h 16125"/>
              <a:gd name="T82" fmla="*/ 4208 w 11524"/>
              <a:gd name="T83" fmla="*/ 5668 h 16125"/>
              <a:gd name="T84" fmla="*/ 4230 w 11524"/>
              <a:gd name="T85" fmla="*/ 6030 h 16125"/>
              <a:gd name="T86" fmla="*/ 4330 w 11524"/>
              <a:gd name="T87" fmla="*/ 6366 h 16125"/>
              <a:gd name="T88" fmla="*/ 4497 w 11524"/>
              <a:gd name="T89" fmla="*/ 6667 h 16125"/>
              <a:gd name="T90" fmla="*/ 4695 w 11524"/>
              <a:gd name="T91" fmla="*/ 6897 h 16125"/>
              <a:gd name="T92" fmla="*/ 4965 w 11524"/>
              <a:gd name="T93" fmla="*/ 7104 h 16125"/>
              <a:gd name="T94" fmla="*/ 5278 w 11524"/>
              <a:gd name="T95" fmla="*/ 7250 h 16125"/>
              <a:gd name="T96" fmla="*/ 5624 w 11524"/>
              <a:gd name="T97" fmla="*/ 7325 h 16125"/>
              <a:gd name="T98" fmla="*/ 5987 w 11524"/>
              <a:gd name="T99" fmla="*/ 7321 h 16125"/>
              <a:gd name="T100" fmla="*/ 6330 w 11524"/>
              <a:gd name="T101" fmla="*/ 7237 h 16125"/>
              <a:gd name="T102" fmla="*/ 6639 w 11524"/>
              <a:gd name="T103" fmla="*/ 7084 h 16125"/>
              <a:gd name="T104" fmla="*/ 6905 w 11524"/>
              <a:gd name="T105" fmla="*/ 6870 h 16125"/>
              <a:gd name="T106" fmla="*/ 7097 w 11524"/>
              <a:gd name="T107" fmla="*/ 6635 h 16125"/>
              <a:gd name="T108" fmla="*/ 7257 w 11524"/>
              <a:gd name="T109" fmla="*/ 6330 h 16125"/>
              <a:gd name="T110" fmla="*/ 7348 w 11524"/>
              <a:gd name="T111" fmla="*/ 5991 h 16125"/>
              <a:gd name="T112" fmla="*/ 7361 w 11524"/>
              <a:gd name="T113" fmla="*/ 5628 h 16125"/>
              <a:gd name="T114" fmla="*/ 7295 w 11524"/>
              <a:gd name="T115" fmla="*/ 5279 h 16125"/>
              <a:gd name="T116" fmla="*/ 7157 w 11524"/>
              <a:gd name="T117" fmla="*/ 4961 h 16125"/>
              <a:gd name="T118" fmla="*/ 6956 w 11524"/>
              <a:gd name="T119" fmla="*/ 4685 h 16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524" h="16125">
                <a:moveTo>
                  <a:pt x="7232" y="3514"/>
                </a:moveTo>
                <a:lnTo>
                  <a:pt x="7290" y="3554"/>
                </a:lnTo>
                <a:lnTo>
                  <a:pt x="7347" y="3594"/>
                </a:lnTo>
                <a:lnTo>
                  <a:pt x="7404" y="3635"/>
                </a:lnTo>
                <a:lnTo>
                  <a:pt x="7458" y="3679"/>
                </a:lnTo>
                <a:lnTo>
                  <a:pt x="7511" y="3724"/>
                </a:lnTo>
                <a:lnTo>
                  <a:pt x="7564" y="3769"/>
                </a:lnTo>
                <a:lnTo>
                  <a:pt x="7615" y="3817"/>
                </a:lnTo>
                <a:lnTo>
                  <a:pt x="7665" y="3865"/>
                </a:lnTo>
                <a:lnTo>
                  <a:pt x="7667" y="3865"/>
                </a:lnTo>
                <a:lnTo>
                  <a:pt x="7617" y="3817"/>
                </a:lnTo>
                <a:lnTo>
                  <a:pt x="7566" y="3769"/>
                </a:lnTo>
                <a:lnTo>
                  <a:pt x="7512" y="3723"/>
                </a:lnTo>
                <a:lnTo>
                  <a:pt x="7459" y="3679"/>
                </a:lnTo>
                <a:lnTo>
                  <a:pt x="7404" y="3635"/>
                </a:lnTo>
                <a:lnTo>
                  <a:pt x="7347" y="3593"/>
                </a:lnTo>
                <a:lnTo>
                  <a:pt x="7290" y="3553"/>
                </a:lnTo>
                <a:lnTo>
                  <a:pt x="7232" y="3514"/>
                </a:lnTo>
                <a:close/>
                <a:moveTo>
                  <a:pt x="3144" y="6061"/>
                </a:moveTo>
                <a:lnTo>
                  <a:pt x="1094" y="8114"/>
                </a:lnTo>
                <a:lnTo>
                  <a:pt x="1094" y="12713"/>
                </a:lnTo>
                <a:lnTo>
                  <a:pt x="0" y="12713"/>
                </a:lnTo>
                <a:lnTo>
                  <a:pt x="0" y="16125"/>
                </a:lnTo>
                <a:lnTo>
                  <a:pt x="11524" y="16125"/>
                </a:lnTo>
                <a:lnTo>
                  <a:pt x="11524" y="12713"/>
                </a:lnTo>
                <a:lnTo>
                  <a:pt x="10168" y="12713"/>
                </a:lnTo>
                <a:lnTo>
                  <a:pt x="10168" y="11727"/>
                </a:lnTo>
                <a:lnTo>
                  <a:pt x="7487" y="11727"/>
                </a:lnTo>
                <a:lnTo>
                  <a:pt x="7487" y="12713"/>
                </a:lnTo>
                <a:lnTo>
                  <a:pt x="3889" y="12713"/>
                </a:lnTo>
                <a:lnTo>
                  <a:pt x="3889" y="9274"/>
                </a:lnTo>
                <a:lnTo>
                  <a:pt x="4899" y="8262"/>
                </a:lnTo>
                <a:lnTo>
                  <a:pt x="4951" y="8280"/>
                </a:lnTo>
                <a:lnTo>
                  <a:pt x="5004" y="8297"/>
                </a:lnTo>
                <a:lnTo>
                  <a:pt x="5057" y="8313"/>
                </a:lnTo>
                <a:lnTo>
                  <a:pt x="5110" y="8328"/>
                </a:lnTo>
                <a:lnTo>
                  <a:pt x="5164" y="8342"/>
                </a:lnTo>
                <a:lnTo>
                  <a:pt x="5220" y="8354"/>
                </a:lnTo>
                <a:lnTo>
                  <a:pt x="5274" y="8366"/>
                </a:lnTo>
                <a:lnTo>
                  <a:pt x="5329" y="8376"/>
                </a:lnTo>
                <a:lnTo>
                  <a:pt x="5386" y="8385"/>
                </a:lnTo>
                <a:lnTo>
                  <a:pt x="5442" y="8393"/>
                </a:lnTo>
                <a:lnTo>
                  <a:pt x="5498" y="8399"/>
                </a:lnTo>
                <a:lnTo>
                  <a:pt x="5555" y="8405"/>
                </a:lnTo>
                <a:lnTo>
                  <a:pt x="5612" y="8409"/>
                </a:lnTo>
                <a:lnTo>
                  <a:pt x="5669" y="8412"/>
                </a:lnTo>
                <a:lnTo>
                  <a:pt x="5728" y="8414"/>
                </a:lnTo>
                <a:lnTo>
                  <a:pt x="5786" y="8415"/>
                </a:lnTo>
                <a:lnTo>
                  <a:pt x="5853" y="8414"/>
                </a:lnTo>
                <a:lnTo>
                  <a:pt x="5919" y="8411"/>
                </a:lnTo>
                <a:lnTo>
                  <a:pt x="5984" y="8407"/>
                </a:lnTo>
                <a:lnTo>
                  <a:pt x="6049" y="8402"/>
                </a:lnTo>
                <a:lnTo>
                  <a:pt x="6114" y="8395"/>
                </a:lnTo>
                <a:lnTo>
                  <a:pt x="6177" y="8386"/>
                </a:lnTo>
                <a:lnTo>
                  <a:pt x="6242" y="8376"/>
                </a:lnTo>
                <a:lnTo>
                  <a:pt x="6304" y="8364"/>
                </a:lnTo>
                <a:lnTo>
                  <a:pt x="6724" y="10223"/>
                </a:lnTo>
                <a:lnTo>
                  <a:pt x="10482" y="9374"/>
                </a:lnTo>
                <a:lnTo>
                  <a:pt x="8970" y="2663"/>
                </a:lnTo>
                <a:lnTo>
                  <a:pt x="8592" y="2749"/>
                </a:lnTo>
                <a:lnTo>
                  <a:pt x="7972" y="0"/>
                </a:lnTo>
                <a:lnTo>
                  <a:pt x="4787" y="720"/>
                </a:lnTo>
                <a:lnTo>
                  <a:pt x="5329" y="3124"/>
                </a:lnTo>
                <a:lnTo>
                  <a:pt x="5278" y="3133"/>
                </a:lnTo>
                <a:lnTo>
                  <a:pt x="5227" y="3144"/>
                </a:lnTo>
                <a:lnTo>
                  <a:pt x="5176" y="3155"/>
                </a:lnTo>
                <a:lnTo>
                  <a:pt x="5125" y="3168"/>
                </a:lnTo>
                <a:lnTo>
                  <a:pt x="5076" y="3182"/>
                </a:lnTo>
                <a:lnTo>
                  <a:pt x="5026" y="3196"/>
                </a:lnTo>
                <a:lnTo>
                  <a:pt x="4976" y="3211"/>
                </a:lnTo>
                <a:lnTo>
                  <a:pt x="4928" y="3227"/>
                </a:lnTo>
                <a:lnTo>
                  <a:pt x="4880" y="3244"/>
                </a:lnTo>
                <a:lnTo>
                  <a:pt x="4832" y="3262"/>
                </a:lnTo>
                <a:lnTo>
                  <a:pt x="4784" y="3281"/>
                </a:lnTo>
                <a:lnTo>
                  <a:pt x="4737" y="3301"/>
                </a:lnTo>
                <a:lnTo>
                  <a:pt x="4691" y="3322"/>
                </a:lnTo>
                <a:lnTo>
                  <a:pt x="4644" y="3343"/>
                </a:lnTo>
                <a:lnTo>
                  <a:pt x="4599" y="3365"/>
                </a:lnTo>
                <a:lnTo>
                  <a:pt x="4554" y="3388"/>
                </a:lnTo>
                <a:lnTo>
                  <a:pt x="4510" y="3412"/>
                </a:lnTo>
                <a:lnTo>
                  <a:pt x="4465" y="3438"/>
                </a:lnTo>
                <a:lnTo>
                  <a:pt x="4421" y="3463"/>
                </a:lnTo>
                <a:lnTo>
                  <a:pt x="4379" y="3489"/>
                </a:lnTo>
                <a:lnTo>
                  <a:pt x="4336" y="3516"/>
                </a:lnTo>
                <a:lnTo>
                  <a:pt x="4294" y="3544"/>
                </a:lnTo>
                <a:lnTo>
                  <a:pt x="4252" y="3574"/>
                </a:lnTo>
                <a:lnTo>
                  <a:pt x="4212" y="3603"/>
                </a:lnTo>
                <a:lnTo>
                  <a:pt x="4172" y="3633"/>
                </a:lnTo>
                <a:lnTo>
                  <a:pt x="4132" y="3664"/>
                </a:lnTo>
                <a:lnTo>
                  <a:pt x="4093" y="3696"/>
                </a:lnTo>
                <a:lnTo>
                  <a:pt x="4054" y="3729"/>
                </a:lnTo>
                <a:lnTo>
                  <a:pt x="4017" y="3762"/>
                </a:lnTo>
                <a:lnTo>
                  <a:pt x="3979" y="3795"/>
                </a:lnTo>
                <a:lnTo>
                  <a:pt x="3943" y="3830"/>
                </a:lnTo>
                <a:lnTo>
                  <a:pt x="3907" y="3865"/>
                </a:lnTo>
                <a:lnTo>
                  <a:pt x="3905" y="3865"/>
                </a:lnTo>
                <a:lnTo>
                  <a:pt x="3860" y="3911"/>
                </a:lnTo>
                <a:lnTo>
                  <a:pt x="3817" y="3958"/>
                </a:lnTo>
                <a:lnTo>
                  <a:pt x="3774" y="4006"/>
                </a:lnTo>
                <a:lnTo>
                  <a:pt x="3733" y="4054"/>
                </a:lnTo>
                <a:lnTo>
                  <a:pt x="3693" y="4105"/>
                </a:lnTo>
                <a:lnTo>
                  <a:pt x="3655" y="4155"/>
                </a:lnTo>
                <a:lnTo>
                  <a:pt x="3616" y="4207"/>
                </a:lnTo>
                <a:lnTo>
                  <a:pt x="3580" y="4260"/>
                </a:lnTo>
                <a:lnTo>
                  <a:pt x="3545" y="4313"/>
                </a:lnTo>
                <a:lnTo>
                  <a:pt x="3511" y="4368"/>
                </a:lnTo>
                <a:lnTo>
                  <a:pt x="3479" y="4423"/>
                </a:lnTo>
                <a:lnTo>
                  <a:pt x="3446" y="4480"/>
                </a:lnTo>
                <a:lnTo>
                  <a:pt x="3417" y="4536"/>
                </a:lnTo>
                <a:lnTo>
                  <a:pt x="3388" y="4595"/>
                </a:lnTo>
                <a:lnTo>
                  <a:pt x="3361" y="4653"/>
                </a:lnTo>
                <a:lnTo>
                  <a:pt x="3335" y="4713"/>
                </a:lnTo>
                <a:lnTo>
                  <a:pt x="3311" y="4773"/>
                </a:lnTo>
                <a:lnTo>
                  <a:pt x="3287" y="4833"/>
                </a:lnTo>
                <a:lnTo>
                  <a:pt x="3265" y="4895"/>
                </a:lnTo>
                <a:lnTo>
                  <a:pt x="3245" y="4957"/>
                </a:lnTo>
                <a:lnTo>
                  <a:pt x="3227" y="5020"/>
                </a:lnTo>
                <a:lnTo>
                  <a:pt x="3210" y="5083"/>
                </a:lnTo>
                <a:lnTo>
                  <a:pt x="3194" y="5148"/>
                </a:lnTo>
                <a:lnTo>
                  <a:pt x="3180" y="5212"/>
                </a:lnTo>
                <a:lnTo>
                  <a:pt x="3168" y="5278"/>
                </a:lnTo>
                <a:lnTo>
                  <a:pt x="3157" y="5344"/>
                </a:lnTo>
                <a:lnTo>
                  <a:pt x="3148" y="5411"/>
                </a:lnTo>
                <a:lnTo>
                  <a:pt x="3140" y="5477"/>
                </a:lnTo>
                <a:lnTo>
                  <a:pt x="3133" y="5545"/>
                </a:lnTo>
                <a:lnTo>
                  <a:pt x="3129" y="5613"/>
                </a:lnTo>
                <a:lnTo>
                  <a:pt x="3126" y="5681"/>
                </a:lnTo>
                <a:lnTo>
                  <a:pt x="3125" y="5750"/>
                </a:lnTo>
                <a:lnTo>
                  <a:pt x="3126" y="5789"/>
                </a:lnTo>
                <a:lnTo>
                  <a:pt x="3126" y="5828"/>
                </a:lnTo>
                <a:lnTo>
                  <a:pt x="3128" y="5867"/>
                </a:lnTo>
                <a:lnTo>
                  <a:pt x="3130" y="5907"/>
                </a:lnTo>
                <a:lnTo>
                  <a:pt x="3132" y="5945"/>
                </a:lnTo>
                <a:lnTo>
                  <a:pt x="3136" y="5984"/>
                </a:lnTo>
                <a:lnTo>
                  <a:pt x="3140" y="6023"/>
                </a:lnTo>
                <a:lnTo>
                  <a:pt x="3144" y="6061"/>
                </a:lnTo>
                <a:close/>
                <a:moveTo>
                  <a:pt x="7518" y="10301"/>
                </a:moveTo>
                <a:lnTo>
                  <a:pt x="9793" y="9787"/>
                </a:lnTo>
                <a:lnTo>
                  <a:pt x="9956" y="10539"/>
                </a:lnTo>
                <a:lnTo>
                  <a:pt x="7682" y="11053"/>
                </a:lnTo>
                <a:lnTo>
                  <a:pt x="7518" y="10301"/>
                </a:lnTo>
                <a:close/>
                <a:moveTo>
                  <a:pt x="8214" y="2834"/>
                </a:moveTo>
                <a:lnTo>
                  <a:pt x="7688" y="497"/>
                </a:lnTo>
                <a:lnTo>
                  <a:pt x="7160" y="617"/>
                </a:lnTo>
                <a:lnTo>
                  <a:pt x="7686" y="2954"/>
                </a:lnTo>
                <a:lnTo>
                  <a:pt x="7853" y="3695"/>
                </a:lnTo>
                <a:lnTo>
                  <a:pt x="8381" y="3576"/>
                </a:lnTo>
                <a:lnTo>
                  <a:pt x="8214" y="2834"/>
                </a:lnTo>
                <a:close/>
                <a:moveTo>
                  <a:pt x="8804" y="6062"/>
                </a:moveTo>
                <a:lnTo>
                  <a:pt x="9333" y="5943"/>
                </a:lnTo>
                <a:lnTo>
                  <a:pt x="10026" y="9021"/>
                </a:lnTo>
                <a:lnTo>
                  <a:pt x="9498" y="9141"/>
                </a:lnTo>
                <a:lnTo>
                  <a:pt x="8804" y="6062"/>
                </a:lnTo>
                <a:close/>
                <a:moveTo>
                  <a:pt x="5776" y="4914"/>
                </a:moveTo>
                <a:lnTo>
                  <a:pt x="5819" y="4915"/>
                </a:lnTo>
                <a:lnTo>
                  <a:pt x="5863" y="4918"/>
                </a:lnTo>
                <a:lnTo>
                  <a:pt x="5904" y="4923"/>
                </a:lnTo>
                <a:lnTo>
                  <a:pt x="5946" y="4931"/>
                </a:lnTo>
                <a:lnTo>
                  <a:pt x="5986" y="4940"/>
                </a:lnTo>
                <a:lnTo>
                  <a:pt x="6027" y="4951"/>
                </a:lnTo>
                <a:lnTo>
                  <a:pt x="6066" y="4964"/>
                </a:lnTo>
                <a:lnTo>
                  <a:pt x="6104" y="4980"/>
                </a:lnTo>
                <a:lnTo>
                  <a:pt x="6142" y="4997"/>
                </a:lnTo>
                <a:lnTo>
                  <a:pt x="6178" y="5016"/>
                </a:lnTo>
                <a:lnTo>
                  <a:pt x="6214" y="5036"/>
                </a:lnTo>
                <a:lnTo>
                  <a:pt x="6248" y="5058"/>
                </a:lnTo>
                <a:lnTo>
                  <a:pt x="6281" y="5081"/>
                </a:lnTo>
                <a:lnTo>
                  <a:pt x="6313" y="5107"/>
                </a:lnTo>
                <a:lnTo>
                  <a:pt x="6343" y="5134"/>
                </a:lnTo>
                <a:lnTo>
                  <a:pt x="6373" y="5161"/>
                </a:lnTo>
                <a:lnTo>
                  <a:pt x="6401" y="5190"/>
                </a:lnTo>
                <a:lnTo>
                  <a:pt x="6427" y="5221"/>
                </a:lnTo>
                <a:lnTo>
                  <a:pt x="6452" y="5254"/>
                </a:lnTo>
                <a:lnTo>
                  <a:pt x="6476" y="5287"/>
                </a:lnTo>
                <a:lnTo>
                  <a:pt x="6498" y="5321"/>
                </a:lnTo>
                <a:lnTo>
                  <a:pt x="6518" y="5357"/>
                </a:lnTo>
                <a:lnTo>
                  <a:pt x="6537" y="5393"/>
                </a:lnTo>
                <a:lnTo>
                  <a:pt x="6554" y="5430"/>
                </a:lnTo>
                <a:lnTo>
                  <a:pt x="6569" y="5468"/>
                </a:lnTo>
                <a:lnTo>
                  <a:pt x="6582" y="5508"/>
                </a:lnTo>
                <a:lnTo>
                  <a:pt x="6594" y="5548"/>
                </a:lnTo>
                <a:lnTo>
                  <a:pt x="6603" y="5589"/>
                </a:lnTo>
                <a:lnTo>
                  <a:pt x="6610" y="5631"/>
                </a:lnTo>
                <a:lnTo>
                  <a:pt x="6616" y="5673"/>
                </a:lnTo>
                <a:lnTo>
                  <a:pt x="6619" y="5716"/>
                </a:lnTo>
                <a:lnTo>
                  <a:pt x="6620" y="5760"/>
                </a:lnTo>
                <a:lnTo>
                  <a:pt x="6619" y="5803"/>
                </a:lnTo>
                <a:lnTo>
                  <a:pt x="6616" y="5846"/>
                </a:lnTo>
                <a:lnTo>
                  <a:pt x="6610" y="5889"/>
                </a:lnTo>
                <a:lnTo>
                  <a:pt x="6603" y="5930"/>
                </a:lnTo>
                <a:lnTo>
                  <a:pt x="6594" y="5971"/>
                </a:lnTo>
                <a:lnTo>
                  <a:pt x="6582" y="6011"/>
                </a:lnTo>
                <a:lnTo>
                  <a:pt x="6569" y="6050"/>
                </a:lnTo>
                <a:lnTo>
                  <a:pt x="6554" y="6089"/>
                </a:lnTo>
                <a:lnTo>
                  <a:pt x="6537" y="6126"/>
                </a:lnTo>
                <a:lnTo>
                  <a:pt x="6518" y="6163"/>
                </a:lnTo>
                <a:lnTo>
                  <a:pt x="6498" y="6198"/>
                </a:lnTo>
                <a:lnTo>
                  <a:pt x="6476" y="6232"/>
                </a:lnTo>
                <a:lnTo>
                  <a:pt x="6452" y="6266"/>
                </a:lnTo>
                <a:lnTo>
                  <a:pt x="6427" y="6298"/>
                </a:lnTo>
                <a:lnTo>
                  <a:pt x="6401" y="6328"/>
                </a:lnTo>
                <a:lnTo>
                  <a:pt x="6373" y="6357"/>
                </a:lnTo>
                <a:lnTo>
                  <a:pt x="6343" y="6386"/>
                </a:lnTo>
                <a:lnTo>
                  <a:pt x="6313" y="6413"/>
                </a:lnTo>
                <a:lnTo>
                  <a:pt x="6281" y="6438"/>
                </a:lnTo>
                <a:lnTo>
                  <a:pt x="6248" y="6461"/>
                </a:lnTo>
                <a:lnTo>
                  <a:pt x="6214" y="6483"/>
                </a:lnTo>
                <a:lnTo>
                  <a:pt x="6178" y="6503"/>
                </a:lnTo>
                <a:lnTo>
                  <a:pt x="6142" y="6523"/>
                </a:lnTo>
                <a:lnTo>
                  <a:pt x="6104" y="6539"/>
                </a:lnTo>
                <a:lnTo>
                  <a:pt x="6066" y="6555"/>
                </a:lnTo>
                <a:lnTo>
                  <a:pt x="6027" y="6568"/>
                </a:lnTo>
                <a:lnTo>
                  <a:pt x="5986" y="6579"/>
                </a:lnTo>
                <a:lnTo>
                  <a:pt x="5946" y="6588"/>
                </a:lnTo>
                <a:lnTo>
                  <a:pt x="5904" y="6596"/>
                </a:lnTo>
                <a:lnTo>
                  <a:pt x="5863" y="6601"/>
                </a:lnTo>
                <a:lnTo>
                  <a:pt x="5819" y="6604"/>
                </a:lnTo>
                <a:lnTo>
                  <a:pt x="5776" y="6605"/>
                </a:lnTo>
                <a:lnTo>
                  <a:pt x="5732" y="6604"/>
                </a:lnTo>
                <a:lnTo>
                  <a:pt x="5690" y="6601"/>
                </a:lnTo>
                <a:lnTo>
                  <a:pt x="5647" y="6596"/>
                </a:lnTo>
                <a:lnTo>
                  <a:pt x="5605" y="6588"/>
                </a:lnTo>
                <a:lnTo>
                  <a:pt x="5565" y="6579"/>
                </a:lnTo>
                <a:lnTo>
                  <a:pt x="5525" y="6568"/>
                </a:lnTo>
                <a:lnTo>
                  <a:pt x="5485" y="6555"/>
                </a:lnTo>
                <a:lnTo>
                  <a:pt x="5447" y="6539"/>
                </a:lnTo>
                <a:lnTo>
                  <a:pt x="5410" y="6523"/>
                </a:lnTo>
                <a:lnTo>
                  <a:pt x="5373" y="6503"/>
                </a:lnTo>
                <a:lnTo>
                  <a:pt x="5337" y="6483"/>
                </a:lnTo>
                <a:lnTo>
                  <a:pt x="5303" y="6461"/>
                </a:lnTo>
                <a:lnTo>
                  <a:pt x="5270" y="6438"/>
                </a:lnTo>
                <a:lnTo>
                  <a:pt x="5239" y="6413"/>
                </a:lnTo>
                <a:lnTo>
                  <a:pt x="5208" y="6386"/>
                </a:lnTo>
                <a:lnTo>
                  <a:pt x="5179" y="6357"/>
                </a:lnTo>
                <a:lnTo>
                  <a:pt x="5150" y="6328"/>
                </a:lnTo>
                <a:lnTo>
                  <a:pt x="5124" y="6298"/>
                </a:lnTo>
                <a:lnTo>
                  <a:pt x="5099" y="6266"/>
                </a:lnTo>
                <a:lnTo>
                  <a:pt x="5075" y="6232"/>
                </a:lnTo>
                <a:lnTo>
                  <a:pt x="5054" y="6198"/>
                </a:lnTo>
                <a:lnTo>
                  <a:pt x="5033" y="6163"/>
                </a:lnTo>
                <a:lnTo>
                  <a:pt x="5015" y="6126"/>
                </a:lnTo>
                <a:lnTo>
                  <a:pt x="4997" y="6089"/>
                </a:lnTo>
                <a:lnTo>
                  <a:pt x="4982" y="6050"/>
                </a:lnTo>
                <a:lnTo>
                  <a:pt x="4969" y="6011"/>
                </a:lnTo>
                <a:lnTo>
                  <a:pt x="4958" y="5971"/>
                </a:lnTo>
                <a:lnTo>
                  <a:pt x="4948" y="5930"/>
                </a:lnTo>
                <a:lnTo>
                  <a:pt x="4941" y="5889"/>
                </a:lnTo>
                <a:lnTo>
                  <a:pt x="4935" y="5846"/>
                </a:lnTo>
                <a:lnTo>
                  <a:pt x="4932" y="5803"/>
                </a:lnTo>
                <a:lnTo>
                  <a:pt x="4931" y="5760"/>
                </a:lnTo>
                <a:lnTo>
                  <a:pt x="4932" y="5716"/>
                </a:lnTo>
                <a:lnTo>
                  <a:pt x="4935" y="5673"/>
                </a:lnTo>
                <a:lnTo>
                  <a:pt x="4941" y="5631"/>
                </a:lnTo>
                <a:lnTo>
                  <a:pt x="4948" y="5589"/>
                </a:lnTo>
                <a:lnTo>
                  <a:pt x="4958" y="5548"/>
                </a:lnTo>
                <a:lnTo>
                  <a:pt x="4969" y="5508"/>
                </a:lnTo>
                <a:lnTo>
                  <a:pt x="4982" y="5468"/>
                </a:lnTo>
                <a:lnTo>
                  <a:pt x="4997" y="5430"/>
                </a:lnTo>
                <a:lnTo>
                  <a:pt x="5015" y="5393"/>
                </a:lnTo>
                <a:lnTo>
                  <a:pt x="5033" y="5357"/>
                </a:lnTo>
                <a:lnTo>
                  <a:pt x="5054" y="5321"/>
                </a:lnTo>
                <a:lnTo>
                  <a:pt x="5075" y="5287"/>
                </a:lnTo>
                <a:lnTo>
                  <a:pt x="5099" y="5254"/>
                </a:lnTo>
                <a:lnTo>
                  <a:pt x="5124" y="5221"/>
                </a:lnTo>
                <a:lnTo>
                  <a:pt x="5150" y="5190"/>
                </a:lnTo>
                <a:lnTo>
                  <a:pt x="5179" y="5161"/>
                </a:lnTo>
                <a:lnTo>
                  <a:pt x="5208" y="5134"/>
                </a:lnTo>
                <a:lnTo>
                  <a:pt x="5239" y="5107"/>
                </a:lnTo>
                <a:lnTo>
                  <a:pt x="5270" y="5081"/>
                </a:lnTo>
                <a:lnTo>
                  <a:pt x="5303" y="5058"/>
                </a:lnTo>
                <a:lnTo>
                  <a:pt x="5337" y="5036"/>
                </a:lnTo>
                <a:lnTo>
                  <a:pt x="5373" y="5016"/>
                </a:lnTo>
                <a:lnTo>
                  <a:pt x="5410" y="4997"/>
                </a:lnTo>
                <a:lnTo>
                  <a:pt x="5447" y="4980"/>
                </a:lnTo>
                <a:lnTo>
                  <a:pt x="5485" y="4964"/>
                </a:lnTo>
                <a:lnTo>
                  <a:pt x="5525" y="4951"/>
                </a:lnTo>
                <a:lnTo>
                  <a:pt x="5565" y="4940"/>
                </a:lnTo>
                <a:lnTo>
                  <a:pt x="5605" y="4931"/>
                </a:lnTo>
                <a:lnTo>
                  <a:pt x="5647" y="4923"/>
                </a:lnTo>
                <a:lnTo>
                  <a:pt x="5690" y="4918"/>
                </a:lnTo>
                <a:lnTo>
                  <a:pt x="5732" y="4915"/>
                </a:lnTo>
                <a:lnTo>
                  <a:pt x="5776" y="4914"/>
                </a:lnTo>
                <a:close/>
                <a:moveTo>
                  <a:pt x="6905" y="4629"/>
                </a:moveTo>
                <a:lnTo>
                  <a:pt x="6878" y="4603"/>
                </a:lnTo>
                <a:lnTo>
                  <a:pt x="6849" y="4576"/>
                </a:lnTo>
                <a:lnTo>
                  <a:pt x="6821" y="4551"/>
                </a:lnTo>
                <a:lnTo>
                  <a:pt x="6792" y="4527"/>
                </a:lnTo>
                <a:lnTo>
                  <a:pt x="6763" y="4504"/>
                </a:lnTo>
                <a:lnTo>
                  <a:pt x="6733" y="4481"/>
                </a:lnTo>
                <a:lnTo>
                  <a:pt x="6703" y="4458"/>
                </a:lnTo>
                <a:lnTo>
                  <a:pt x="6670" y="4436"/>
                </a:lnTo>
                <a:lnTo>
                  <a:pt x="6639" y="4415"/>
                </a:lnTo>
                <a:lnTo>
                  <a:pt x="6607" y="4395"/>
                </a:lnTo>
                <a:lnTo>
                  <a:pt x="6574" y="4376"/>
                </a:lnTo>
                <a:lnTo>
                  <a:pt x="6541" y="4357"/>
                </a:lnTo>
                <a:lnTo>
                  <a:pt x="6506" y="4340"/>
                </a:lnTo>
                <a:lnTo>
                  <a:pt x="6472" y="4323"/>
                </a:lnTo>
                <a:lnTo>
                  <a:pt x="6437" y="4306"/>
                </a:lnTo>
                <a:lnTo>
                  <a:pt x="6402" y="4290"/>
                </a:lnTo>
                <a:lnTo>
                  <a:pt x="6367" y="4276"/>
                </a:lnTo>
                <a:lnTo>
                  <a:pt x="6330" y="4262"/>
                </a:lnTo>
                <a:lnTo>
                  <a:pt x="6294" y="4250"/>
                </a:lnTo>
                <a:lnTo>
                  <a:pt x="6257" y="4238"/>
                </a:lnTo>
                <a:lnTo>
                  <a:pt x="6220" y="4227"/>
                </a:lnTo>
                <a:lnTo>
                  <a:pt x="6181" y="4217"/>
                </a:lnTo>
                <a:lnTo>
                  <a:pt x="6143" y="4207"/>
                </a:lnTo>
                <a:lnTo>
                  <a:pt x="6105" y="4199"/>
                </a:lnTo>
                <a:lnTo>
                  <a:pt x="6066" y="4191"/>
                </a:lnTo>
                <a:lnTo>
                  <a:pt x="6028" y="4184"/>
                </a:lnTo>
                <a:lnTo>
                  <a:pt x="5987" y="4179"/>
                </a:lnTo>
                <a:lnTo>
                  <a:pt x="5948" y="4174"/>
                </a:lnTo>
                <a:lnTo>
                  <a:pt x="5908" y="4171"/>
                </a:lnTo>
                <a:lnTo>
                  <a:pt x="5868" y="4168"/>
                </a:lnTo>
                <a:lnTo>
                  <a:pt x="5826" y="4167"/>
                </a:lnTo>
                <a:lnTo>
                  <a:pt x="5786" y="4166"/>
                </a:lnTo>
                <a:lnTo>
                  <a:pt x="5745" y="4167"/>
                </a:lnTo>
                <a:lnTo>
                  <a:pt x="5705" y="4168"/>
                </a:lnTo>
                <a:lnTo>
                  <a:pt x="5664" y="4171"/>
                </a:lnTo>
                <a:lnTo>
                  <a:pt x="5624" y="4174"/>
                </a:lnTo>
                <a:lnTo>
                  <a:pt x="5584" y="4179"/>
                </a:lnTo>
                <a:lnTo>
                  <a:pt x="5545" y="4184"/>
                </a:lnTo>
                <a:lnTo>
                  <a:pt x="5505" y="4191"/>
                </a:lnTo>
                <a:lnTo>
                  <a:pt x="5467" y="4199"/>
                </a:lnTo>
                <a:lnTo>
                  <a:pt x="5428" y="4207"/>
                </a:lnTo>
                <a:lnTo>
                  <a:pt x="5391" y="4217"/>
                </a:lnTo>
                <a:lnTo>
                  <a:pt x="5353" y="4227"/>
                </a:lnTo>
                <a:lnTo>
                  <a:pt x="5315" y="4238"/>
                </a:lnTo>
                <a:lnTo>
                  <a:pt x="5278" y="4250"/>
                </a:lnTo>
                <a:lnTo>
                  <a:pt x="5242" y="4262"/>
                </a:lnTo>
                <a:lnTo>
                  <a:pt x="5206" y="4276"/>
                </a:lnTo>
                <a:lnTo>
                  <a:pt x="5170" y="4290"/>
                </a:lnTo>
                <a:lnTo>
                  <a:pt x="5134" y="4306"/>
                </a:lnTo>
                <a:lnTo>
                  <a:pt x="5100" y="4323"/>
                </a:lnTo>
                <a:lnTo>
                  <a:pt x="5066" y="4340"/>
                </a:lnTo>
                <a:lnTo>
                  <a:pt x="5032" y="4357"/>
                </a:lnTo>
                <a:lnTo>
                  <a:pt x="4998" y="4376"/>
                </a:lnTo>
                <a:lnTo>
                  <a:pt x="4965" y="4395"/>
                </a:lnTo>
                <a:lnTo>
                  <a:pt x="4933" y="4415"/>
                </a:lnTo>
                <a:lnTo>
                  <a:pt x="4901" y="4436"/>
                </a:lnTo>
                <a:lnTo>
                  <a:pt x="4870" y="4458"/>
                </a:lnTo>
                <a:lnTo>
                  <a:pt x="4840" y="4481"/>
                </a:lnTo>
                <a:lnTo>
                  <a:pt x="4809" y="4504"/>
                </a:lnTo>
                <a:lnTo>
                  <a:pt x="4779" y="4527"/>
                </a:lnTo>
                <a:lnTo>
                  <a:pt x="4750" y="4551"/>
                </a:lnTo>
                <a:lnTo>
                  <a:pt x="4722" y="4576"/>
                </a:lnTo>
                <a:lnTo>
                  <a:pt x="4695" y="4603"/>
                </a:lnTo>
                <a:lnTo>
                  <a:pt x="4668" y="4629"/>
                </a:lnTo>
                <a:lnTo>
                  <a:pt x="4669" y="4630"/>
                </a:lnTo>
                <a:lnTo>
                  <a:pt x="4641" y="4657"/>
                </a:lnTo>
                <a:lnTo>
                  <a:pt x="4616" y="4685"/>
                </a:lnTo>
                <a:lnTo>
                  <a:pt x="4591" y="4714"/>
                </a:lnTo>
                <a:lnTo>
                  <a:pt x="4566" y="4743"/>
                </a:lnTo>
                <a:lnTo>
                  <a:pt x="4543" y="4772"/>
                </a:lnTo>
                <a:lnTo>
                  <a:pt x="4520" y="4802"/>
                </a:lnTo>
                <a:lnTo>
                  <a:pt x="4497" y="4833"/>
                </a:lnTo>
                <a:lnTo>
                  <a:pt x="4475" y="4865"/>
                </a:lnTo>
                <a:lnTo>
                  <a:pt x="4454" y="4896"/>
                </a:lnTo>
                <a:lnTo>
                  <a:pt x="4434" y="4929"/>
                </a:lnTo>
                <a:lnTo>
                  <a:pt x="4415" y="4961"/>
                </a:lnTo>
                <a:lnTo>
                  <a:pt x="4396" y="4995"/>
                </a:lnTo>
                <a:lnTo>
                  <a:pt x="4379" y="5029"/>
                </a:lnTo>
                <a:lnTo>
                  <a:pt x="4362" y="5063"/>
                </a:lnTo>
                <a:lnTo>
                  <a:pt x="4345" y="5099"/>
                </a:lnTo>
                <a:lnTo>
                  <a:pt x="4330" y="5134"/>
                </a:lnTo>
                <a:lnTo>
                  <a:pt x="4315" y="5169"/>
                </a:lnTo>
                <a:lnTo>
                  <a:pt x="4301" y="5205"/>
                </a:lnTo>
                <a:lnTo>
                  <a:pt x="4288" y="5242"/>
                </a:lnTo>
                <a:lnTo>
                  <a:pt x="4276" y="5279"/>
                </a:lnTo>
                <a:lnTo>
                  <a:pt x="4265" y="5316"/>
                </a:lnTo>
                <a:lnTo>
                  <a:pt x="4255" y="5355"/>
                </a:lnTo>
                <a:lnTo>
                  <a:pt x="4246" y="5392"/>
                </a:lnTo>
                <a:lnTo>
                  <a:pt x="4238" y="5431"/>
                </a:lnTo>
                <a:lnTo>
                  <a:pt x="4230" y="5469"/>
                </a:lnTo>
                <a:lnTo>
                  <a:pt x="4224" y="5509"/>
                </a:lnTo>
                <a:lnTo>
                  <a:pt x="4218" y="5548"/>
                </a:lnTo>
                <a:lnTo>
                  <a:pt x="4214" y="5588"/>
                </a:lnTo>
                <a:lnTo>
                  <a:pt x="4210" y="5628"/>
                </a:lnTo>
                <a:lnTo>
                  <a:pt x="4208" y="5668"/>
                </a:lnTo>
                <a:lnTo>
                  <a:pt x="4206" y="5709"/>
                </a:lnTo>
                <a:lnTo>
                  <a:pt x="4206" y="5750"/>
                </a:lnTo>
                <a:lnTo>
                  <a:pt x="4206" y="5791"/>
                </a:lnTo>
                <a:lnTo>
                  <a:pt x="4208" y="5831"/>
                </a:lnTo>
                <a:lnTo>
                  <a:pt x="4210" y="5872"/>
                </a:lnTo>
                <a:lnTo>
                  <a:pt x="4214" y="5912"/>
                </a:lnTo>
                <a:lnTo>
                  <a:pt x="4218" y="5951"/>
                </a:lnTo>
                <a:lnTo>
                  <a:pt x="4224" y="5991"/>
                </a:lnTo>
                <a:lnTo>
                  <a:pt x="4230" y="6030"/>
                </a:lnTo>
                <a:lnTo>
                  <a:pt x="4238" y="6069"/>
                </a:lnTo>
                <a:lnTo>
                  <a:pt x="4246" y="6107"/>
                </a:lnTo>
                <a:lnTo>
                  <a:pt x="4255" y="6146"/>
                </a:lnTo>
                <a:lnTo>
                  <a:pt x="4265" y="6183"/>
                </a:lnTo>
                <a:lnTo>
                  <a:pt x="4276" y="6221"/>
                </a:lnTo>
                <a:lnTo>
                  <a:pt x="4288" y="6258"/>
                </a:lnTo>
                <a:lnTo>
                  <a:pt x="4301" y="6295"/>
                </a:lnTo>
                <a:lnTo>
                  <a:pt x="4315" y="6330"/>
                </a:lnTo>
                <a:lnTo>
                  <a:pt x="4330" y="6366"/>
                </a:lnTo>
                <a:lnTo>
                  <a:pt x="4345" y="6402"/>
                </a:lnTo>
                <a:lnTo>
                  <a:pt x="4362" y="6437"/>
                </a:lnTo>
                <a:lnTo>
                  <a:pt x="4379" y="6471"/>
                </a:lnTo>
                <a:lnTo>
                  <a:pt x="4396" y="6504"/>
                </a:lnTo>
                <a:lnTo>
                  <a:pt x="4415" y="6538"/>
                </a:lnTo>
                <a:lnTo>
                  <a:pt x="4434" y="6571"/>
                </a:lnTo>
                <a:lnTo>
                  <a:pt x="4454" y="6603"/>
                </a:lnTo>
                <a:lnTo>
                  <a:pt x="4475" y="6635"/>
                </a:lnTo>
                <a:lnTo>
                  <a:pt x="4497" y="6667"/>
                </a:lnTo>
                <a:lnTo>
                  <a:pt x="4520" y="6697"/>
                </a:lnTo>
                <a:lnTo>
                  <a:pt x="4543" y="6727"/>
                </a:lnTo>
                <a:lnTo>
                  <a:pt x="4566" y="6757"/>
                </a:lnTo>
                <a:lnTo>
                  <a:pt x="4591" y="6787"/>
                </a:lnTo>
                <a:lnTo>
                  <a:pt x="4616" y="6815"/>
                </a:lnTo>
                <a:lnTo>
                  <a:pt x="4641" y="6842"/>
                </a:lnTo>
                <a:lnTo>
                  <a:pt x="4669" y="6869"/>
                </a:lnTo>
                <a:lnTo>
                  <a:pt x="4668" y="6870"/>
                </a:lnTo>
                <a:lnTo>
                  <a:pt x="4695" y="6897"/>
                </a:lnTo>
                <a:lnTo>
                  <a:pt x="4722" y="6923"/>
                </a:lnTo>
                <a:lnTo>
                  <a:pt x="4750" y="6948"/>
                </a:lnTo>
                <a:lnTo>
                  <a:pt x="4779" y="6973"/>
                </a:lnTo>
                <a:lnTo>
                  <a:pt x="4809" y="6996"/>
                </a:lnTo>
                <a:lnTo>
                  <a:pt x="4840" y="7019"/>
                </a:lnTo>
                <a:lnTo>
                  <a:pt x="4870" y="7042"/>
                </a:lnTo>
                <a:lnTo>
                  <a:pt x="4901" y="7064"/>
                </a:lnTo>
                <a:lnTo>
                  <a:pt x="4933" y="7084"/>
                </a:lnTo>
                <a:lnTo>
                  <a:pt x="4965" y="7104"/>
                </a:lnTo>
                <a:lnTo>
                  <a:pt x="4998" y="7124"/>
                </a:lnTo>
                <a:lnTo>
                  <a:pt x="5032" y="7142"/>
                </a:lnTo>
                <a:lnTo>
                  <a:pt x="5066" y="7161"/>
                </a:lnTo>
                <a:lnTo>
                  <a:pt x="5100" y="7178"/>
                </a:lnTo>
                <a:lnTo>
                  <a:pt x="5134" y="7194"/>
                </a:lnTo>
                <a:lnTo>
                  <a:pt x="5170" y="7209"/>
                </a:lnTo>
                <a:lnTo>
                  <a:pt x="5206" y="7224"/>
                </a:lnTo>
                <a:lnTo>
                  <a:pt x="5242" y="7237"/>
                </a:lnTo>
                <a:lnTo>
                  <a:pt x="5278" y="7250"/>
                </a:lnTo>
                <a:lnTo>
                  <a:pt x="5315" y="7262"/>
                </a:lnTo>
                <a:lnTo>
                  <a:pt x="5353" y="7273"/>
                </a:lnTo>
                <a:lnTo>
                  <a:pt x="5391" y="7283"/>
                </a:lnTo>
                <a:lnTo>
                  <a:pt x="5428" y="7293"/>
                </a:lnTo>
                <a:lnTo>
                  <a:pt x="5467" y="7302"/>
                </a:lnTo>
                <a:lnTo>
                  <a:pt x="5505" y="7309"/>
                </a:lnTo>
                <a:lnTo>
                  <a:pt x="5545" y="7315"/>
                </a:lnTo>
                <a:lnTo>
                  <a:pt x="5584" y="7321"/>
                </a:lnTo>
                <a:lnTo>
                  <a:pt x="5624" y="7325"/>
                </a:lnTo>
                <a:lnTo>
                  <a:pt x="5664" y="7329"/>
                </a:lnTo>
                <a:lnTo>
                  <a:pt x="5705" y="7331"/>
                </a:lnTo>
                <a:lnTo>
                  <a:pt x="5745" y="7333"/>
                </a:lnTo>
                <a:lnTo>
                  <a:pt x="5786" y="7333"/>
                </a:lnTo>
                <a:lnTo>
                  <a:pt x="5826" y="7333"/>
                </a:lnTo>
                <a:lnTo>
                  <a:pt x="5868" y="7331"/>
                </a:lnTo>
                <a:lnTo>
                  <a:pt x="5908" y="7329"/>
                </a:lnTo>
                <a:lnTo>
                  <a:pt x="5948" y="7325"/>
                </a:lnTo>
                <a:lnTo>
                  <a:pt x="5987" y="7321"/>
                </a:lnTo>
                <a:lnTo>
                  <a:pt x="6028" y="7315"/>
                </a:lnTo>
                <a:lnTo>
                  <a:pt x="6066" y="7309"/>
                </a:lnTo>
                <a:lnTo>
                  <a:pt x="6105" y="7302"/>
                </a:lnTo>
                <a:lnTo>
                  <a:pt x="6143" y="7293"/>
                </a:lnTo>
                <a:lnTo>
                  <a:pt x="6181" y="7283"/>
                </a:lnTo>
                <a:lnTo>
                  <a:pt x="6220" y="7273"/>
                </a:lnTo>
                <a:lnTo>
                  <a:pt x="6257" y="7262"/>
                </a:lnTo>
                <a:lnTo>
                  <a:pt x="6294" y="7250"/>
                </a:lnTo>
                <a:lnTo>
                  <a:pt x="6330" y="7237"/>
                </a:lnTo>
                <a:lnTo>
                  <a:pt x="6367" y="7224"/>
                </a:lnTo>
                <a:lnTo>
                  <a:pt x="6402" y="7209"/>
                </a:lnTo>
                <a:lnTo>
                  <a:pt x="6437" y="7194"/>
                </a:lnTo>
                <a:lnTo>
                  <a:pt x="6472" y="7178"/>
                </a:lnTo>
                <a:lnTo>
                  <a:pt x="6506" y="7161"/>
                </a:lnTo>
                <a:lnTo>
                  <a:pt x="6541" y="7142"/>
                </a:lnTo>
                <a:lnTo>
                  <a:pt x="6574" y="7124"/>
                </a:lnTo>
                <a:lnTo>
                  <a:pt x="6607" y="7104"/>
                </a:lnTo>
                <a:lnTo>
                  <a:pt x="6639" y="7084"/>
                </a:lnTo>
                <a:lnTo>
                  <a:pt x="6670" y="7064"/>
                </a:lnTo>
                <a:lnTo>
                  <a:pt x="6703" y="7042"/>
                </a:lnTo>
                <a:lnTo>
                  <a:pt x="6733" y="7019"/>
                </a:lnTo>
                <a:lnTo>
                  <a:pt x="6763" y="6996"/>
                </a:lnTo>
                <a:lnTo>
                  <a:pt x="6792" y="6973"/>
                </a:lnTo>
                <a:lnTo>
                  <a:pt x="6821" y="6948"/>
                </a:lnTo>
                <a:lnTo>
                  <a:pt x="6849" y="6923"/>
                </a:lnTo>
                <a:lnTo>
                  <a:pt x="6878" y="6897"/>
                </a:lnTo>
                <a:lnTo>
                  <a:pt x="6905" y="6870"/>
                </a:lnTo>
                <a:lnTo>
                  <a:pt x="6904" y="6869"/>
                </a:lnTo>
                <a:lnTo>
                  <a:pt x="6930" y="6842"/>
                </a:lnTo>
                <a:lnTo>
                  <a:pt x="6956" y="6815"/>
                </a:lnTo>
                <a:lnTo>
                  <a:pt x="6981" y="6787"/>
                </a:lnTo>
                <a:lnTo>
                  <a:pt x="7005" y="6757"/>
                </a:lnTo>
                <a:lnTo>
                  <a:pt x="7029" y="6727"/>
                </a:lnTo>
                <a:lnTo>
                  <a:pt x="7053" y="6697"/>
                </a:lnTo>
                <a:lnTo>
                  <a:pt x="7075" y="6667"/>
                </a:lnTo>
                <a:lnTo>
                  <a:pt x="7097" y="6635"/>
                </a:lnTo>
                <a:lnTo>
                  <a:pt x="7118" y="6603"/>
                </a:lnTo>
                <a:lnTo>
                  <a:pt x="7138" y="6571"/>
                </a:lnTo>
                <a:lnTo>
                  <a:pt x="7157" y="6538"/>
                </a:lnTo>
                <a:lnTo>
                  <a:pt x="7175" y="6504"/>
                </a:lnTo>
                <a:lnTo>
                  <a:pt x="7193" y="6471"/>
                </a:lnTo>
                <a:lnTo>
                  <a:pt x="7211" y="6437"/>
                </a:lnTo>
                <a:lnTo>
                  <a:pt x="7227" y="6402"/>
                </a:lnTo>
                <a:lnTo>
                  <a:pt x="7243" y="6366"/>
                </a:lnTo>
                <a:lnTo>
                  <a:pt x="7257" y="6330"/>
                </a:lnTo>
                <a:lnTo>
                  <a:pt x="7271" y="6295"/>
                </a:lnTo>
                <a:lnTo>
                  <a:pt x="7284" y="6258"/>
                </a:lnTo>
                <a:lnTo>
                  <a:pt x="7295" y="6221"/>
                </a:lnTo>
                <a:lnTo>
                  <a:pt x="7306" y="6183"/>
                </a:lnTo>
                <a:lnTo>
                  <a:pt x="7317" y="6146"/>
                </a:lnTo>
                <a:lnTo>
                  <a:pt x="7326" y="6107"/>
                </a:lnTo>
                <a:lnTo>
                  <a:pt x="7334" y="6069"/>
                </a:lnTo>
                <a:lnTo>
                  <a:pt x="7342" y="6030"/>
                </a:lnTo>
                <a:lnTo>
                  <a:pt x="7348" y="5991"/>
                </a:lnTo>
                <a:lnTo>
                  <a:pt x="7353" y="5951"/>
                </a:lnTo>
                <a:lnTo>
                  <a:pt x="7358" y="5912"/>
                </a:lnTo>
                <a:lnTo>
                  <a:pt x="7361" y="5872"/>
                </a:lnTo>
                <a:lnTo>
                  <a:pt x="7364" y="5831"/>
                </a:lnTo>
                <a:lnTo>
                  <a:pt x="7366" y="5791"/>
                </a:lnTo>
                <a:lnTo>
                  <a:pt x="7366" y="5750"/>
                </a:lnTo>
                <a:lnTo>
                  <a:pt x="7366" y="5709"/>
                </a:lnTo>
                <a:lnTo>
                  <a:pt x="7364" y="5668"/>
                </a:lnTo>
                <a:lnTo>
                  <a:pt x="7361" y="5628"/>
                </a:lnTo>
                <a:lnTo>
                  <a:pt x="7358" y="5588"/>
                </a:lnTo>
                <a:lnTo>
                  <a:pt x="7353" y="5548"/>
                </a:lnTo>
                <a:lnTo>
                  <a:pt x="7348" y="5509"/>
                </a:lnTo>
                <a:lnTo>
                  <a:pt x="7342" y="5469"/>
                </a:lnTo>
                <a:lnTo>
                  <a:pt x="7334" y="5431"/>
                </a:lnTo>
                <a:lnTo>
                  <a:pt x="7326" y="5392"/>
                </a:lnTo>
                <a:lnTo>
                  <a:pt x="7317" y="5355"/>
                </a:lnTo>
                <a:lnTo>
                  <a:pt x="7306" y="5316"/>
                </a:lnTo>
                <a:lnTo>
                  <a:pt x="7295" y="5279"/>
                </a:lnTo>
                <a:lnTo>
                  <a:pt x="7284" y="5242"/>
                </a:lnTo>
                <a:lnTo>
                  <a:pt x="7271" y="5205"/>
                </a:lnTo>
                <a:lnTo>
                  <a:pt x="7257" y="5169"/>
                </a:lnTo>
                <a:lnTo>
                  <a:pt x="7243" y="5134"/>
                </a:lnTo>
                <a:lnTo>
                  <a:pt x="7227" y="5099"/>
                </a:lnTo>
                <a:lnTo>
                  <a:pt x="7211" y="5063"/>
                </a:lnTo>
                <a:lnTo>
                  <a:pt x="7193" y="5029"/>
                </a:lnTo>
                <a:lnTo>
                  <a:pt x="7175" y="4995"/>
                </a:lnTo>
                <a:lnTo>
                  <a:pt x="7157" y="4961"/>
                </a:lnTo>
                <a:lnTo>
                  <a:pt x="7138" y="4929"/>
                </a:lnTo>
                <a:lnTo>
                  <a:pt x="7118" y="4896"/>
                </a:lnTo>
                <a:lnTo>
                  <a:pt x="7097" y="4865"/>
                </a:lnTo>
                <a:lnTo>
                  <a:pt x="7075" y="4833"/>
                </a:lnTo>
                <a:lnTo>
                  <a:pt x="7053" y="4802"/>
                </a:lnTo>
                <a:lnTo>
                  <a:pt x="7029" y="4772"/>
                </a:lnTo>
                <a:lnTo>
                  <a:pt x="7005" y="4743"/>
                </a:lnTo>
                <a:lnTo>
                  <a:pt x="6981" y="4714"/>
                </a:lnTo>
                <a:lnTo>
                  <a:pt x="6956" y="4685"/>
                </a:lnTo>
                <a:lnTo>
                  <a:pt x="6930" y="4657"/>
                </a:lnTo>
                <a:lnTo>
                  <a:pt x="6904" y="4630"/>
                </a:lnTo>
                <a:lnTo>
                  <a:pt x="6905" y="4629"/>
                </a:lnTo>
                <a:close/>
                <a:moveTo>
                  <a:pt x="792" y="14007"/>
                </a:moveTo>
                <a:lnTo>
                  <a:pt x="10753" y="14007"/>
                </a:lnTo>
                <a:lnTo>
                  <a:pt x="10753" y="15356"/>
                </a:lnTo>
                <a:lnTo>
                  <a:pt x="792" y="15356"/>
                </a:lnTo>
                <a:lnTo>
                  <a:pt x="792" y="140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2" name="formula"/>
          <p:cNvSpPr>
            <a:spLocks noEditPoints="1"/>
          </p:cNvSpPr>
          <p:nvPr/>
        </p:nvSpPr>
        <p:spPr bwMode="auto">
          <a:xfrm>
            <a:off x="6233367" y="2420888"/>
            <a:ext cx="319881" cy="198438"/>
          </a:xfrm>
          <a:custGeom>
            <a:avLst/>
            <a:gdLst>
              <a:gd name="T0" fmla="*/ 6477 w 16120"/>
              <a:gd name="T1" fmla="*/ 1249 h 10000"/>
              <a:gd name="T2" fmla="*/ 8060 w 16120"/>
              <a:gd name="T3" fmla="*/ 2164 h 10000"/>
              <a:gd name="T4" fmla="*/ 9643 w 16120"/>
              <a:gd name="T5" fmla="*/ 1249 h 10000"/>
              <a:gd name="T6" fmla="*/ 11801 w 16120"/>
              <a:gd name="T7" fmla="*/ 0 h 10000"/>
              <a:gd name="T8" fmla="*/ 13958 w 16120"/>
              <a:gd name="T9" fmla="*/ 1249 h 10000"/>
              <a:gd name="T10" fmla="*/ 15831 w 16120"/>
              <a:gd name="T11" fmla="*/ 2332 h 10000"/>
              <a:gd name="T12" fmla="*/ 16120 w 16120"/>
              <a:gd name="T13" fmla="*/ 2833 h 10000"/>
              <a:gd name="T14" fmla="*/ 16120 w 16120"/>
              <a:gd name="T15" fmla="*/ 7165 h 10000"/>
              <a:gd name="T16" fmla="*/ 15831 w 16120"/>
              <a:gd name="T17" fmla="*/ 7666 h 10000"/>
              <a:gd name="T18" fmla="*/ 12090 w 16120"/>
              <a:gd name="T19" fmla="*/ 9832 h 10000"/>
              <a:gd name="T20" fmla="*/ 11511 w 16120"/>
              <a:gd name="T21" fmla="*/ 9832 h 10000"/>
              <a:gd name="T22" fmla="*/ 8060 w 16120"/>
              <a:gd name="T23" fmla="*/ 7834 h 10000"/>
              <a:gd name="T24" fmla="*/ 4609 w 16120"/>
              <a:gd name="T25" fmla="*/ 9832 h 10000"/>
              <a:gd name="T26" fmla="*/ 4030 w 16120"/>
              <a:gd name="T27" fmla="*/ 9832 h 10000"/>
              <a:gd name="T28" fmla="*/ 289 w 16120"/>
              <a:gd name="T29" fmla="*/ 7666 h 10000"/>
              <a:gd name="T30" fmla="*/ 0 w 16120"/>
              <a:gd name="T31" fmla="*/ 7165 h 10000"/>
              <a:gd name="T32" fmla="*/ 0 w 16120"/>
              <a:gd name="T33" fmla="*/ 2833 h 10000"/>
              <a:gd name="T34" fmla="*/ 289 w 16120"/>
              <a:gd name="T35" fmla="*/ 2332 h 10000"/>
              <a:gd name="T36" fmla="*/ 2162 w 16120"/>
              <a:gd name="T37" fmla="*/ 1249 h 10000"/>
              <a:gd name="T38" fmla="*/ 4319 w 16120"/>
              <a:gd name="T39" fmla="*/ 0 h 10000"/>
              <a:gd name="T40" fmla="*/ 14418 w 16120"/>
              <a:gd name="T41" fmla="*/ 3568 h 10000"/>
              <a:gd name="T42" fmla="*/ 14418 w 16120"/>
              <a:gd name="T43" fmla="*/ 6431 h 10000"/>
              <a:gd name="T44" fmla="*/ 14127 w 16120"/>
              <a:gd name="T45" fmla="*/ 4999 h 10000"/>
              <a:gd name="T46" fmla="*/ 14418 w 16120"/>
              <a:gd name="T47" fmla="*/ 3568 h 10000"/>
              <a:gd name="T48" fmla="*/ 10492 w 16120"/>
              <a:gd name="T49" fmla="*/ 7273 h 10000"/>
              <a:gd name="T50" fmla="*/ 9255 w 16120"/>
              <a:gd name="T51" fmla="*/ 6557 h 10000"/>
              <a:gd name="T52" fmla="*/ 10637 w 16120"/>
              <a:gd name="T53" fmla="*/ 7021 h 10000"/>
              <a:gd name="T54" fmla="*/ 11872 w 16120"/>
              <a:gd name="T55" fmla="*/ 7737 h 10000"/>
              <a:gd name="T56" fmla="*/ 9256 w 16120"/>
              <a:gd name="T57" fmla="*/ 3442 h 10000"/>
              <a:gd name="T58" fmla="*/ 10491 w 16120"/>
              <a:gd name="T59" fmla="*/ 2726 h 10000"/>
              <a:gd name="T60" fmla="*/ 11872 w 16120"/>
              <a:gd name="T61" fmla="*/ 2261 h 10000"/>
              <a:gd name="T62" fmla="*/ 10636 w 16120"/>
              <a:gd name="T63" fmla="*/ 2978 h 10000"/>
              <a:gd name="T64" fmla="*/ 9256 w 16120"/>
              <a:gd name="T65" fmla="*/ 3442 h 10000"/>
              <a:gd name="T66" fmla="*/ 6937 w 16120"/>
              <a:gd name="T67" fmla="*/ 4999 h 10000"/>
              <a:gd name="T68" fmla="*/ 6646 w 16120"/>
              <a:gd name="T69" fmla="*/ 6431 h 10000"/>
              <a:gd name="T70" fmla="*/ 6646 w 16120"/>
              <a:gd name="T71" fmla="*/ 3568 h 10000"/>
              <a:gd name="T72" fmla="*/ 4248 w 16120"/>
              <a:gd name="T73" fmla="*/ 7988 h 10000"/>
              <a:gd name="T74" fmla="*/ 3010 w 16120"/>
              <a:gd name="T75" fmla="*/ 7273 h 10000"/>
              <a:gd name="T76" fmla="*/ 1919 w 16120"/>
              <a:gd name="T77" fmla="*/ 6305 h 10000"/>
              <a:gd name="T78" fmla="*/ 3155 w 16120"/>
              <a:gd name="T79" fmla="*/ 7021 h 10000"/>
              <a:gd name="T80" fmla="*/ 4248 w 16120"/>
              <a:gd name="T81" fmla="*/ 7988 h 10000"/>
              <a:gd name="T82" fmla="*/ 3010 w 16120"/>
              <a:gd name="T83" fmla="*/ 2727 h 10000"/>
              <a:gd name="T84" fmla="*/ 4247 w 16120"/>
              <a:gd name="T85" fmla="*/ 2011 h 10000"/>
              <a:gd name="T86" fmla="*/ 3155 w 16120"/>
              <a:gd name="T87" fmla="*/ 2978 h 10000"/>
              <a:gd name="T88" fmla="*/ 1918 w 16120"/>
              <a:gd name="T89" fmla="*/ 3693 h 10000"/>
              <a:gd name="T90" fmla="*/ 8639 w 16120"/>
              <a:gd name="T91" fmla="*/ 3167 h 10000"/>
              <a:gd name="T92" fmla="*/ 8639 w 16120"/>
              <a:gd name="T93" fmla="*/ 6831 h 10000"/>
              <a:gd name="T94" fmla="*/ 11801 w 16120"/>
              <a:gd name="T95" fmla="*/ 8662 h 10000"/>
              <a:gd name="T96" fmla="*/ 14962 w 16120"/>
              <a:gd name="T97" fmla="*/ 6831 h 10000"/>
              <a:gd name="T98" fmla="*/ 14962 w 16120"/>
              <a:gd name="T99" fmla="*/ 3167 h 10000"/>
              <a:gd name="T100" fmla="*/ 13382 w 16120"/>
              <a:gd name="T101" fmla="*/ 2250 h 10000"/>
              <a:gd name="T102" fmla="*/ 10219 w 16120"/>
              <a:gd name="T103" fmla="*/ 2250 h 10000"/>
              <a:gd name="T104" fmla="*/ 8639 w 16120"/>
              <a:gd name="T105" fmla="*/ 3167 h 10000"/>
              <a:gd name="T106" fmla="*/ 7481 w 16120"/>
              <a:gd name="T107" fmla="*/ 4999 h 10000"/>
              <a:gd name="T108" fmla="*/ 5900 w 16120"/>
              <a:gd name="T109" fmla="*/ 2251 h 10000"/>
              <a:gd name="T110" fmla="*/ 4319 w 16120"/>
              <a:gd name="T111" fmla="*/ 1335 h 10000"/>
              <a:gd name="T112" fmla="*/ 2738 w 16120"/>
              <a:gd name="T113" fmla="*/ 2251 h 10000"/>
              <a:gd name="T114" fmla="*/ 1158 w 16120"/>
              <a:gd name="T115" fmla="*/ 4999 h 10000"/>
              <a:gd name="T116" fmla="*/ 2738 w 16120"/>
              <a:gd name="T117" fmla="*/ 7747 h 10000"/>
              <a:gd name="T118" fmla="*/ 5900 w 16120"/>
              <a:gd name="T119" fmla="*/ 7747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120" h="10000">
                <a:moveTo>
                  <a:pt x="4606" y="166"/>
                </a:moveTo>
                <a:lnTo>
                  <a:pt x="6477" y="1249"/>
                </a:lnTo>
                <a:lnTo>
                  <a:pt x="6479" y="1249"/>
                </a:lnTo>
                <a:lnTo>
                  <a:pt x="8060" y="2164"/>
                </a:lnTo>
                <a:lnTo>
                  <a:pt x="9641" y="1249"/>
                </a:lnTo>
                <a:lnTo>
                  <a:pt x="9643" y="1249"/>
                </a:lnTo>
                <a:lnTo>
                  <a:pt x="11514" y="166"/>
                </a:lnTo>
                <a:lnTo>
                  <a:pt x="11801" y="0"/>
                </a:lnTo>
                <a:lnTo>
                  <a:pt x="12088" y="166"/>
                </a:lnTo>
                <a:lnTo>
                  <a:pt x="13958" y="1249"/>
                </a:lnTo>
                <a:lnTo>
                  <a:pt x="13960" y="1249"/>
                </a:lnTo>
                <a:lnTo>
                  <a:pt x="15831" y="2332"/>
                </a:lnTo>
                <a:lnTo>
                  <a:pt x="16120" y="2500"/>
                </a:lnTo>
                <a:lnTo>
                  <a:pt x="16120" y="2833"/>
                </a:lnTo>
                <a:lnTo>
                  <a:pt x="16120" y="4999"/>
                </a:lnTo>
                <a:lnTo>
                  <a:pt x="16120" y="7165"/>
                </a:lnTo>
                <a:lnTo>
                  <a:pt x="16120" y="7499"/>
                </a:lnTo>
                <a:lnTo>
                  <a:pt x="15831" y="7666"/>
                </a:lnTo>
                <a:lnTo>
                  <a:pt x="13960" y="8749"/>
                </a:lnTo>
                <a:lnTo>
                  <a:pt x="12090" y="9832"/>
                </a:lnTo>
                <a:lnTo>
                  <a:pt x="11801" y="10000"/>
                </a:lnTo>
                <a:lnTo>
                  <a:pt x="11511" y="9832"/>
                </a:lnTo>
                <a:lnTo>
                  <a:pt x="9641" y="8749"/>
                </a:lnTo>
                <a:lnTo>
                  <a:pt x="8060" y="7834"/>
                </a:lnTo>
                <a:lnTo>
                  <a:pt x="6479" y="8749"/>
                </a:lnTo>
                <a:lnTo>
                  <a:pt x="4609" y="9832"/>
                </a:lnTo>
                <a:lnTo>
                  <a:pt x="4319" y="10000"/>
                </a:lnTo>
                <a:lnTo>
                  <a:pt x="4030" y="9832"/>
                </a:lnTo>
                <a:lnTo>
                  <a:pt x="2160" y="8749"/>
                </a:lnTo>
                <a:lnTo>
                  <a:pt x="289" y="7666"/>
                </a:lnTo>
                <a:lnTo>
                  <a:pt x="0" y="7498"/>
                </a:lnTo>
                <a:lnTo>
                  <a:pt x="0" y="7165"/>
                </a:lnTo>
                <a:lnTo>
                  <a:pt x="0" y="4999"/>
                </a:lnTo>
                <a:lnTo>
                  <a:pt x="0" y="2833"/>
                </a:lnTo>
                <a:lnTo>
                  <a:pt x="0" y="2500"/>
                </a:lnTo>
                <a:lnTo>
                  <a:pt x="289" y="2332"/>
                </a:lnTo>
                <a:lnTo>
                  <a:pt x="2160" y="1249"/>
                </a:lnTo>
                <a:lnTo>
                  <a:pt x="2162" y="1249"/>
                </a:lnTo>
                <a:lnTo>
                  <a:pt x="4032" y="166"/>
                </a:lnTo>
                <a:lnTo>
                  <a:pt x="4319" y="0"/>
                </a:lnTo>
                <a:lnTo>
                  <a:pt x="4606" y="166"/>
                </a:lnTo>
                <a:close/>
                <a:moveTo>
                  <a:pt x="14418" y="3568"/>
                </a:moveTo>
                <a:lnTo>
                  <a:pt x="14418" y="4999"/>
                </a:lnTo>
                <a:lnTo>
                  <a:pt x="14418" y="6431"/>
                </a:lnTo>
                <a:lnTo>
                  <a:pt x="14127" y="6431"/>
                </a:lnTo>
                <a:lnTo>
                  <a:pt x="14127" y="4999"/>
                </a:lnTo>
                <a:lnTo>
                  <a:pt x="14127" y="3568"/>
                </a:lnTo>
                <a:lnTo>
                  <a:pt x="14418" y="3568"/>
                </a:lnTo>
                <a:close/>
                <a:moveTo>
                  <a:pt x="11728" y="7988"/>
                </a:moveTo>
                <a:lnTo>
                  <a:pt x="10492" y="7273"/>
                </a:lnTo>
                <a:lnTo>
                  <a:pt x="10491" y="7273"/>
                </a:lnTo>
                <a:lnTo>
                  <a:pt x="9255" y="6557"/>
                </a:lnTo>
                <a:lnTo>
                  <a:pt x="9400" y="6305"/>
                </a:lnTo>
                <a:lnTo>
                  <a:pt x="10637" y="7021"/>
                </a:lnTo>
                <a:lnTo>
                  <a:pt x="10636" y="7021"/>
                </a:lnTo>
                <a:lnTo>
                  <a:pt x="11872" y="7737"/>
                </a:lnTo>
                <a:lnTo>
                  <a:pt x="11728" y="7988"/>
                </a:lnTo>
                <a:close/>
                <a:moveTo>
                  <a:pt x="9256" y="3442"/>
                </a:moveTo>
                <a:lnTo>
                  <a:pt x="10491" y="2727"/>
                </a:lnTo>
                <a:lnTo>
                  <a:pt x="10491" y="2726"/>
                </a:lnTo>
                <a:lnTo>
                  <a:pt x="11727" y="2011"/>
                </a:lnTo>
                <a:lnTo>
                  <a:pt x="11872" y="2261"/>
                </a:lnTo>
                <a:lnTo>
                  <a:pt x="10637" y="2978"/>
                </a:lnTo>
                <a:lnTo>
                  <a:pt x="10636" y="2978"/>
                </a:lnTo>
                <a:lnTo>
                  <a:pt x="9400" y="3693"/>
                </a:lnTo>
                <a:lnTo>
                  <a:pt x="9256" y="3442"/>
                </a:lnTo>
                <a:close/>
                <a:moveTo>
                  <a:pt x="6937" y="3568"/>
                </a:moveTo>
                <a:lnTo>
                  <a:pt x="6937" y="4999"/>
                </a:lnTo>
                <a:lnTo>
                  <a:pt x="6937" y="6431"/>
                </a:lnTo>
                <a:lnTo>
                  <a:pt x="6646" y="6431"/>
                </a:lnTo>
                <a:lnTo>
                  <a:pt x="6646" y="4999"/>
                </a:lnTo>
                <a:lnTo>
                  <a:pt x="6646" y="3568"/>
                </a:lnTo>
                <a:lnTo>
                  <a:pt x="6937" y="3568"/>
                </a:lnTo>
                <a:close/>
                <a:moveTo>
                  <a:pt x="4248" y="7988"/>
                </a:moveTo>
                <a:lnTo>
                  <a:pt x="3011" y="7273"/>
                </a:lnTo>
                <a:lnTo>
                  <a:pt x="3010" y="7273"/>
                </a:lnTo>
                <a:lnTo>
                  <a:pt x="1774" y="6557"/>
                </a:lnTo>
                <a:lnTo>
                  <a:pt x="1919" y="6305"/>
                </a:lnTo>
                <a:lnTo>
                  <a:pt x="3155" y="7021"/>
                </a:lnTo>
                <a:lnTo>
                  <a:pt x="3155" y="7021"/>
                </a:lnTo>
                <a:lnTo>
                  <a:pt x="4392" y="7737"/>
                </a:lnTo>
                <a:lnTo>
                  <a:pt x="4248" y="7988"/>
                </a:lnTo>
                <a:close/>
                <a:moveTo>
                  <a:pt x="1774" y="3442"/>
                </a:moveTo>
                <a:lnTo>
                  <a:pt x="3010" y="2727"/>
                </a:lnTo>
                <a:lnTo>
                  <a:pt x="3010" y="2726"/>
                </a:lnTo>
                <a:lnTo>
                  <a:pt x="4247" y="2011"/>
                </a:lnTo>
                <a:lnTo>
                  <a:pt x="4392" y="2261"/>
                </a:lnTo>
                <a:lnTo>
                  <a:pt x="3155" y="2978"/>
                </a:lnTo>
                <a:lnTo>
                  <a:pt x="3155" y="2978"/>
                </a:lnTo>
                <a:lnTo>
                  <a:pt x="1918" y="3693"/>
                </a:lnTo>
                <a:lnTo>
                  <a:pt x="1774" y="3442"/>
                </a:lnTo>
                <a:close/>
                <a:moveTo>
                  <a:pt x="8639" y="3167"/>
                </a:moveTo>
                <a:lnTo>
                  <a:pt x="8639" y="4999"/>
                </a:lnTo>
                <a:lnTo>
                  <a:pt x="8639" y="6831"/>
                </a:lnTo>
                <a:lnTo>
                  <a:pt x="10220" y="7747"/>
                </a:lnTo>
                <a:lnTo>
                  <a:pt x="11801" y="8662"/>
                </a:lnTo>
                <a:lnTo>
                  <a:pt x="13382" y="7747"/>
                </a:lnTo>
                <a:lnTo>
                  <a:pt x="14962" y="6831"/>
                </a:lnTo>
                <a:lnTo>
                  <a:pt x="14962" y="4999"/>
                </a:lnTo>
                <a:lnTo>
                  <a:pt x="14962" y="3167"/>
                </a:lnTo>
                <a:lnTo>
                  <a:pt x="13382" y="2251"/>
                </a:lnTo>
                <a:lnTo>
                  <a:pt x="13382" y="2250"/>
                </a:lnTo>
                <a:lnTo>
                  <a:pt x="11801" y="1335"/>
                </a:lnTo>
                <a:lnTo>
                  <a:pt x="10219" y="2250"/>
                </a:lnTo>
                <a:lnTo>
                  <a:pt x="10220" y="2251"/>
                </a:lnTo>
                <a:lnTo>
                  <a:pt x="8639" y="3167"/>
                </a:lnTo>
                <a:close/>
                <a:moveTo>
                  <a:pt x="7481" y="6831"/>
                </a:moveTo>
                <a:lnTo>
                  <a:pt x="7481" y="4999"/>
                </a:lnTo>
                <a:lnTo>
                  <a:pt x="7481" y="3167"/>
                </a:lnTo>
                <a:lnTo>
                  <a:pt x="5900" y="2251"/>
                </a:lnTo>
                <a:lnTo>
                  <a:pt x="5901" y="2250"/>
                </a:lnTo>
                <a:lnTo>
                  <a:pt x="4319" y="1335"/>
                </a:lnTo>
                <a:lnTo>
                  <a:pt x="2738" y="2250"/>
                </a:lnTo>
                <a:lnTo>
                  <a:pt x="2738" y="2251"/>
                </a:lnTo>
                <a:lnTo>
                  <a:pt x="1158" y="3167"/>
                </a:lnTo>
                <a:lnTo>
                  <a:pt x="1158" y="4999"/>
                </a:lnTo>
                <a:lnTo>
                  <a:pt x="1158" y="6831"/>
                </a:lnTo>
                <a:lnTo>
                  <a:pt x="2738" y="7747"/>
                </a:lnTo>
                <a:lnTo>
                  <a:pt x="4319" y="8662"/>
                </a:lnTo>
                <a:lnTo>
                  <a:pt x="5900" y="7747"/>
                </a:lnTo>
                <a:lnTo>
                  <a:pt x="7481" y="68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3" name="razlom"/>
          <p:cNvSpPr>
            <a:spLocks noEditPoints="1"/>
          </p:cNvSpPr>
          <p:nvPr/>
        </p:nvSpPr>
        <p:spPr bwMode="auto">
          <a:xfrm>
            <a:off x="8403545" y="2424912"/>
            <a:ext cx="401805" cy="275072"/>
          </a:xfrm>
          <a:custGeom>
            <a:avLst/>
            <a:gdLst>
              <a:gd name="T0" fmla="*/ 3765 w 16320"/>
              <a:gd name="T1" fmla="*/ 5793 h 12528"/>
              <a:gd name="T2" fmla="*/ 5199 w 16320"/>
              <a:gd name="T3" fmla="*/ 1505 h 12528"/>
              <a:gd name="T4" fmla="*/ 5702 w 16320"/>
              <a:gd name="T5" fmla="*/ 0 h 12528"/>
              <a:gd name="T6" fmla="*/ 4753 w 16320"/>
              <a:gd name="T7" fmla="*/ 948 h 12528"/>
              <a:gd name="T8" fmla="*/ 3114 w 16320"/>
              <a:gd name="T9" fmla="*/ 4941 h 12528"/>
              <a:gd name="T10" fmla="*/ 0 w 16320"/>
              <a:gd name="T11" fmla="*/ 12528 h 12528"/>
              <a:gd name="T12" fmla="*/ 13406 w 16320"/>
              <a:gd name="T13" fmla="*/ 12528 h 12528"/>
              <a:gd name="T14" fmla="*/ 10497 w 16320"/>
              <a:gd name="T15" fmla="*/ 6752 h 12528"/>
              <a:gd name="T16" fmla="*/ 10653 w 16320"/>
              <a:gd name="T17" fmla="*/ 10210 h 12528"/>
              <a:gd name="T18" fmla="*/ 9420 w 16320"/>
              <a:gd name="T19" fmla="*/ 12528 h 12528"/>
              <a:gd name="T20" fmla="*/ 12719 w 16320"/>
              <a:gd name="T21" fmla="*/ 6284 h 12528"/>
              <a:gd name="T22" fmla="*/ 16320 w 16320"/>
              <a:gd name="T23" fmla="*/ 12528 h 12528"/>
              <a:gd name="T24" fmla="*/ 12719 w 16320"/>
              <a:gd name="T25" fmla="*/ 6284 h 12528"/>
              <a:gd name="T26" fmla="*/ 10757 w 16320"/>
              <a:gd name="T27" fmla="*/ 2491 h 12528"/>
              <a:gd name="T28" fmla="*/ 10826 w 16320"/>
              <a:gd name="T29" fmla="*/ 4548 h 12528"/>
              <a:gd name="T30" fmla="*/ 8704 w 16320"/>
              <a:gd name="T31" fmla="*/ 5688 h 12528"/>
              <a:gd name="T32" fmla="*/ 9967 w 16320"/>
              <a:gd name="T33" fmla="*/ 6254 h 12528"/>
              <a:gd name="T34" fmla="*/ 10618 w 16320"/>
              <a:gd name="T35" fmla="*/ 0 h 12528"/>
              <a:gd name="T36" fmla="*/ 12973 w 16320"/>
              <a:gd name="T37" fmla="*/ 4374 h 12528"/>
              <a:gd name="T38" fmla="*/ 10618 w 16320"/>
              <a:gd name="T39" fmla="*/ 0 h 12528"/>
              <a:gd name="T40" fmla="*/ 8345 w 16320"/>
              <a:gd name="T41" fmla="*/ 3180 h 12528"/>
              <a:gd name="T42" fmla="*/ 8533 w 16320"/>
              <a:gd name="T43" fmla="*/ 4890 h 12528"/>
              <a:gd name="T44" fmla="*/ 10364 w 16320"/>
              <a:gd name="T45" fmla="*/ 4294 h 12528"/>
              <a:gd name="T46" fmla="*/ 10638 w 16320"/>
              <a:gd name="T47" fmla="*/ 2389 h 12528"/>
              <a:gd name="T48" fmla="*/ 10100 w 16320"/>
              <a:gd name="T49" fmla="*/ 0 h 12528"/>
              <a:gd name="T50" fmla="*/ 6764 w 16320"/>
              <a:gd name="T51" fmla="*/ 2035 h 12528"/>
              <a:gd name="T52" fmla="*/ 7763 w 16320"/>
              <a:gd name="T53" fmla="*/ 3314 h 12528"/>
              <a:gd name="T54" fmla="*/ 8114 w 16320"/>
              <a:gd name="T55" fmla="*/ 3147 h 12528"/>
              <a:gd name="T56" fmla="*/ 6220 w 16320"/>
              <a:gd name="T57" fmla="*/ 0 h 12528"/>
              <a:gd name="T58" fmla="*/ 6764 w 16320"/>
              <a:gd name="T59" fmla="*/ 2035 h 12528"/>
              <a:gd name="T60" fmla="*/ 6712 w 16320"/>
              <a:gd name="T61" fmla="*/ 7241 h 12528"/>
              <a:gd name="T62" fmla="*/ 8239 w 16320"/>
              <a:gd name="T63" fmla="*/ 8971 h 12528"/>
              <a:gd name="T64" fmla="*/ 8192 w 16320"/>
              <a:gd name="T65" fmla="*/ 5806 h 12528"/>
              <a:gd name="T66" fmla="*/ 7994 w 16320"/>
              <a:gd name="T67" fmla="*/ 3830 h 12528"/>
              <a:gd name="T68" fmla="*/ 6600 w 16320"/>
              <a:gd name="T69" fmla="*/ 2271 h 12528"/>
              <a:gd name="T70" fmla="*/ 4480 w 16320"/>
              <a:gd name="T71" fmla="*/ 6595 h 12528"/>
              <a:gd name="T72" fmla="*/ 4305 w 16320"/>
              <a:gd name="T73" fmla="*/ 7253 h 12528"/>
              <a:gd name="T74" fmla="*/ 7897 w 16320"/>
              <a:gd name="T75" fmla="*/ 12528 h 12528"/>
              <a:gd name="T76" fmla="*/ 9351 w 16320"/>
              <a:gd name="T77" fmla="*/ 10306 h 12528"/>
              <a:gd name="T78" fmla="*/ 6418 w 16320"/>
              <a:gd name="T79" fmla="*/ 7668 h 12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320" h="12528">
                <a:moveTo>
                  <a:pt x="1514" y="12528"/>
                </a:moveTo>
                <a:lnTo>
                  <a:pt x="3765" y="5793"/>
                </a:lnTo>
                <a:lnTo>
                  <a:pt x="3841" y="5566"/>
                </a:lnTo>
                <a:lnTo>
                  <a:pt x="5199" y="1505"/>
                </a:lnTo>
                <a:lnTo>
                  <a:pt x="5244" y="1370"/>
                </a:lnTo>
                <a:lnTo>
                  <a:pt x="5702" y="0"/>
                </a:lnTo>
                <a:lnTo>
                  <a:pt x="5142" y="0"/>
                </a:lnTo>
                <a:lnTo>
                  <a:pt x="4753" y="948"/>
                </a:lnTo>
                <a:lnTo>
                  <a:pt x="4746" y="965"/>
                </a:lnTo>
                <a:lnTo>
                  <a:pt x="3114" y="4941"/>
                </a:lnTo>
                <a:lnTo>
                  <a:pt x="3094" y="4991"/>
                </a:lnTo>
                <a:lnTo>
                  <a:pt x="0" y="12528"/>
                </a:lnTo>
                <a:lnTo>
                  <a:pt x="1514" y="12528"/>
                </a:lnTo>
                <a:close/>
                <a:moveTo>
                  <a:pt x="13406" y="12528"/>
                </a:moveTo>
                <a:lnTo>
                  <a:pt x="11969" y="7079"/>
                </a:lnTo>
                <a:lnTo>
                  <a:pt x="10497" y="6752"/>
                </a:lnTo>
                <a:lnTo>
                  <a:pt x="9414" y="9004"/>
                </a:lnTo>
                <a:lnTo>
                  <a:pt x="10653" y="10210"/>
                </a:lnTo>
                <a:lnTo>
                  <a:pt x="9359" y="12252"/>
                </a:lnTo>
                <a:lnTo>
                  <a:pt x="9420" y="12528"/>
                </a:lnTo>
                <a:lnTo>
                  <a:pt x="13406" y="12528"/>
                </a:lnTo>
                <a:close/>
                <a:moveTo>
                  <a:pt x="12719" y="6284"/>
                </a:moveTo>
                <a:lnTo>
                  <a:pt x="14806" y="12528"/>
                </a:lnTo>
                <a:lnTo>
                  <a:pt x="16320" y="12528"/>
                </a:lnTo>
                <a:lnTo>
                  <a:pt x="13271" y="5101"/>
                </a:lnTo>
                <a:lnTo>
                  <a:pt x="12719" y="6284"/>
                </a:lnTo>
                <a:close/>
                <a:moveTo>
                  <a:pt x="11859" y="6663"/>
                </a:moveTo>
                <a:lnTo>
                  <a:pt x="10757" y="2491"/>
                </a:lnTo>
                <a:lnTo>
                  <a:pt x="10254" y="2761"/>
                </a:lnTo>
                <a:lnTo>
                  <a:pt x="10826" y="4548"/>
                </a:lnTo>
                <a:lnTo>
                  <a:pt x="9151" y="4689"/>
                </a:lnTo>
                <a:lnTo>
                  <a:pt x="8704" y="5688"/>
                </a:lnTo>
                <a:lnTo>
                  <a:pt x="9137" y="7715"/>
                </a:lnTo>
                <a:lnTo>
                  <a:pt x="9967" y="6254"/>
                </a:lnTo>
                <a:lnTo>
                  <a:pt x="11859" y="6663"/>
                </a:lnTo>
                <a:close/>
                <a:moveTo>
                  <a:pt x="10618" y="0"/>
                </a:moveTo>
                <a:lnTo>
                  <a:pt x="12459" y="5506"/>
                </a:lnTo>
                <a:lnTo>
                  <a:pt x="12973" y="4374"/>
                </a:lnTo>
                <a:lnTo>
                  <a:pt x="11178" y="0"/>
                </a:lnTo>
                <a:lnTo>
                  <a:pt x="10618" y="0"/>
                </a:lnTo>
                <a:close/>
                <a:moveTo>
                  <a:pt x="7520" y="0"/>
                </a:moveTo>
                <a:lnTo>
                  <a:pt x="8345" y="3180"/>
                </a:lnTo>
                <a:lnTo>
                  <a:pt x="8285" y="4885"/>
                </a:lnTo>
                <a:lnTo>
                  <a:pt x="8533" y="4890"/>
                </a:lnTo>
                <a:lnTo>
                  <a:pt x="8820" y="4493"/>
                </a:lnTo>
                <a:lnTo>
                  <a:pt x="10364" y="4294"/>
                </a:lnTo>
                <a:lnTo>
                  <a:pt x="10082" y="2696"/>
                </a:lnTo>
                <a:lnTo>
                  <a:pt x="10638" y="2389"/>
                </a:lnTo>
                <a:lnTo>
                  <a:pt x="10682" y="2206"/>
                </a:lnTo>
                <a:lnTo>
                  <a:pt x="10100" y="0"/>
                </a:lnTo>
                <a:lnTo>
                  <a:pt x="7520" y="0"/>
                </a:lnTo>
                <a:close/>
                <a:moveTo>
                  <a:pt x="6764" y="2035"/>
                </a:moveTo>
                <a:lnTo>
                  <a:pt x="6965" y="3448"/>
                </a:lnTo>
                <a:lnTo>
                  <a:pt x="7763" y="3314"/>
                </a:lnTo>
                <a:lnTo>
                  <a:pt x="8095" y="3543"/>
                </a:lnTo>
                <a:lnTo>
                  <a:pt x="8114" y="3147"/>
                </a:lnTo>
                <a:lnTo>
                  <a:pt x="7518" y="0"/>
                </a:lnTo>
                <a:lnTo>
                  <a:pt x="6220" y="0"/>
                </a:lnTo>
                <a:lnTo>
                  <a:pt x="5646" y="2177"/>
                </a:lnTo>
                <a:lnTo>
                  <a:pt x="6764" y="2035"/>
                </a:lnTo>
                <a:close/>
                <a:moveTo>
                  <a:pt x="4652" y="7100"/>
                </a:moveTo>
                <a:lnTo>
                  <a:pt x="6712" y="7241"/>
                </a:lnTo>
                <a:lnTo>
                  <a:pt x="7411" y="8949"/>
                </a:lnTo>
                <a:lnTo>
                  <a:pt x="8239" y="8971"/>
                </a:lnTo>
                <a:lnTo>
                  <a:pt x="8276" y="7484"/>
                </a:lnTo>
                <a:lnTo>
                  <a:pt x="8192" y="5806"/>
                </a:lnTo>
                <a:lnTo>
                  <a:pt x="7580" y="5386"/>
                </a:lnTo>
                <a:lnTo>
                  <a:pt x="7994" y="3830"/>
                </a:lnTo>
                <a:lnTo>
                  <a:pt x="6737" y="3701"/>
                </a:lnTo>
                <a:lnTo>
                  <a:pt x="6600" y="2271"/>
                </a:lnTo>
                <a:lnTo>
                  <a:pt x="5624" y="2256"/>
                </a:lnTo>
                <a:lnTo>
                  <a:pt x="4480" y="6595"/>
                </a:lnTo>
                <a:lnTo>
                  <a:pt x="4652" y="7100"/>
                </a:lnTo>
                <a:close/>
                <a:moveTo>
                  <a:pt x="4305" y="7253"/>
                </a:moveTo>
                <a:lnTo>
                  <a:pt x="2914" y="12528"/>
                </a:lnTo>
                <a:lnTo>
                  <a:pt x="7897" y="12528"/>
                </a:lnTo>
                <a:lnTo>
                  <a:pt x="7899" y="12201"/>
                </a:lnTo>
                <a:lnTo>
                  <a:pt x="9351" y="10306"/>
                </a:lnTo>
                <a:lnTo>
                  <a:pt x="7000" y="9405"/>
                </a:lnTo>
                <a:lnTo>
                  <a:pt x="6418" y="7668"/>
                </a:lnTo>
                <a:lnTo>
                  <a:pt x="4305" y="7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287524" y="1088740"/>
            <a:ext cx="8569139" cy="1224136"/>
          </a:xfrm>
          <a:prstGeom prst="rect">
            <a:avLst/>
          </a:prstGeom>
          <a:solidFill>
            <a:srgbClr val="FFFFFF">
              <a:alpha val="40000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8" t="14439" r="6384" b="4103"/>
          <a:stretch/>
        </p:blipFill>
        <p:spPr>
          <a:xfrm>
            <a:off x="287524" y="4345354"/>
            <a:ext cx="1871661" cy="1999970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08" y="4564725"/>
            <a:ext cx="2272215" cy="178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254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</p:spPr>
        <p:txBody>
          <a:bodyPr/>
          <a:lstStyle/>
          <a:p>
            <a:r>
              <a:rPr lang="ru-RU" dirty="0" smtClean="0"/>
              <a:t>С 2016 г. Компания вышла на рынок инновационных </a:t>
            </a:r>
            <a:r>
              <a:rPr lang="ru-RU" dirty="0" err="1" smtClean="0"/>
              <a:t>битумопроизводных</a:t>
            </a:r>
            <a:r>
              <a:rPr lang="ru-RU" dirty="0" smtClean="0"/>
              <a:t> продуктов </a:t>
            </a:r>
            <a:endParaRPr lang="ru-RU" dirty="0"/>
          </a:p>
        </p:txBody>
      </p:sp>
      <p:sp>
        <p:nvSpPr>
          <p:cNvPr id="8" name="Объект 7"/>
          <p:cNvSpPr>
            <a:spLocks noGrp="1"/>
          </p:cNvSpPr>
          <p:nvPr>
            <p:ph sz="quarter" idx="4294967295"/>
          </p:nvPr>
        </p:nvSpPr>
        <p:spPr>
          <a:xfrm>
            <a:off x="6156325" y="1268499"/>
            <a:ext cx="2691331" cy="5076825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400"/>
              </a:lnSpc>
              <a:spcBef>
                <a:spcPts val="600"/>
              </a:spcBef>
            </a:pPr>
            <a:r>
              <a:rPr lang="ru-RU" sz="1400" dirty="0"/>
              <a:t>Стыковочные ленты «БРИТ» - </a:t>
            </a:r>
            <a:r>
              <a:rPr lang="ru-RU" sz="1400" dirty="0" smtClean="0"/>
              <a:t>эффективная технология обеспечения </a:t>
            </a:r>
            <a:r>
              <a:rPr lang="ru-RU" sz="1400" dirty="0"/>
              <a:t>долговечности </a:t>
            </a:r>
            <a:r>
              <a:rPr lang="ru-RU" sz="1400" dirty="0">
                <a:solidFill>
                  <a:schemeClr val="accent6"/>
                </a:solidFill>
              </a:rPr>
              <a:t>технологических </a:t>
            </a:r>
            <a:r>
              <a:rPr lang="ru-RU" sz="1400" dirty="0" smtClean="0">
                <a:solidFill>
                  <a:schemeClr val="accent6"/>
                </a:solidFill>
              </a:rPr>
              <a:t>швов                       </a:t>
            </a:r>
            <a:r>
              <a:rPr lang="ru-RU" sz="1400" dirty="0">
                <a:solidFill>
                  <a:schemeClr val="accent6"/>
                </a:solidFill>
              </a:rPr>
              <a:t>и стыков 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4294967295"/>
          </p:nvPr>
        </p:nvSpPr>
        <p:spPr>
          <a:xfrm>
            <a:off x="287338" y="1268412"/>
            <a:ext cx="2691331" cy="5076825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400"/>
              </a:lnSpc>
            </a:pPr>
            <a:r>
              <a:rPr lang="ru-RU" sz="1400" dirty="0"/>
              <a:t>Защитно-восстанавливающие составы </a:t>
            </a:r>
            <a:r>
              <a:rPr lang="ru-RU" sz="1400" dirty="0" smtClean="0"/>
              <a:t>– эффективная технология устранения </a:t>
            </a:r>
            <a:r>
              <a:rPr lang="ru-RU" sz="1400" dirty="0">
                <a:solidFill>
                  <a:schemeClr val="accent6"/>
                </a:solidFill>
              </a:rPr>
              <a:t>поверхностных дефектов 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4294967295"/>
          </p:nvPr>
        </p:nvSpPr>
        <p:spPr>
          <a:xfrm>
            <a:off x="3221831" y="1268412"/>
            <a:ext cx="2691331" cy="5076825"/>
          </a:xfrm>
          <a:prstGeom prst="rect">
            <a:avLst/>
          </a:prstGeom>
        </p:spPr>
        <p:txBody>
          <a:bodyPr/>
          <a:lstStyle/>
          <a:p>
            <a:pPr>
              <a:lnSpc>
                <a:spcPts val="1400"/>
              </a:lnSpc>
              <a:spcBef>
                <a:spcPts val="600"/>
              </a:spcBef>
            </a:pPr>
            <a:r>
              <a:rPr lang="ru-RU" sz="1400" dirty="0"/>
              <a:t>Герметизирующие мастики – эффективная технология точечной герметизации </a:t>
            </a:r>
            <a:r>
              <a:rPr lang="ru-RU" sz="1400" dirty="0">
                <a:solidFill>
                  <a:schemeClr val="accent6"/>
                </a:solidFill>
              </a:rPr>
              <a:t>технологических                            и отраженных трещин </a:t>
            </a:r>
          </a:p>
          <a:p>
            <a:pPr>
              <a:lnSpc>
                <a:spcPts val="1400"/>
              </a:lnSpc>
              <a:spcBef>
                <a:spcPts val="600"/>
              </a:spcBef>
            </a:pPr>
            <a:endParaRPr lang="ru-RU" sz="1400" dirty="0"/>
          </a:p>
        </p:txBody>
      </p:sp>
      <p:pic>
        <p:nvPicPr>
          <p:cNvPr id="11" name="Объект 4"/>
          <p:cNvPicPr>
            <a:picLocks noChangeAspect="1"/>
          </p:cNvPicPr>
          <p:nvPr/>
        </p:nvPicPr>
        <p:blipFill rotWithShape="1">
          <a:blip r:embed="rId2"/>
          <a:srcRect t="11551" r="19557"/>
          <a:stretch/>
        </p:blipFill>
        <p:spPr>
          <a:xfrm>
            <a:off x="287524" y="2384424"/>
            <a:ext cx="2700151" cy="3963036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287524" y="4725144"/>
            <a:ext cx="270033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Ь:</a:t>
            </a:r>
          </a:p>
          <a:p>
            <a:pPr algn="ctr"/>
            <a:r>
              <a:rPr lang="ru-RU" sz="1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вышение эксплуатационной надежности и продление срока службы верхнего слоя покрытия</a:t>
            </a:r>
          </a:p>
          <a:p>
            <a:pPr algn="ctr"/>
            <a:r>
              <a:rPr lang="ru-RU" sz="1200" b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НИКАЛЬНОСТЬ:</a:t>
            </a:r>
          </a:p>
          <a:p>
            <a:pPr algn="ctr"/>
            <a:r>
              <a:rPr lang="ru-RU" sz="12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ерметизация поверхностных дефектов и открытых пор верхнего слоя покрытия</a:t>
            </a:r>
            <a:endParaRPr lang="ru-RU" sz="12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3848" y="2384883"/>
            <a:ext cx="2685629" cy="25753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0"/>
          <a:stretch/>
        </p:blipFill>
        <p:spPr bwMode="auto">
          <a:xfrm>
            <a:off x="6179819" y="2384424"/>
            <a:ext cx="2676844" cy="39612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Объект 1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83" r="11278"/>
          <a:stretch/>
        </p:blipFill>
        <p:spPr>
          <a:xfrm>
            <a:off x="7687578" y="2384884"/>
            <a:ext cx="1168898" cy="1298280"/>
          </a:xfrm>
          <a:prstGeom prst="rect">
            <a:avLst/>
          </a:prstGeom>
          <a:ln w="28575">
            <a:solidFill>
              <a:schemeClr val="bg1"/>
            </a:solidFill>
          </a:ln>
        </p:spPr>
      </p:pic>
      <p:sp>
        <p:nvSpPr>
          <p:cNvPr id="17" name="Прямоугольник 16"/>
          <p:cNvSpPr/>
          <p:nvPr/>
        </p:nvSpPr>
        <p:spPr>
          <a:xfrm>
            <a:off x="6179819" y="4960329"/>
            <a:ext cx="2681287" cy="1384995"/>
          </a:xfrm>
          <a:prstGeom prst="rect">
            <a:avLst/>
          </a:prstGeom>
          <a:solidFill>
            <a:schemeClr val="bg1">
              <a:alpha val="67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Ь:</a:t>
            </a:r>
          </a:p>
          <a:p>
            <a:pPr algn="ctr"/>
            <a:r>
              <a:rPr lang="ru-RU" sz="1200" b="1" dirty="0" smtClean="0">
                <a:solidFill>
                  <a:schemeClr val="accent1"/>
                </a:solidFill>
              </a:rPr>
              <a:t>Обеспечение герметизации «холодных стыков»</a:t>
            </a:r>
          </a:p>
          <a:p>
            <a:pPr algn="ctr"/>
            <a:endParaRPr lang="ru-RU" sz="12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ru-RU" sz="1200" b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НИКАЛЬНОСТЬ:</a:t>
            </a:r>
          </a:p>
          <a:p>
            <a:pPr algn="ctr"/>
            <a:r>
              <a:rPr lang="ru-RU" sz="1200" b="1" dirty="0" smtClean="0">
                <a:solidFill>
                  <a:schemeClr val="accent1"/>
                </a:solidFill>
              </a:rPr>
              <a:t>Герметизация в процессе укладки и уплотнения а/б смеси </a:t>
            </a:r>
            <a:endParaRPr lang="ru-RU" sz="1200" b="1" dirty="0">
              <a:solidFill>
                <a:schemeClr val="accent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3203848" y="4039136"/>
            <a:ext cx="2700339" cy="1938992"/>
          </a:xfrm>
          <a:prstGeom prst="rect">
            <a:avLst/>
          </a:prstGeom>
          <a:solidFill>
            <a:schemeClr val="bg1">
              <a:alpha val="6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accent6"/>
                </a:solidFill>
              </a:rPr>
              <a:t>ЦЕЛЬ</a:t>
            </a:r>
            <a:r>
              <a:rPr lang="ru-RU" sz="1200" b="1" dirty="0" smtClean="0">
                <a:solidFill>
                  <a:srgbClr val="004077"/>
                </a:solidFill>
              </a:rPr>
              <a:t>:</a:t>
            </a:r>
          </a:p>
          <a:p>
            <a:pPr algn="ctr"/>
            <a:r>
              <a:rPr lang="ru-RU" sz="1200" b="1" dirty="0" smtClean="0">
                <a:solidFill>
                  <a:srgbClr val="004077"/>
                </a:solidFill>
              </a:rPr>
              <a:t>Обеспечение целостности и водонепроницаемости покрытий </a:t>
            </a:r>
          </a:p>
          <a:p>
            <a:pPr algn="ctr"/>
            <a:endParaRPr lang="ru-RU" sz="1200" b="1" dirty="0">
              <a:solidFill>
                <a:srgbClr val="004077"/>
              </a:solidFill>
            </a:endParaRPr>
          </a:p>
          <a:p>
            <a:pPr algn="ctr"/>
            <a:r>
              <a:rPr lang="ru-RU" sz="1200" b="1" dirty="0" smtClean="0">
                <a:solidFill>
                  <a:schemeClr val="accent6"/>
                </a:solidFill>
              </a:rPr>
              <a:t>УНИКАЛЬНОСТЬ:</a:t>
            </a:r>
          </a:p>
          <a:p>
            <a:pPr algn="ctr"/>
            <a:r>
              <a:rPr lang="ru-RU" sz="1200" b="1" dirty="0" smtClean="0">
                <a:solidFill>
                  <a:srgbClr val="004077"/>
                </a:solidFill>
              </a:rPr>
              <a:t>Для </a:t>
            </a:r>
            <a:r>
              <a:rPr lang="ru-RU" sz="1200" b="1" dirty="0">
                <a:solidFill>
                  <a:srgbClr val="004077"/>
                </a:solidFill>
              </a:rPr>
              <a:t>всех дорожно-климатических зон, типов покрытий и условий </a:t>
            </a:r>
            <a:r>
              <a:rPr lang="ru-RU" sz="1200" b="1" dirty="0" smtClean="0">
                <a:solidFill>
                  <a:srgbClr val="004077"/>
                </a:solidFill>
              </a:rPr>
              <a:t>эксплуатации</a:t>
            </a:r>
            <a:endParaRPr lang="ru-RU" sz="1200" b="1" dirty="0">
              <a:solidFill>
                <a:srgbClr val="00407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179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 err="1" smtClean="0"/>
              <a:t>Битумопроизводные</a:t>
            </a:r>
            <a:r>
              <a:rPr lang="ru-RU" dirty="0" smtClean="0"/>
              <a:t> материалы обеспечивают </a:t>
            </a:r>
            <a:r>
              <a:rPr lang="ru-RU" dirty="0"/>
              <a:t>сохранение целостности </a:t>
            </a:r>
            <a:r>
              <a:rPr lang="ru-RU" dirty="0" smtClean="0"/>
              <a:t>асфальтобетона</a:t>
            </a:r>
            <a:r>
              <a:rPr lang="ru-RU" sz="2000" dirty="0" smtClean="0"/>
              <a:t> </a:t>
            </a:r>
            <a:r>
              <a:rPr lang="ru-RU" sz="1800" dirty="0" smtClean="0"/>
              <a:t>(М-1 «Беларусь»)</a:t>
            </a:r>
            <a:endParaRPr lang="ru-RU" sz="2000" dirty="0"/>
          </a:p>
        </p:txBody>
      </p:sp>
      <p:pic>
        <p:nvPicPr>
          <p:cNvPr id="7" name="Объект 6"/>
          <p:cNvPicPr>
            <a:picLocks noGrp="1" noChangeAspect="1"/>
          </p:cNvPicPr>
          <p:nvPr>
            <p:ph sz="quarter" idx="15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405" y="1268413"/>
            <a:ext cx="3381495" cy="507682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40" t="4252" r="4163" b="12821"/>
          <a:stretch/>
        </p:blipFill>
        <p:spPr>
          <a:xfrm>
            <a:off x="287524" y="1268760"/>
            <a:ext cx="3384376" cy="140415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1255" y="1268760"/>
            <a:ext cx="4735408" cy="212423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3837380" y="3414482"/>
            <a:ext cx="516311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200" b="1" i="0" u="none" strike="noStrike" kern="1200" baseline="0">
                <a:solidFill>
                  <a:srgbClr val="3C3C3C"/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>
                <a:solidFill>
                  <a:schemeClr val="accent6"/>
                </a:solidFill>
              </a:rPr>
              <a:t>Объем производства </a:t>
            </a:r>
            <a:r>
              <a:rPr lang="ru-RU" sz="1600" b="1" dirty="0">
                <a:solidFill>
                  <a:schemeClr val="accent1"/>
                </a:solidFill>
              </a:rPr>
              <a:t>стыковочных </a:t>
            </a:r>
            <a:r>
              <a:rPr lang="ru-RU" sz="1600" b="1" dirty="0" smtClean="0">
                <a:solidFill>
                  <a:schemeClr val="accent1"/>
                </a:solidFill>
              </a:rPr>
              <a:t>лент </a:t>
            </a:r>
            <a:r>
              <a:rPr lang="ru-RU" sz="1600" dirty="0" err="1" smtClean="0">
                <a:solidFill>
                  <a:schemeClr val="accent1"/>
                </a:solidFill>
              </a:rPr>
              <a:t>пог</a:t>
            </a:r>
            <a:r>
              <a:rPr lang="ru-RU" sz="1600" dirty="0">
                <a:solidFill>
                  <a:schemeClr val="accent1"/>
                </a:solidFill>
              </a:rPr>
              <a:t>./км.</a:t>
            </a:r>
            <a:endParaRPr lang="ru-RU" sz="1600" b="1" dirty="0">
              <a:solidFill>
                <a:schemeClr val="accent3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7524" y="2672916"/>
            <a:ext cx="3384376" cy="107721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 стыковочной</a:t>
            </a:r>
          </a:p>
          <a:p>
            <a:pPr algn="ctr"/>
            <a:r>
              <a:rPr lang="ru-RU" sz="3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лентой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119521" y="2708920"/>
            <a:ext cx="4737142" cy="5232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ез стыковочной ленты</a:t>
            </a:r>
          </a:p>
        </p:txBody>
      </p:sp>
      <p:graphicFrame>
        <p:nvGraphicFramePr>
          <p:cNvPr id="11" name="Объект 6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145649840"/>
              </p:ext>
            </p:extLst>
          </p:nvPr>
        </p:nvGraphicFramePr>
        <p:xfrm>
          <a:off x="4254248" y="3392996"/>
          <a:ext cx="4469421" cy="3119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826901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1"/>
            <p:extLst>
              <p:ext uri="{D42A27DB-BD31-4B8C-83A1-F6EECF244321}">
                <p14:modId xmlns:p14="http://schemas.microsoft.com/office/powerpoint/2010/main" val="1136654382"/>
              </p:ext>
            </p:extLst>
          </p:nvPr>
        </p:nvGraphicFramePr>
        <p:xfrm>
          <a:off x="287337" y="1160748"/>
          <a:ext cx="8569325" cy="259228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24911"/>
                <a:gridCol w="7644414"/>
              </a:tblGrid>
              <a:tr h="58506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</a:pPr>
                      <a:r>
                        <a:rPr lang="ru-RU" sz="4200" dirty="0" smtClean="0">
                          <a:solidFill>
                            <a:schemeClr val="bg2"/>
                          </a:solidFill>
                        </a:rPr>
                        <a:t>1</a:t>
                      </a:r>
                      <a:endParaRPr lang="ru-RU" sz="42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36000" marB="36000" anchor="ctr"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Применение </a:t>
                      </a:r>
                      <a:r>
                        <a:rPr lang="ru-RU" sz="1400" b="1" kern="1200" dirty="0" smtClean="0">
                          <a:solidFill>
                            <a:schemeClr val="accent3"/>
                          </a:solidFill>
                          <a:latin typeface="+mn-lt"/>
                          <a:ea typeface="+mn-ea"/>
                          <a:cs typeface="+mn-cs"/>
                        </a:rPr>
                        <a:t>ПБВ на скоростных автомобильных дорогах</a:t>
                      </a:r>
                    </a:p>
                  </a:txBody>
                  <a:tcPr marL="0" marR="0" marT="36000" marB="36000" anchor="ctr"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506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</a:pPr>
                      <a:r>
                        <a:rPr lang="ru-RU" sz="4200" dirty="0" smtClean="0">
                          <a:solidFill>
                            <a:schemeClr val="bg2"/>
                          </a:solidFill>
                        </a:rPr>
                        <a:t>2</a:t>
                      </a:r>
                      <a:endParaRPr lang="ru-RU" sz="42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2"/>
                          </a:solidFill>
                        </a:rPr>
                        <a:t>Применение </a:t>
                      </a:r>
                      <a:r>
                        <a:rPr lang="en-US" sz="1400" b="1" dirty="0" smtClean="0">
                          <a:solidFill>
                            <a:schemeClr val="accent6"/>
                          </a:solidFill>
                        </a:rPr>
                        <a:t>G-Way </a:t>
                      </a:r>
                      <a:r>
                        <a:rPr lang="en-US" sz="1400" b="1" dirty="0" err="1" smtClean="0">
                          <a:solidFill>
                            <a:schemeClr val="accent6"/>
                          </a:solidFill>
                        </a:rPr>
                        <a:t>Styrelf</a:t>
                      </a:r>
                      <a:r>
                        <a:rPr lang="ru-RU" sz="1400" b="1" dirty="0" smtClean="0">
                          <a:solidFill>
                            <a:schemeClr val="accent6"/>
                          </a:solidFill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chemeClr val="accent3"/>
                          </a:solidFill>
                        </a:rPr>
                        <a:t>на автомагистралях категории 1А</a:t>
                      </a:r>
                      <a:r>
                        <a:rPr lang="ru-RU" sz="1400" b="0" dirty="0" smtClean="0">
                          <a:solidFill>
                            <a:schemeClr val="tx2"/>
                          </a:solidFill>
                        </a:rPr>
                        <a:t> и особо ответственных участках любых автомобильных дорог</a:t>
                      </a: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506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</a:pPr>
                      <a:r>
                        <a:rPr lang="ru-RU" sz="4200" dirty="0" smtClean="0">
                          <a:solidFill>
                            <a:schemeClr val="bg2"/>
                          </a:solidFill>
                        </a:rPr>
                        <a:t>3</a:t>
                      </a:r>
                      <a:endParaRPr lang="ru-RU" sz="42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2"/>
                          </a:solidFill>
                        </a:rPr>
                        <a:t>Включение </a:t>
                      </a:r>
                      <a:r>
                        <a:rPr lang="ru-RU" sz="1400" b="1" dirty="0" smtClean="0">
                          <a:solidFill>
                            <a:schemeClr val="accent3"/>
                          </a:solidFill>
                        </a:rPr>
                        <a:t>Научно-Исследовательского Центра Компании в состав центров методического обеспечения</a:t>
                      </a:r>
                      <a:r>
                        <a:rPr lang="ru-RU" sz="1400" b="0" dirty="0" smtClean="0">
                          <a:solidFill>
                            <a:schemeClr val="tx2"/>
                          </a:solidFill>
                        </a:rPr>
                        <a:t> применения СТО АВТОДОР в области нежестких дорожных одежд асфальтобетонов</a:t>
                      </a: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85065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  <a:spcBef>
                          <a:spcPts val="600"/>
                        </a:spcBef>
                      </a:pPr>
                      <a:r>
                        <a:rPr lang="ru-RU" sz="4200" dirty="0" smtClean="0">
                          <a:solidFill>
                            <a:schemeClr val="bg2"/>
                          </a:solidFill>
                        </a:rPr>
                        <a:t>4</a:t>
                      </a:r>
                      <a:endParaRPr lang="ru-RU" sz="4200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2"/>
                          </a:solidFill>
                        </a:rPr>
                        <a:t>Включение  в проектно-сметную документацию и внесение в Стандарты ГК «</a:t>
                      </a:r>
                      <a:r>
                        <a:rPr lang="ru-RU" sz="1400" b="0" dirty="0" err="1" smtClean="0">
                          <a:solidFill>
                            <a:schemeClr val="tx2"/>
                          </a:solidFill>
                        </a:rPr>
                        <a:t>Автодор</a:t>
                      </a:r>
                      <a:r>
                        <a:rPr lang="ru-RU" sz="1400" b="0" dirty="0" smtClean="0">
                          <a:solidFill>
                            <a:schemeClr val="tx2"/>
                          </a:solidFill>
                        </a:rPr>
                        <a:t>», требований по </a:t>
                      </a:r>
                      <a:r>
                        <a:rPr lang="ru-RU" sz="1400" b="1" dirty="0" smtClean="0">
                          <a:solidFill>
                            <a:schemeClr val="accent3"/>
                          </a:solidFill>
                        </a:rPr>
                        <a:t>применению битумных стыковочных лент,  герметизирующих мастик</a:t>
                      </a:r>
                      <a:r>
                        <a:rPr lang="ru-RU" sz="1400" b="1" baseline="0" dirty="0" smtClean="0">
                          <a:solidFill>
                            <a:schemeClr val="accent3"/>
                          </a:solidFill>
                        </a:rPr>
                        <a:t> и битумных защитно-восстанавливающих пропиток</a:t>
                      </a:r>
                      <a:endParaRPr lang="ru-RU" sz="1400" b="1" dirty="0" smtClean="0">
                        <a:solidFill>
                          <a:schemeClr val="accent3"/>
                        </a:solidFill>
                      </a:endParaRPr>
                    </a:p>
                  </a:txBody>
                  <a:tcPr marL="0" marR="0" marT="36000" marB="36000" anchor="ctr">
                    <a:lnT w="6350" cap="flat" cmpd="sng" algn="ctr">
                      <a:solidFill>
                        <a:schemeClr val="bg2"/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7" name="TitleSlide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/>
              <a:t>Рекомендации по применению битумных материалов, на автомобильных дорогах </a:t>
            </a:r>
            <a:r>
              <a:rPr lang="ru-RU" dirty="0" smtClean="0"/>
              <a:t>ГК «</a:t>
            </a:r>
            <a:r>
              <a:rPr lang="ru-RU" dirty="0" err="1" smtClean="0"/>
              <a:t>Автодор</a:t>
            </a:r>
            <a:r>
              <a:rPr lang="ru-RU" dirty="0" smtClean="0"/>
              <a:t>»</a:t>
            </a:r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942" b="5812"/>
          <a:stretch/>
        </p:blipFill>
        <p:spPr bwMode="auto">
          <a:xfrm>
            <a:off x="287524" y="3841906"/>
            <a:ext cx="8569139" cy="25034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647564" y="5698993"/>
            <a:ext cx="7912872" cy="646331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3600" dirty="0" smtClean="0">
                <a:solidFill>
                  <a:schemeClr val="bg1"/>
                </a:solidFill>
              </a:rPr>
              <a:t>Вместе мы строим надежные дороги</a:t>
            </a:r>
          </a:p>
        </p:txBody>
      </p:sp>
    </p:spTree>
    <p:extLst>
      <p:ext uri="{BB962C8B-B14F-4D97-AF65-F5344CB8AC3E}">
        <p14:creationId xmlns:p14="http://schemas.microsoft.com/office/powerpoint/2010/main" val="1214124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85560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 smtClean="0"/>
              <a:t>В 2014 г. подписано соглашение о сотрудничестве между ГК «</a:t>
            </a:r>
            <a:r>
              <a:rPr lang="ru-RU" dirty="0" err="1" smtClean="0"/>
              <a:t>Автодор</a:t>
            </a:r>
            <a:r>
              <a:rPr lang="ru-RU" dirty="0" smtClean="0"/>
              <a:t>» и ПАО «Газпром нефть»</a:t>
            </a:r>
            <a:endParaRPr lang="ru-RU" dirty="0"/>
          </a:p>
        </p:txBody>
      </p:sp>
      <p:sp>
        <p:nvSpPr>
          <p:cNvPr id="4" name="TextBox 3"/>
          <p:cNvSpPr txBox="1"/>
          <p:nvPr>
            <p:custDataLst>
              <p:tags r:id="rId4"/>
            </p:custDataLst>
          </p:nvPr>
        </p:nvSpPr>
        <p:spPr>
          <a:xfrm>
            <a:off x="4572000" y="1299924"/>
            <a:ext cx="4284476" cy="504753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600" b="1" u="sng" dirty="0" smtClean="0"/>
              <a:t>Основные направления сотрудничества: </a:t>
            </a:r>
            <a:br>
              <a:rPr lang="ru-RU" sz="1600" b="1" u="sng" dirty="0" smtClean="0"/>
            </a:br>
            <a:endParaRPr lang="ru-RU" sz="1600" b="1" u="sng" dirty="0" smtClean="0"/>
          </a:p>
          <a:p>
            <a:pPr marL="358775"/>
            <a:r>
              <a:rPr lang="ru-RU" sz="1400" b="1" dirty="0" smtClean="0">
                <a:solidFill>
                  <a:schemeClr val="accent3"/>
                </a:solidFill>
              </a:rPr>
              <a:t>Разработка, </a:t>
            </a:r>
            <a:r>
              <a:rPr lang="ru-RU" sz="1400" b="1" dirty="0">
                <a:solidFill>
                  <a:schemeClr val="accent3"/>
                </a:solidFill>
              </a:rPr>
              <a:t>производство </a:t>
            </a:r>
            <a:r>
              <a:rPr lang="ru-RU" sz="1400" b="1" dirty="0" smtClean="0">
                <a:solidFill>
                  <a:schemeClr val="accent3"/>
                </a:solidFill>
              </a:rPr>
              <a:t>и применение </a:t>
            </a:r>
            <a:r>
              <a:rPr lang="ru-RU" sz="1400" b="1" dirty="0">
                <a:solidFill>
                  <a:schemeClr val="accent3"/>
                </a:solidFill>
              </a:rPr>
              <a:t>современных битумных </a:t>
            </a:r>
            <a:r>
              <a:rPr lang="ru-RU" sz="1400" b="1" dirty="0" smtClean="0">
                <a:solidFill>
                  <a:schemeClr val="accent3"/>
                </a:solidFill>
              </a:rPr>
              <a:t>материалов</a:t>
            </a:r>
            <a:r>
              <a:rPr lang="ru-RU" sz="1400" dirty="0" smtClean="0"/>
              <a:t>, </a:t>
            </a:r>
            <a:r>
              <a:rPr lang="ru-RU" sz="1300" dirty="0" smtClean="0"/>
              <a:t>соответствующих </a:t>
            </a:r>
            <a:r>
              <a:rPr lang="ru-RU" sz="1300" b="1" dirty="0" smtClean="0">
                <a:solidFill>
                  <a:schemeClr val="accent6"/>
                </a:solidFill>
              </a:rPr>
              <a:t>требованиям</a:t>
            </a:r>
            <a:r>
              <a:rPr lang="ru-RU" sz="1300" dirty="0" smtClean="0">
                <a:solidFill>
                  <a:schemeClr val="accent6"/>
                </a:solidFill>
              </a:rPr>
              <a:t> </a:t>
            </a:r>
            <a:r>
              <a:rPr lang="ru-RU" sz="1300" b="1" dirty="0" smtClean="0">
                <a:solidFill>
                  <a:schemeClr val="accent6"/>
                </a:solidFill>
              </a:rPr>
              <a:t>СТО АВТОДОР          </a:t>
            </a:r>
            <a:r>
              <a:rPr lang="ru-RU" sz="1300" dirty="0" smtClean="0"/>
              <a:t>для </a:t>
            </a:r>
            <a:r>
              <a:rPr lang="ru-RU" sz="1300" dirty="0"/>
              <a:t>проектов строительства, реконструкции, капитального ремонта </a:t>
            </a:r>
            <a:r>
              <a:rPr lang="ru-RU" sz="1300" dirty="0" smtClean="0"/>
              <a:t>и содержания автодорог;</a:t>
            </a:r>
          </a:p>
          <a:p>
            <a:pPr marL="358775"/>
            <a:endParaRPr lang="ru-RU" sz="1000" dirty="0"/>
          </a:p>
          <a:p>
            <a:pPr marL="358775"/>
            <a:r>
              <a:rPr lang="ru-RU" sz="1400" b="1" dirty="0">
                <a:solidFill>
                  <a:schemeClr val="accent3"/>
                </a:solidFill>
              </a:rPr>
              <a:t>Актуализация существующих стандартов</a:t>
            </a:r>
            <a:r>
              <a:rPr lang="ru-RU" sz="1400" dirty="0">
                <a:solidFill>
                  <a:schemeClr val="accent3"/>
                </a:solidFill>
              </a:rPr>
              <a:t>, </a:t>
            </a:r>
            <a:r>
              <a:rPr lang="ru-RU" sz="1400" b="1" dirty="0">
                <a:solidFill>
                  <a:schemeClr val="accent3"/>
                </a:solidFill>
              </a:rPr>
              <a:t>разработка и внедрение технических требований и методов испытаний </a:t>
            </a:r>
            <a:r>
              <a:rPr lang="ru-RU" sz="1400" b="1" dirty="0" smtClean="0">
                <a:solidFill>
                  <a:schemeClr val="accent3"/>
                </a:solidFill>
              </a:rPr>
              <a:t>          </a:t>
            </a:r>
            <a:r>
              <a:rPr lang="ru-RU" sz="1300" dirty="0" smtClean="0"/>
              <a:t>битумных </a:t>
            </a:r>
            <a:r>
              <a:rPr lang="ru-RU" sz="1300" dirty="0"/>
              <a:t>материалов с учётом </a:t>
            </a:r>
            <a:r>
              <a:rPr lang="ru-RU" sz="1300" dirty="0" smtClean="0"/>
              <a:t>               </a:t>
            </a:r>
            <a:r>
              <a:rPr lang="ru-RU" sz="1300" b="1" dirty="0" smtClean="0">
                <a:solidFill>
                  <a:schemeClr val="accent6"/>
                </a:solidFill>
              </a:rPr>
              <a:t>потребностей </a:t>
            </a:r>
            <a:r>
              <a:rPr lang="ru-RU" sz="1300" b="1" dirty="0">
                <a:solidFill>
                  <a:schemeClr val="accent6"/>
                </a:solidFill>
              </a:rPr>
              <a:t>дорожной </a:t>
            </a:r>
            <a:r>
              <a:rPr lang="ru-RU" sz="1300" b="1" dirty="0" smtClean="0">
                <a:solidFill>
                  <a:schemeClr val="accent6"/>
                </a:solidFill>
              </a:rPr>
              <a:t>отрасли</a:t>
            </a:r>
            <a:r>
              <a:rPr lang="ru-RU" sz="1300" dirty="0"/>
              <a:t>;</a:t>
            </a:r>
            <a:endParaRPr lang="ru-RU" sz="1300" dirty="0" smtClean="0"/>
          </a:p>
          <a:p>
            <a:pPr marL="358775"/>
            <a:endParaRPr lang="ru-RU" sz="1200" dirty="0"/>
          </a:p>
          <a:p>
            <a:pPr marL="358775"/>
            <a:r>
              <a:rPr lang="ru-RU" sz="1400" b="1" dirty="0">
                <a:solidFill>
                  <a:schemeClr val="accent3"/>
                </a:solidFill>
              </a:rPr>
              <a:t>Проведение научно-исследовательских и опытных работ</a:t>
            </a:r>
            <a:r>
              <a:rPr lang="ru-RU" sz="1200" dirty="0"/>
              <a:t>, </a:t>
            </a:r>
            <a:r>
              <a:rPr lang="ru-RU" sz="1400" b="1" dirty="0">
                <a:solidFill>
                  <a:schemeClr val="accent3"/>
                </a:solidFill>
              </a:rPr>
              <a:t>патентных исследований  и лабораторных испытаний </a:t>
            </a:r>
            <a:r>
              <a:rPr lang="ru-RU" sz="1300" dirty="0"/>
              <a:t>на базе </a:t>
            </a:r>
            <a:r>
              <a:rPr lang="ru-RU" sz="1300" b="1" dirty="0">
                <a:solidFill>
                  <a:schemeClr val="accent6"/>
                </a:solidFill>
              </a:rPr>
              <a:t>научно-исследовательского центра </a:t>
            </a:r>
            <a:r>
              <a:rPr lang="ru-RU" sz="1300" dirty="0"/>
              <a:t>«Газпром нефти</a:t>
            </a:r>
            <a:r>
              <a:rPr lang="ru-RU" sz="1300" dirty="0" smtClean="0"/>
              <a:t>»;</a:t>
            </a:r>
          </a:p>
          <a:p>
            <a:pPr marL="358775"/>
            <a:endParaRPr lang="ru-RU" sz="1200" dirty="0"/>
          </a:p>
          <a:p>
            <a:pPr marL="358775"/>
            <a:r>
              <a:rPr lang="ru-RU" sz="1400" b="1" dirty="0" smtClean="0">
                <a:solidFill>
                  <a:schemeClr val="accent3"/>
                </a:solidFill>
              </a:rPr>
              <a:t>Проведение деловых мероприятий, </a:t>
            </a:r>
            <a:r>
              <a:rPr lang="ru-RU" sz="1300" dirty="0"/>
              <a:t>направленных на повышение </a:t>
            </a:r>
            <a:r>
              <a:rPr lang="ru-RU" sz="1300" b="1" dirty="0">
                <a:solidFill>
                  <a:schemeClr val="accent6"/>
                </a:solidFill>
              </a:rPr>
              <a:t>эффективности </a:t>
            </a:r>
            <a:r>
              <a:rPr lang="ru-RU" sz="1300" b="1" dirty="0" smtClean="0">
                <a:solidFill>
                  <a:schemeClr val="accent6"/>
                </a:solidFill>
              </a:rPr>
              <a:t>           и </a:t>
            </a:r>
            <a:r>
              <a:rPr lang="ru-RU" sz="1300" b="1" dirty="0">
                <a:solidFill>
                  <a:schemeClr val="accent6"/>
                </a:solidFill>
              </a:rPr>
              <a:t>качества технологических процессов </a:t>
            </a:r>
            <a:r>
              <a:rPr lang="ru-RU" sz="1300" b="1" dirty="0" smtClean="0">
                <a:solidFill>
                  <a:schemeClr val="accent6"/>
                </a:solidFill>
              </a:rPr>
              <a:t>                    </a:t>
            </a:r>
            <a:r>
              <a:rPr lang="ru-RU" sz="1300" dirty="0" smtClean="0"/>
              <a:t>в сфере производства, доставки                                   и применения битумных материалов.</a:t>
            </a:r>
            <a:endParaRPr lang="ru-RU" sz="1300" dirty="0"/>
          </a:p>
        </p:txBody>
      </p:sp>
      <p:pic>
        <p:nvPicPr>
          <p:cNvPr id="24578" name="Picture 2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525" y="1304924"/>
            <a:ext cx="3286794" cy="5038765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bitum_01"/>
          <p:cNvSpPr>
            <a:spLocks noEditPoints="1"/>
          </p:cNvSpPr>
          <p:nvPr>
            <p:custDataLst>
              <p:tags r:id="rId6"/>
            </p:custDataLst>
          </p:nvPr>
        </p:nvSpPr>
        <p:spPr bwMode="auto">
          <a:xfrm>
            <a:off x="4290628" y="1903301"/>
            <a:ext cx="533400" cy="409575"/>
          </a:xfrm>
          <a:custGeom>
            <a:avLst/>
            <a:gdLst>
              <a:gd name="T0" fmla="*/ 779 w 16128"/>
              <a:gd name="T1" fmla="*/ 3970 h 12384"/>
              <a:gd name="T2" fmla="*/ 515 w 16128"/>
              <a:gd name="T3" fmla="*/ 4505 h 12384"/>
              <a:gd name="T4" fmla="*/ 291 w 16128"/>
              <a:gd name="T5" fmla="*/ 5054 h 12384"/>
              <a:gd name="T6" fmla="*/ 125 w 16128"/>
              <a:gd name="T7" fmla="*/ 5603 h 12384"/>
              <a:gd name="T8" fmla="*/ 25 w 16128"/>
              <a:gd name="T9" fmla="*/ 6152 h 12384"/>
              <a:gd name="T10" fmla="*/ 2 w 16128"/>
              <a:gd name="T11" fmla="*/ 6703 h 12384"/>
              <a:gd name="T12" fmla="*/ 69 w 16128"/>
              <a:gd name="T13" fmla="*/ 7254 h 12384"/>
              <a:gd name="T14" fmla="*/ 218 w 16128"/>
              <a:gd name="T15" fmla="*/ 7749 h 12384"/>
              <a:gd name="T16" fmla="*/ 429 w 16128"/>
              <a:gd name="T17" fmla="*/ 8174 h 12384"/>
              <a:gd name="T18" fmla="*/ 703 w 16128"/>
              <a:gd name="T19" fmla="*/ 8548 h 12384"/>
              <a:gd name="T20" fmla="*/ 1029 w 16128"/>
              <a:gd name="T21" fmla="*/ 8869 h 12384"/>
              <a:gd name="T22" fmla="*/ 1320 w 16128"/>
              <a:gd name="T23" fmla="*/ 9082 h 12384"/>
              <a:gd name="T24" fmla="*/ 1743 w 16128"/>
              <a:gd name="T25" fmla="*/ 9304 h 12384"/>
              <a:gd name="T26" fmla="*/ 2308 w 16128"/>
              <a:gd name="T27" fmla="*/ 9483 h 12384"/>
              <a:gd name="T28" fmla="*/ 2811 w 16128"/>
              <a:gd name="T29" fmla="*/ 9550 h 12384"/>
              <a:gd name="T30" fmla="*/ 3219 w 16128"/>
              <a:gd name="T31" fmla="*/ 9546 h 12384"/>
              <a:gd name="T32" fmla="*/ 3586 w 16128"/>
              <a:gd name="T33" fmla="*/ 9503 h 12384"/>
              <a:gd name="T34" fmla="*/ 3980 w 16128"/>
              <a:gd name="T35" fmla="*/ 9406 h 12384"/>
              <a:gd name="T36" fmla="*/ 4374 w 16128"/>
              <a:gd name="T37" fmla="*/ 9251 h 12384"/>
              <a:gd name="T38" fmla="*/ 4736 w 16128"/>
              <a:gd name="T39" fmla="*/ 9042 h 12384"/>
              <a:gd name="T40" fmla="*/ 5059 w 16128"/>
              <a:gd name="T41" fmla="*/ 8782 h 12384"/>
              <a:gd name="T42" fmla="*/ 5395 w 16128"/>
              <a:gd name="T43" fmla="*/ 8400 h 12384"/>
              <a:gd name="T44" fmla="*/ 5687 w 16128"/>
              <a:gd name="T45" fmla="*/ 7894 h 12384"/>
              <a:gd name="T46" fmla="*/ 5888 w 16128"/>
              <a:gd name="T47" fmla="*/ 7301 h 12384"/>
              <a:gd name="T48" fmla="*/ 5987 w 16128"/>
              <a:gd name="T49" fmla="*/ 6624 h 12384"/>
              <a:gd name="T50" fmla="*/ 5969 w 16128"/>
              <a:gd name="T51" fmla="*/ 6011 h 12384"/>
              <a:gd name="T52" fmla="*/ 5837 w 16128"/>
              <a:gd name="T53" fmla="*/ 5427 h 12384"/>
              <a:gd name="T54" fmla="*/ 5608 w 16128"/>
              <a:gd name="T55" fmla="*/ 4807 h 12384"/>
              <a:gd name="T56" fmla="*/ 5304 w 16128"/>
              <a:gd name="T57" fmla="*/ 4169 h 12384"/>
              <a:gd name="T58" fmla="*/ 5024 w 16128"/>
              <a:gd name="T59" fmla="*/ 3661 h 12384"/>
              <a:gd name="T60" fmla="*/ 4770 w 16128"/>
              <a:gd name="T61" fmla="*/ 3239 h 12384"/>
              <a:gd name="T62" fmla="*/ 4520 w 16128"/>
              <a:gd name="T63" fmla="*/ 2850 h 12384"/>
              <a:gd name="T64" fmla="*/ 4276 w 16128"/>
              <a:gd name="T65" fmla="*/ 2488 h 12384"/>
              <a:gd name="T66" fmla="*/ 3756 w 16128"/>
              <a:gd name="T67" fmla="*/ 1764 h 12384"/>
              <a:gd name="T68" fmla="*/ 3160 w 16128"/>
              <a:gd name="T69" fmla="*/ 994 h 12384"/>
              <a:gd name="T70" fmla="*/ 2538 w 16128"/>
              <a:gd name="T71" fmla="*/ 1336 h 12384"/>
              <a:gd name="T72" fmla="*/ 1680 w 16128"/>
              <a:gd name="T73" fmla="*/ 2511 h 12384"/>
              <a:gd name="T74" fmla="*/ 10527 w 16128"/>
              <a:gd name="T75" fmla="*/ 0 h 12384"/>
              <a:gd name="T76" fmla="*/ 2045 w 16128"/>
              <a:gd name="T77" fmla="*/ 10246 h 12384"/>
              <a:gd name="T78" fmla="*/ 1458 w 16128"/>
              <a:gd name="T79" fmla="*/ 10053 h 12384"/>
              <a:gd name="T80" fmla="*/ 2275 w 16128"/>
              <a:gd name="T81" fmla="*/ 10295 h 12384"/>
              <a:gd name="T82" fmla="*/ 5847 w 16128"/>
              <a:gd name="T83" fmla="*/ 3517 h 12384"/>
              <a:gd name="T84" fmla="*/ 6299 w 16128"/>
              <a:gd name="T85" fmla="*/ 4425 h 12384"/>
              <a:gd name="T86" fmla="*/ 6629 w 16128"/>
              <a:gd name="T87" fmla="*/ 5316 h 12384"/>
              <a:gd name="T88" fmla="*/ 6787 w 16128"/>
              <a:gd name="T89" fmla="*/ 6153 h 12384"/>
              <a:gd name="T90" fmla="*/ 6754 w 16128"/>
              <a:gd name="T91" fmla="*/ 7008 h 12384"/>
              <a:gd name="T92" fmla="*/ 6578 w 16128"/>
              <a:gd name="T93" fmla="*/ 7802 h 12384"/>
              <a:gd name="T94" fmla="*/ 6279 w 16128"/>
              <a:gd name="T95" fmla="*/ 8499 h 12384"/>
              <a:gd name="T96" fmla="*/ 5868 w 16128"/>
              <a:gd name="T97" fmla="*/ 9092 h 12384"/>
              <a:gd name="T98" fmla="*/ 5398 w 16128"/>
              <a:gd name="T99" fmla="*/ 9546 h 12384"/>
              <a:gd name="T100" fmla="*/ 4873 w 16128"/>
              <a:gd name="T101" fmla="*/ 9895 h 12384"/>
              <a:gd name="T102" fmla="*/ 4290 w 16128"/>
              <a:gd name="T103" fmla="*/ 10149 h 12384"/>
              <a:gd name="T104" fmla="*/ 3660 w 16128"/>
              <a:gd name="T105" fmla="*/ 10304 h 12384"/>
              <a:gd name="T106" fmla="*/ 13265 w 16128"/>
              <a:gd name="T107" fmla="*/ 12384 h 12384"/>
              <a:gd name="T108" fmla="*/ 8504 w 16128"/>
              <a:gd name="T109" fmla="*/ 2566 h 12384"/>
              <a:gd name="T110" fmla="*/ 7427 w 16128"/>
              <a:gd name="T111" fmla="*/ 9818 h 12384"/>
              <a:gd name="T112" fmla="*/ 4876 w 16128"/>
              <a:gd name="T113" fmla="*/ 1959 h 12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128" h="12384">
                <a:moveTo>
                  <a:pt x="1259" y="3152"/>
                </a:moveTo>
                <a:lnTo>
                  <a:pt x="1183" y="3273"/>
                </a:lnTo>
                <a:lnTo>
                  <a:pt x="1108" y="3397"/>
                </a:lnTo>
                <a:lnTo>
                  <a:pt x="1033" y="3521"/>
                </a:lnTo>
                <a:lnTo>
                  <a:pt x="959" y="3648"/>
                </a:lnTo>
                <a:lnTo>
                  <a:pt x="886" y="3776"/>
                </a:lnTo>
                <a:lnTo>
                  <a:pt x="814" y="3906"/>
                </a:lnTo>
                <a:lnTo>
                  <a:pt x="779" y="3970"/>
                </a:lnTo>
                <a:lnTo>
                  <a:pt x="745" y="4036"/>
                </a:lnTo>
                <a:lnTo>
                  <a:pt x="711" y="4103"/>
                </a:lnTo>
                <a:lnTo>
                  <a:pt x="676" y="4169"/>
                </a:lnTo>
                <a:lnTo>
                  <a:pt x="643" y="4236"/>
                </a:lnTo>
                <a:lnTo>
                  <a:pt x="611" y="4302"/>
                </a:lnTo>
                <a:lnTo>
                  <a:pt x="578" y="4369"/>
                </a:lnTo>
                <a:lnTo>
                  <a:pt x="546" y="4437"/>
                </a:lnTo>
                <a:lnTo>
                  <a:pt x="515" y="4505"/>
                </a:lnTo>
                <a:lnTo>
                  <a:pt x="485" y="4573"/>
                </a:lnTo>
                <a:lnTo>
                  <a:pt x="455" y="4640"/>
                </a:lnTo>
                <a:lnTo>
                  <a:pt x="425" y="4709"/>
                </a:lnTo>
                <a:lnTo>
                  <a:pt x="397" y="4778"/>
                </a:lnTo>
                <a:lnTo>
                  <a:pt x="370" y="4847"/>
                </a:lnTo>
                <a:lnTo>
                  <a:pt x="343" y="4916"/>
                </a:lnTo>
                <a:lnTo>
                  <a:pt x="317" y="4986"/>
                </a:lnTo>
                <a:lnTo>
                  <a:pt x="291" y="5054"/>
                </a:lnTo>
                <a:lnTo>
                  <a:pt x="267" y="5124"/>
                </a:lnTo>
                <a:lnTo>
                  <a:pt x="243" y="5194"/>
                </a:lnTo>
                <a:lnTo>
                  <a:pt x="221" y="5264"/>
                </a:lnTo>
                <a:lnTo>
                  <a:pt x="200" y="5332"/>
                </a:lnTo>
                <a:lnTo>
                  <a:pt x="179" y="5399"/>
                </a:lnTo>
                <a:lnTo>
                  <a:pt x="160" y="5466"/>
                </a:lnTo>
                <a:lnTo>
                  <a:pt x="142" y="5535"/>
                </a:lnTo>
                <a:lnTo>
                  <a:pt x="125" y="5603"/>
                </a:lnTo>
                <a:lnTo>
                  <a:pt x="109" y="5671"/>
                </a:lnTo>
                <a:lnTo>
                  <a:pt x="94" y="5740"/>
                </a:lnTo>
                <a:lnTo>
                  <a:pt x="80" y="5807"/>
                </a:lnTo>
                <a:lnTo>
                  <a:pt x="67" y="5876"/>
                </a:lnTo>
                <a:lnTo>
                  <a:pt x="54" y="5945"/>
                </a:lnTo>
                <a:lnTo>
                  <a:pt x="43" y="6014"/>
                </a:lnTo>
                <a:lnTo>
                  <a:pt x="34" y="6083"/>
                </a:lnTo>
                <a:lnTo>
                  <a:pt x="25" y="6152"/>
                </a:lnTo>
                <a:lnTo>
                  <a:pt x="18" y="6220"/>
                </a:lnTo>
                <a:lnTo>
                  <a:pt x="12" y="6289"/>
                </a:lnTo>
                <a:lnTo>
                  <a:pt x="7" y="6358"/>
                </a:lnTo>
                <a:lnTo>
                  <a:pt x="3" y="6427"/>
                </a:lnTo>
                <a:lnTo>
                  <a:pt x="1" y="6496"/>
                </a:lnTo>
                <a:lnTo>
                  <a:pt x="0" y="6564"/>
                </a:lnTo>
                <a:lnTo>
                  <a:pt x="0" y="6634"/>
                </a:lnTo>
                <a:lnTo>
                  <a:pt x="2" y="6703"/>
                </a:lnTo>
                <a:lnTo>
                  <a:pt x="5" y="6772"/>
                </a:lnTo>
                <a:lnTo>
                  <a:pt x="10" y="6841"/>
                </a:lnTo>
                <a:lnTo>
                  <a:pt x="16" y="6910"/>
                </a:lnTo>
                <a:lnTo>
                  <a:pt x="23" y="6978"/>
                </a:lnTo>
                <a:lnTo>
                  <a:pt x="32" y="7047"/>
                </a:lnTo>
                <a:lnTo>
                  <a:pt x="42" y="7116"/>
                </a:lnTo>
                <a:lnTo>
                  <a:pt x="54" y="7185"/>
                </a:lnTo>
                <a:lnTo>
                  <a:pt x="69" y="7254"/>
                </a:lnTo>
                <a:lnTo>
                  <a:pt x="84" y="7323"/>
                </a:lnTo>
                <a:lnTo>
                  <a:pt x="101" y="7391"/>
                </a:lnTo>
                <a:lnTo>
                  <a:pt x="119" y="7459"/>
                </a:lnTo>
                <a:lnTo>
                  <a:pt x="136" y="7519"/>
                </a:lnTo>
                <a:lnTo>
                  <a:pt x="155" y="7578"/>
                </a:lnTo>
                <a:lnTo>
                  <a:pt x="174" y="7635"/>
                </a:lnTo>
                <a:lnTo>
                  <a:pt x="196" y="7693"/>
                </a:lnTo>
                <a:lnTo>
                  <a:pt x="218" y="7749"/>
                </a:lnTo>
                <a:lnTo>
                  <a:pt x="240" y="7804"/>
                </a:lnTo>
                <a:lnTo>
                  <a:pt x="264" y="7860"/>
                </a:lnTo>
                <a:lnTo>
                  <a:pt x="289" y="7914"/>
                </a:lnTo>
                <a:lnTo>
                  <a:pt x="316" y="7967"/>
                </a:lnTo>
                <a:lnTo>
                  <a:pt x="343" y="8020"/>
                </a:lnTo>
                <a:lnTo>
                  <a:pt x="371" y="8072"/>
                </a:lnTo>
                <a:lnTo>
                  <a:pt x="399" y="8123"/>
                </a:lnTo>
                <a:lnTo>
                  <a:pt x="429" y="8174"/>
                </a:lnTo>
                <a:lnTo>
                  <a:pt x="461" y="8223"/>
                </a:lnTo>
                <a:lnTo>
                  <a:pt x="493" y="8273"/>
                </a:lnTo>
                <a:lnTo>
                  <a:pt x="525" y="8320"/>
                </a:lnTo>
                <a:lnTo>
                  <a:pt x="559" y="8368"/>
                </a:lnTo>
                <a:lnTo>
                  <a:pt x="594" y="8415"/>
                </a:lnTo>
                <a:lnTo>
                  <a:pt x="629" y="8460"/>
                </a:lnTo>
                <a:lnTo>
                  <a:pt x="665" y="8505"/>
                </a:lnTo>
                <a:lnTo>
                  <a:pt x="703" y="8548"/>
                </a:lnTo>
                <a:lnTo>
                  <a:pt x="741" y="8592"/>
                </a:lnTo>
                <a:lnTo>
                  <a:pt x="780" y="8634"/>
                </a:lnTo>
                <a:lnTo>
                  <a:pt x="820" y="8676"/>
                </a:lnTo>
                <a:lnTo>
                  <a:pt x="860" y="8716"/>
                </a:lnTo>
                <a:lnTo>
                  <a:pt x="901" y="8756"/>
                </a:lnTo>
                <a:lnTo>
                  <a:pt x="943" y="8794"/>
                </a:lnTo>
                <a:lnTo>
                  <a:pt x="986" y="8832"/>
                </a:lnTo>
                <a:lnTo>
                  <a:pt x="1029" y="8869"/>
                </a:lnTo>
                <a:lnTo>
                  <a:pt x="1074" y="8905"/>
                </a:lnTo>
                <a:lnTo>
                  <a:pt x="1119" y="8940"/>
                </a:lnTo>
                <a:lnTo>
                  <a:pt x="1164" y="8974"/>
                </a:lnTo>
                <a:lnTo>
                  <a:pt x="1195" y="8997"/>
                </a:lnTo>
                <a:lnTo>
                  <a:pt x="1226" y="9019"/>
                </a:lnTo>
                <a:lnTo>
                  <a:pt x="1257" y="9040"/>
                </a:lnTo>
                <a:lnTo>
                  <a:pt x="1288" y="9060"/>
                </a:lnTo>
                <a:lnTo>
                  <a:pt x="1320" y="9082"/>
                </a:lnTo>
                <a:lnTo>
                  <a:pt x="1352" y="9102"/>
                </a:lnTo>
                <a:lnTo>
                  <a:pt x="1384" y="9121"/>
                </a:lnTo>
                <a:lnTo>
                  <a:pt x="1417" y="9140"/>
                </a:lnTo>
                <a:lnTo>
                  <a:pt x="1481" y="9177"/>
                </a:lnTo>
                <a:lnTo>
                  <a:pt x="1544" y="9211"/>
                </a:lnTo>
                <a:lnTo>
                  <a:pt x="1610" y="9243"/>
                </a:lnTo>
                <a:lnTo>
                  <a:pt x="1676" y="9275"/>
                </a:lnTo>
                <a:lnTo>
                  <a:pt x="1743" y="9304"/>
                </a:lnTo>
                <a:lnTo>
                  <a:pt x="1811" y="9333"/>
                </a:lnTo>
                <a:lnTo>
                  <a:pt x="1880" y="9359"/>
                </a:lnTo>
                <a:lnTo>
                  <a:pt x="1949" y="9384"/>
                </a:lnTo>
                <a:lnTo>
                  <a:pt x="2020" y="9407"/>
                </a:lnTo>
                <a:lnTo>
                  <a:pt x="2091" y="9429"/>
                </a:lnTo>
                <a:lnTo>
                  <a:pt x="2162" y="9449"/>
                </a:lnTo>
                <a:lnTo>
                  <a:pt x="2235" y="9467"/>
                </a:lnTo>
                <a:lnTo>
                  <a:pt x="2308" y="9483"/>
                </a:lnTo>
                <a:lnTo>
                  <a:pt x="2382" y="9499"/>
                </a:lnTo>
                <a:lnTo>
                  <a:pt x="2456" y="9512"/>
                </a:lnTo>
                <a:lnTo>
                  <a:pt x="2531" y="9523"/>
                </a:lnTo>
                <a:lnTo>
                  <a:pt x="2587" y="9530"/>
                </a:lnTo>
                <a:lnTo>
                  <a:pt x="2643" y="9536"/>
                </a:lnTo>
                <a:lnTo>
                  <a:pt x="2698" y="9542"/>
                </a:lnTo>
                <a:lnTo>
                  <a:pt x="2755" y="9546"/>
                </a:lnTo>
                <a:lnTo>
                  <a:pt x="2811" y="9550"/>
                </a:lnTo>
                <a:lnTo>
                  <a:pt x="2869" y="9552"/>
                </a:lnTo>
                <a:lnTo>
                  <a:pt x="2925" y="9553"/>
                </a:lnTo>
                <a:lnTo>
                  <a:pt x="2983" y="9554"/>
                </a:lnTo>
                <a:lnTo>
                  <a:pt x="3030" y="9554"/>
                </a:lnTo>
                <a:lnTo>
                  <a:pt x="3077" y="9553"/>
                </a:lnTo>
                <a:lnTo>
                  <a:pt x="3125" y="9551"/>
                </a:lnTo>
                <a:lnTo>
                  <a:pt x="3172" y="9549"/>
                </a:lnTo>
                <a:lnTo>
                  <a:pt x="3219" y="9546"/>
                </a:lnTo>
                <a:lnTo>
                  <a:pt x="3266" y="9543"/>
                </a:lnTo>
                <a:lnTo>
                  <a:pt x="3312" y="9539"/>
                </a:lnTo>
                <a:lnTo>
                  <a:pt x="3359" y="9534"/>
                </a:lnTo>
                <a:lnTo>
                  <a:pt x="3404" y="9529"/>
                </a:lnTo>
                <a:lnTo>
                  <a:pt x="3450" y="9523"/>
                </a:lnTo>
                <a:lnTo>
                  <a:pt x="3496" y="9517"/>
                </a:lnTo>
                <a:lnTo>
                  <a:pt x="3541" y="9510"/>
                </a:lnTo>
                <a:lnTo>
                  <a:pt x="3586" y="9503"/>
                </a:lnTo>
                <a:lnTo>
                  <a:pt x="3631" y="9493"/>
                </a:lnTo>
                <a:lnTo>
                  <a:pt x="3675" y="9485"/>
                </a:lnTo>
                <a:lnTo>
                  <a:pt x="3720" y="9475"/>
                </a:lnTo>
                <a:lnTo>
                  <a:pt x="3773" y="9463"/>
                </a:lnTo>
                <a:lnTo>
                  <a:pt x="3825" y="9450"/>
                </a:lnTo>
                <a:lnTo>
                  <a:pt x="3877" y="9437"/>
                </a:lnTo>
                <a:lnTo>
                  <a:pt x="3929" y="9422"/>
                </a:lnTo>
                <a:lnTo>
                  <a:pt x="3980" y="9406"/>
                </a:lnTo>
                <a:lnTo>
                  <a:pt x="4031" y="9389"/>
                </a:lnTo>
                <a:lnTo>
                  <a:pt x="4081" y="9372"/>
                </a:lnTo>
                <a:lnTo>
                  <a:pt x="4131" y="9354"/>
                </a:lnTo>
                <a:lnTo>
                  <a:pt x="4180" y="9335"/>
                </a:lnTo>
                <a:lnTo>
                  <a:pt x="4230" y="9315"/>
                </a:lnTo>
                <a:lnTo>
                  <a:pt x="4278" y="9294"/>
                </a:lnTo>
                <a:lnTo>
                  <a:pt x="4326" y="9273"/>
                </a:lnTo>
                <a:lnTo>
                  <a:pt x="4374" y="9251"/>
                </a:lnTo>
                <a:lnTo>
                  <a:pt x="4421" y="9227"/>
                </a:lnTo>
                <a:lnTo>
                  <a:pt x="4467" y="9203"/>
                </a:lnTo>
                <a:lnTo>
                  <a:pt x="4514" y="9179"/>
                </a:lnTo>
                <a:lnTo>
                  <a:pt x="4559" y="9153"/>
                </a:lnTo>
                <a:lnTo>
                  <a:pt x="4604" y="9126"/>
                </a:lnTo>
                <a:lnTo>
                  <a:pt x="4648" y="9099"/>
                </a:lnTo>
                <a:lnTo>
                  <a:pt x="4692" y="9071"/>
                </a:lnTo>
                <a:lnTo>
                  <a:pt x="4736" y="9042"/>
                </a:lnTo>
                <a:lnTo>
                  <a:pt x="4778" y="9013"/>
                </a:lnTo>
                <a:lnTo>
                  <a:pt x="4820" y="8982"/>
                </a:lnTo>
                <a:lnTo>
                  <a:pt x="4862" y="8951"/>
                </a:lnTo>
                <a:lnTo>
                  <a:pt x="4902" y="8919"/>
                </a:lnTo>
                <a:lnTo>
                  <a:pt x="4942" y="8885"/>
                </a:lnTo>
                <a:lnTo>
                  <a:pt x="4983" y="8852"/>
                </a:lnTo>
                <a:lnTo>
                  <a:pt x="5021" y="8817"/>
                </a:lnTo>
                <a:lnTo>
                  <a:pt x="5059" y="8782"/>
                </a:lnTo>
                <a:lnTo>
                  <a:pt x="5097" y="8746"/>
                </a:lnTo>
                <a:lnTo>
                  <a:pt x="5135" y="8709"/>
                </a:lnTo>
                <a:lnTo>
                  <a:pt x="5171" y="8671"/>
                </a:lnTo>
                <a:lnTo>
                  <a:pt x="5218" y="8620"/>
                </a:lnTo>
                <a:lnTo>
                  <a:pt x="5264" y="8567"/>
                </a:lnTo>
                <a:lnTo>
                  <a:pt x="5309" y="8513"/>
                </a:lnTo>
                <a:lnTo>
                  <a:pt x="5352" y="8457"/>
                </a:lnTo>
                <a:lnTo>
                  <a:pt x="5395" y="8400"/>
                </a:lnTo>
                <a:lnTo>
                  <a:pt x="5436" y="8342"/>
                </a:lnTo>
                <a:lnTo>
                  <a:pt x="5476" y="8282"/>
                </a:lnTo>
                <a:lnTo>
                  <a:pt x="5515" y="8221"/>
                </a:lnTo>
                <a:lnTo>
                  <a:pt x="5552" y="8159"/>
                </a:lnTo>
                <a:lnTo>
                  <a:pt x="5588" y="8095"/>
                </a:lnTo>
                <a:lnTo>
                  <a:pt x="5623" y="8029"/>
                </a:lnTo>
                <a:lnTo>
                  <a:pt x="5656" y="7962"/>
                </a:lnTo>
                <a:lnTo>
                  <a:pt x="5687" y="7894"/>
                </a:lnTo>
                <a:lnTo>
                  <a:pt x="5717" y="7825"/>
                </a:lnTo>
                <a:lnTo>
                  <a:pt x="5747" y="7754"/>
                </a:lnTo>
                <a:lnTo>
                  <a:pt x="5774" y="7682"/>
                </a:lnTo>
                <a:lnTo>
                  <a:pt x="5800" y="7609"/>
                </a:lnTo>
                <a:lnTo>
                  <a:pt x="5824" y="7534"/>
                </a:lnTo>
                <a:lnTo>
                  <a:pt x="5847" y="7457"/>
                </a:lnTo>
                <a:lnTo>
                  <a:pt x="5869" y="7380"/>
                </a:lnTo>
                <a:lnTo>
                  <a:pt x="5888" y="7301"/>
                </a:lnTo>
                <a:lnTo>
                  <a:pt x="5906" y="7221"/>
                </a:lnTo>
                <a:lnTo>
                  <a:pt x="5923" y="7139"/>
                </a:lnTo>
                <a:lnTo>
                  <a:pt x="5937" y="7057"/>
                </a:lnTo>
                <a:lnTo>
                  <a:pt x="5950" y="6973"/>
                </a:lnTo>
                <a:lnTo>
                  <a:pt x="5962" y="6887"/>
                </a:lnTo>
                <a:lnTo>
                  <a:pt x="5972" y="6801"/>
                </a:lnTo>
                <a:lnTo>
                  <a:pt x="5980" y="6713"/>
                </a:lnTo>
                <a:lnTo>
                  <a:pt x="5987" y="6624"/>
                </a:lnTo>
                <a:lnTo>
                  <a:pt x="5991" y="6534"/>
                </a:lnTo>
                <a:lnTo>
                  <a:pt x="5994" y="6442"/>
                </a:lnTo>
                <a:lnTo>
                  <a:pt x="5995" y="6349"/>
                </a:lnTo>
                <a:lnTo>
                  <a:pt x="5994" y="6283"/>
                </a:lnTo>
                <a:lnTo>
                  <a:pt x="5991" y="6216"/>
                </a:lnTo>
                <a:lnTo>
                  <a:pt x="5986" y="6148"/>
                </a:lnTo>
                <a:lnTo>
                  <a:pt x="5978" y="6080"/>
                </a:lnTo>
                <a:lnTo>
                  <a:pt x="5969" y="6011"/>
                </a:lnTo>
                <a:lnTo>
                  <a:pt x="5959" y="5940"/>
                </a:lnTo>
                <a:lnTo>
                  <a:pt x="5947" y="5869"/>
                </a:lnTo>
                <a:lnTo>
                  <a:pt x="5933" y="5797"/>
                </a:lnTo>
                <a:lnTo>
                  <a:pt x="5917" y="5724"/>
                </a:lnTo>
                <a:lnTo>
                  <a:pt x="5899" y="5652"/>
                </a:lnTo>
                <a:lnTo>
                  <a:pt x="5880" y="5577"/>
                </a:lnTo>
                <a:lnTo>
                  <a:pt x="5860" y="5503"/>
                </a:lnTo>
                <a:lnTo>
                  <a:pt x="5837" y="5427"/>
                </a:lnTo>
                <a:lnTo>
                  <a:pt x="5813" y="5351"/>
                </a:lnTo>
                <a:lnTo>
                  <a:pt x="5788" y="5275"/>
                </a:lnTo>
                <a:lnTo>
                  <a:pt x="5761" y="5198"/>
                </a:lnTo>
                <a:lnTo>
                  <a:pt x="5734" y="5121"/>
                </a:lnTo>
                <a:lnTo>
                  <a:pt x="5703" y="5043"/>
                </a:lnTo>
                <a:lnTo>
                  <a:pt x="5673" y="4964"/>
                </a:lnTo>
                <a:lnTo>
                  <a:pt x="5641" y="4886"/>
                </a:lnTo>
                <a:lnTo>
                  <a:pt x="5608" y="4807"/>
                </a:lnTo>
                <a:lnTo>
                  <a:pt x="5573" y="4729"/>
                </a:lnTo>
                <a:lnTo>
                  <a:pt x="5538" y="4649"/>
                </a:lnTo>
                <a:lnTo>
                  <a:pt x="5502" y="4570"/>
                </a:lnTo>
                <a:lnTo>
                  <a:pt x="5463" y="4490"/>
                </a:lnTo>
                <a:lnTo>
                  <a:pt x="5425" y="4410"/>
                </a:lnTo>
                <a:lnTo>
                  <a:pt x="5386" y="4329"/>
                </a:lnTo>
                <a:lnTo>
                  <a:pt x="5345" y="4249"/>
                </a:lnTo>
                <a:lnTo>
                  <a:pt x="5304" y="4169"/>
                </a:lnTo>
                <a:lnTo>
                  <a:pt x="5262" y="4088"/>
                </a:lnTo>
                <a:lnTo>
                  <a:pt x="5218" y="4008"/>
                </a:lnTo>
                <a:lnTo>
                  <a:pt x="5174" y="3928"/>
                </a:lnTo>
                <a:lnTo>
                  <a:pt x="5145" y="3874"/>
                </a:lnTo>
                <a:lnTo>
                  <a:pt x="5115" y="3821"/>
                </a:lnTo>
                <a:lnTo>
                  <a:pt x="5085" y="3767"/>
                </a:lnTo>
                <a:lnTo>
                  <a:pt x="5054" y="3714"/>
                </a:lnTo>
                <a:lnTo>
                  <a:pt x="5024" y="3661"/>
                </a:lnTo>
                <a:lnTo>
                  <a:pt x="4993" y="3608"/>
                </a:lnTo>
                <a:lnTo>
                  <a:pt x="4961" y="3554"/>
                </a:lnTo>
                <a:lnTo>
                  <a:pt x="4930" y="3502"/>
                </a:lnTo>
                <a:lnTo>
                  <a:pt x="4898" y="3449"/>
                </a:lnTo>
                <a:lnTo>
                  <a:pt x="4867" y="3397"/>
                </a:lnTo>
                <a:lnTo>
                  <a:pt x="4834" y="3344"/>
                </a:lnTo>
                <a:lnTo>
                  <a:pt x="4802" y="3291"/>
                </a:lnTo>
                <a:lnTo>
                  <a:pt x="4770" y="3239"/>
                </a:lnTo>
                <a:lnTo>
                  <a:pt x="4737" y="3187"/>
                </a:lnTo>
                <a:lnTo>
                  <a:pt x="4704" y="3134"/>
                </a:lnTo>
                <a:lnTo>
                  <a:pt x="4671" y="3083"/>
                </a:lnTo>
                <a:lnTo>
                  <a:pt x="4641" y="3036"/>
                </a:lnTo>
                <a:lnTo>
                  <a:pt x="4611" y="2990"/>
                </a:lnTo>
                <a:lnTo>
                  <a:pt x="4580" y="2943"/>
                </a:lnTo>
                <a:lnTo>
                  <a:pt x="4550" y="2897"/>
                </a:lnTo>
                <a:lnTo>
                  <a:pt x="4520" y="2850"/>
                </a:lnTo>
                <a:lnTo>
                  <a:pt x="4490" y="2805"/>
                </a:lnTo>
                <a:lnTo>
                  <a:pt x="4459" y="2758"/>
                </a:lnTo>
                <a:lnTo>
                  <a:pt x="4429" y="2712"/>
                </a:lnTo>
                <a:lnTo>
                  <a:pt x="4398" y="2667"/>
                </a:lnTo>
                <a:lnTo>
                  <a:pt x="4368" y="2622"/>
                </a:lnTo>
                <a:lnTo>
                  <a:pt x="4337" y="2577"/>
                </a:lnTo>
                <a:lnTo>
                  <a:pt x="4306" y="2532"/>
                </a:lnTo>
                <a:lnTo>
                  <a:pt x="4276" y="2488"/>
                </a:lnTo>
                <a:lnTo>
                  <a:pt x="4246" y="2444"/>
                </a:lnTo>
                <a:lnTo>
                  <a:pt x="4214" y="2400"/>
                </a:lnTo>
                <a:lnTo>
                  <a:pt x="4184" y="2356"/>
                </a:lnTo>
                <a:lnTo>
                  <a:pt x="4098" y="2233"/>
                </a:lnTo>
                <a:lnTo>
                  <a:pt x="4011" y="2111"/>
                </a:lnTo>
                <a:lnTo>
                  <a:pt x="3924" y="1993"/>
                </a:lnTo>
                <a:lnTo>
                  <a:pt x="3839" y="1877"/>
                </a:lnTo>
                <a:lnTo>
                  <a:pt x="3756" y="1764"/>
                </a:lnTo>
                <a:lnTo>
                  <a:pt x="3674" y="1655"/>
                </a:lnTo>
                <a:lnTo>
                  <a:pt x="3594" y="1549"/>
                </a:lnTo>
                <a:lnTo>
                  <a:pt x="3515" y="1446"/>
                </a:lnTo>
                <a:lnTo>
                  <a:pt x="3439" y="1348"/>
                </a:lnTo>
                <a:lnTo>
                  <a:pt x="3365" y="1253"/>
                </a:lnTo>
                <a:lnTo>
                  <a:pt x="3294" y="1163"/>
                </a:lnTo>
                <a:lnTo>
                  <a:pt x="3226" y="1076"/>
                </a:lnTo>
                <a:lnTo>
                  <a:pt x="3160" y="994"/>
                </a:lnTo>
                <a:lnTo>
                  <a:pt x="3098" y="917"/>
                </a:lnTo>
                <a:lnTo>
                  <a:pt x="3039" y="845"/>
                </a:lnTo>
                <a:lnTo>
                  <a:pt x="2984" y="777"/>
                </a:lnTo>
                <a:lnTo>
                  <a:pt x="2907" y="871"/>
                </a:lnTo>
                <a:lnTo>
                  <a:pt x="2823" y="975"/>
                </a:lnTo>
                <a:lnTo>
                  <a:pt x="2734" y="1087"/>
                </a:lnTo>
                <a:lnTo>
                  <a:pt x="2639" y="1207"/>
                </a:lnTo>
                <a:lnTo>
                  <a:pt x="2538" y="1336"/>
                </a:lnTo>
                <a:lnTo>
                  <a:pt x="2433" y="1473"/>
                </a:lnTo>
                <a:lnTo>
                  <a:pt x="2324" y="1615"/>
                </a:lnTo>
                <a:lnTo>
                  <a:pt x="2213" y="1765"/>
                </a:lnTo>
                <a:lnTo>
                  <a:pt x="2098" y="1922"/>
                </a:lnTo>
                <a:lnTo>
                  <a:pt x="1980" y="2084"/>
                </a:lnTo>
                <a:lnTo>
                  <a:pt x="1861" y="2251"/>
                </a:lnTo>
                <a:lnTo>
                  <a:pt x="1741" y="2423"/>
                </a:lnTo>
                <a:lnTo>
                  <a:pt x="1680" y="2511"/>
                </a:lnTo>
                <a:lnTo>
                  <a:pt x="1620" y="2600"/>
                </a:lnTo>
                <a:lnTo>
                  <a:pt x="1559" y="2689"/>
                </a:lnTo>
                <a:lnTo>
                  <a:pt x="1499" y="2780"/>
                </a:lnTo>
                <a:lnTo>
                  <a:pt x="1438" y="2872"/>
                </a:lnTo>
                <a:lnTo>
                  <a:pt x="1378" y="2964"/>
                </a:lnTo>
                <a:lnTo>
                  <a:pt x="1318" y="3058"/>
                </a:lnTo>
                <a:lnTo>
                  <a:pt x="1259" y="3152"/>
                </a:lnTo>
                <a:close/>
                <a:moveTo>
                  <a:pt x="10527" y="0"/>
                </a:moveTo>
                <a:lnTo>
                  <a:pt x="14641" y="12384"/>
                </a:lnTo>
                <a:lnTo>
                  <a:pt x="16128" y="12384"/>
                </a:lnTo>
                <a:lnTo>
                  <a:pt x="11076" y="0"/>
                </a:lnTo>
                <a:lnTo>
                  <a:pt x="10527" y="0"/>
                </a:lnTo>
                <a:close/>
                <a:moveTo>
                  <a:pt x="2275" y="10295"/>
                </a:moveTo>
                <a:lnTo>
                  <a:pt x="2197" y="10280"/>
                </a:lnTo>
                <a:lnTo>
                  <a:pt x="2121" y="10264"/>
                </a:lnTo>
                <a:lnTo>
                  <a:pt x="2045" y="10246"/>
                </a:lnTo>
                <a:lnTo>
                  <a:pt x="1970" y="10227"/>
                </a:lnTo>
                <a:lnTo>
                  <a:pt x="1895" y="10207"/>
                </a:lnTo>
                <a:lnTo>
                  <a:pt x="1820" y="10185"/>
                </a:lnTo>
                <a:lnTo>
                  <a:pt x="1746" y="10161"/>
                </a:lnTo>
                <a:lnTo>
                  <a:pt x="1673" y="10136"/>
                </a:lnTo>
                <a:lnTo>
                  <a:pt x="1601" y="10111"/>
                </a:lnTo>
                <a:lnTo>
                  <a:pt x="1529" y="10082"/>
                </a:lnTo>
                <a:lnTo>
                  <a:pt x="1458" y="10053"/>
                </a:lnTo>
                <a:lnTo>
                  <a:pt x="1387" y="10023"/>
                </a:lnTo>
                <a:lnTo>
                  <a:pt x="1317" y="9991"/>
                </a:lnTo>
                <a:lnTo>
                  <a:pt x="1248" y="9958"/>
                </a:lnTo>
                <a:lnTo>
                  <a:pt x="1179" y="9924"/>
                </a:lnTo>
                <a:lnTo>
                  <a:pt x="1112" y="9887"/>
                </a:lnTo>
                <a:lnTo>
                  <a:pt x="94" y="12384"/>
                </a:lnTo>
                <a:lnTo>
                  <a:pt x="1581" y="12384"/>
                </a:lnTo>
                <a:lnTo>
                  <a:pt x="2275" y="10295"/>
                </a:lnTo>
                <a:close/>
                <a:moveTo>
                  <a:pt x="6204" y="0"/>
                </a:moveTo>
                <a:lnTo>
                  <a:pt x="5457" y="2850"/>
                </a:lnTo>
                <a:lnTo>
                  <a:pt x="5524" y="2959"/>
                </a:lnTo>
                <a:lnTo>
                  <a:pt x="5590" y="3070"/>
                </a:lnTo>
                <a:lnTo>
                  <a:pt x="5656" y="3181"/>
                </a:lnTo>
                <a:lnTo>
                  <a:pt x="5720" y="3292"/>
                </a:lnTo>
                <a:lnTo>
                  <a:pt x="5785" y="3405"/>
                </a:lnTo>
                <a:lnTo>
                  <a:pt x="5847" y="3517"/>
                </a:lnTo>
                <a:lnTo>
                  <a:pt x="5909" y="3630"/>
                </a:lnTo>
                <a:lnTo>
                  <a:pt x="5969" y="3744"/>
                </a:lnTo>
                <a:lnTo>
                  <a:pt x="6028" y="3857"/>
                </a:lnTo>
                <a:lnTo>
                  <a:pt x="6085" y="3970"/>
                </a:lnTo>
                <a:lnTo>
                  <a:pt x="6142" y="4084"/>
                </a:lnTo>
                <a:lnTo>
                  <a:pt x="6196" y="4198"/>
                </a:lnTo>
                <a:lnTo>
                  <a:pt x="6249" y="4312"/>
                </a:lnTo>
                <a:lnTo>
                  <a:pt x="6299" y="4425"/>
                </a:lnTo>
                <a:lnTo>
                  <a:pt x="6348" y="4537"/>
                </a:lnTo>
                <a:lnTo>
                  <a:pt x="6395" y="4651"/>
                </a:lnTo>
                <a:lnTo>
                  <a:pt x="6440" y="4763"/>
                </a:lnTo>
                <a:lnTo>
                  <a:pt x="6482" y="4874"/>
                </a:lnTo>
                <a:lnTo>
                  <a:pt x="6523" y="4986"/>
                </a:lnTo>
                <a:lnTo>
                  <a:pt x="6560" y="5097"/>
                </a:lnTo>
                <a:lnTo>
                  <a:pt x="6596" y="5206"/>
                </a:lnTo>
                <a:lnTo>
                  <a:pt x="6629" y="5316"/>
                </a:lnTo>
                <a:lnTo>
                  <a:pt x="6659" y="5424"/>
                </a:lnTo>
                <a:lnTo>
                  <a:pt x="6686" y="5532"/>
                </a:lnTo>
                <a:lnTo>
                  <a:pt x="6711" y="5638"/>
                </a:lnTo>
                <a:lnTo>
                  <a:pt x="6732" y="5744"/>
                </a:lnTo>
                <a:lnTo>
                  <a:pt x="6751" y="5848"/>
                </a:lnTo>
                <a:lnTo>
                  <a:pt x="6767" y="5951"/>
                </a:lnTo>
                <a:lnTo>
                  <a:pt x="6779" y="6052"/>
                </a:lnTo>
                <a:lnTo>
                  <a:pt x="6787" y="6153"/>
                </a:lnTo>
                <a:lnTo>
                  <a:pt x="6793" y="6252"/>
                </a:lnTo>
                <a:lnTo>
                  <a:pt x="6794" y="6349"/>
                </a:lnTo>
                <a:lnTo>
                  <a:pt x="6793" y="6462"/>
                </a:lnTo>
                <a:lnTo>
                  <a:pt x="6790" y="6575"/>
                </a:lnTo>
                <a:lnTo>
                  <a:pt x="6784" y="6685"/>
                </a:lnTo>
                <a:lnTo>
                  <a:pt x="6776" y="6793"/>
                </a:lnTo>
                <a:lnTo>
                  <a:pt x="6766" y="6901"/>
                </a:lnTo>
                <a:lnTo>
                  <a:pt x="6754" y="7008"/>
                </a:lnTo>
                <a:lnTo>
                  <a:pt x="6738" y="7112"/>
                </a:lnTo>
                <a:lnTo>
                  <a:pt x="6722" y="7215"/>
                </a:lnTo>
                <a:lnTo>
                  <a:pt x="6703" y="7316"/>
                </a:lnTo>
                <a:lnTo>
                  <a:pt x="6682" y="7417"/>
                </a:lnTo>
                <a:lnTo>
                  <a:pt x="6659" y="7516"/>
                </a:lnTo>
                <a:lnTo>
                  <a:pt x="6635" y="7612"/>
                </a:lnTo>
                <a:lnTo>
                  <a:pt x="6607" y="7708"/>
                </a:lnTo>
                <a:lnTo>
                  <a:pt x="6578" y="7802"/>
                </a:lnTo>
                <a:lnTo>
                  <a:pt x="6547" y="7894"/>
                </a:lnTo>
                <a:lnTo>
                  <a:pt x="6515" y="7985"/>
                </a:lnTo>
                <a:lnTo>
                  <a:pt x="6479" y="8074"/>
                </a:lnTo>
                <a:lnTo>
                  <a:pt x="6443" y="8163"/>
                </a:lnTo>
                <a:lnTo>
                  <a:pt x="6405" y="8249"/>
                </a:lnTo>
                <a:lnTo>
                  <a:pt x="6365" y="8334"/>
                </a:lnTo>
                <a:lnTo>
                  <a:pt x="6322" y="8417"/>
                </a:lnTo>
                <a:lnTo>
                  <a:pt x="6279" y="8499"/>
                </a:lnTo>
                <a:lnTo>
                  <a:pt x="6232" y="8579"/>
                </a:lnTo>
                <a:lnTo>
                  <a:pt x="6185" y="8656"/>
                </a:lnTo>
                <a:lnTo>
                  <a:pt x="6137" y="8733"/>
                </a:lnTo>
                <a:lnTo>
                  <a:pt x="6086" y="8808"/>
                </a:lnTo>
                <a:lnTo>
                  <a:pt x="6034" y="8881"/>
                </a:lnTo>
                <a:lnTo>
                  <a:pt x="5979" y="8953"/>
                </a:lnTo>
                <a:lnTo>
                  <a:pt x="5924" y="9023"/>
                </a:lnTo>
                <a:lnTo>
                  <a:pt x="5868" y="9092"/>
                </a:lnTo>
                <a:lnTo>
                  <a:pt x="5809" y="9158"/>
                </a:lnTo>
                <a:lnTo>
                  <a:pt x="5749" y="9223"/>
                </a:lnTo>
                <a:lnTo>
                  <a:pt x="5693" y="9281"/>
                </a:lnTo>
                <a:lnTo>
                  <a:pt x="5637" y="9337"/>
                </a:lnTo>
                <a:lnTo>
                  <a:pt x="5578" y="9391"/>
                </a:lnTo>
                <a:lnTo>
                  <a:pt x="5520" y="9445"/>
                </a:lnTo>
                <a:lnTo>
                  <a:pt x="5459" y="9496"/>
                </a:lnTo>
                <a:lnTo>
                  <a:pt x="5398" y="9546"/>
                </a:lnTo>
                <a:lnTo>
                  <a:pt x="5336" y="9595"/>
                </a:lnTo>
                <a:lnTo>
                  <a:pt x="5273" y="9642"/>
                </a:lnTo>
                <a:lnTo>
                  <a:pt x="5208" y="9689"/>
                </a:lnTo>
                <a:lnTo>
                  <a:pt x="5144" y="9733"/>
                </a:lnTo>
                <a:lnTo>
                  <a:pt x="5077" y="9776"/>
                </a:lnTo>
                <a:lnTo>
                  <a:pt x="5010" y="9817"/>
                </a:lnTo>
                <a:lnTo>
                  <a:pt x="4942" y="9857"/>
                </a:lnTo>
                <a:lnTo>
                  <a:pt x="4873" y="9895"/>
                </a:lnTo>
                <a:lnTo>
                  <a:pt x="4803" y="9933"/>
                </a:lnTo>
                <a:lnTo>
                  <a:pt x="4733" y="9968"/>
                </a:lnTo>
                <a:lnTo>
                  <a:pt x="4661" y="10003"/>
                </a:lnTo>
                <a:lnTo>
                  <a:pt x="4588" y="10035"/>
                </a:lnTo>
                <a:lnTo>
                  <a:pt x="4515" y="10065"/>
                </a:lnTo>
                <a:lnTo>
                  <a:pt x="4440" y="10095"/>
                </a:lnTo>
                <a:lnTo>
                  <a:pt x="4366" y="10123"/>
                </a:lnTo>
                <a:lnTo>
                  <a:pt x="4290" y="10149"/>
                </a:lnTo>
                <a:lnTo>
                  <a:pt x="4213" y="10174"/>
                </a:lnTo>
                <a:lnTo>
                  <a:pt x="4137" y="10197"/>
                </a:lnTo>
                <a:lnTo>
                  <a:pt x="4059" y="10219"/>
                </a:lnTo>
                <a:lnTo>
                  <a:pt x="3981" y="10239"/>
                </a:lnTo>
                <a:lnTo>
                  <a:pt x="3901" y="10258"/>
                </a:lnTo>
                <a:lnTo>
                  <a:pt x="3821" y="10275"/>
                </a:lnTo>
                <a:lnTo>
                  <a:pt x="3741" y="10290"/>
                </a:lnTo>
                <a:lnTo>
                  <a:pt x="3660" y="10304"/>
                </a:lnTo>
                <a:lnTo>
                  <a:pt x="3578" y="10316"/>
                </a:lnTo>
                <a:lnTo>
                  <a:pt x="3497" y="10326"/>
                </a:lnTo>
                <a:lnTo>
                  <a:pt x="2956" y="12384"/>
                </a:lnTo>
                <a:lnTo>
                  <a:pt x="7325" y="12384"/>
                </a:lnTo>
                <a:lnTo>
                  <a:pt x="7365" y="11357"/>
                </a:lnTo>
                <a:lnTo>
                  <a:pt x="8856" y="11357"/>
                </a:lnTo>
                <a:lnTo>
                  <a:pt x="8898" y="12384"/>
                </a:lnTo>
                <a:lnTo>
                  <a:pt x="13265" y="12384"/>
                </a:lnTo>
                <a:lnTo>
                  <a:pt x="10018" y="0"/>
                </a:lnTo>
                <a:lnTo>
                  <a:pt x="8402" y="0"/>
                </a:lnTo>
                <a:lnTo>
                  <a:pt x="8443" y="1027"/>
                </a:lnTo>
                <a:lnTo>
                  <a:pt x="7779" y="1027"/>
                </a:lnTo>
                <a:lnTo>
                  <a:pt x="7820" y="0"/>
                </a:lnTo>
                <a:lnTo>
                  <a:pt x="6204" y="0"/>
                </a:lnTo>
                <a:close/>
                <a:moveTo>
                  <a:pt x="7717" y="2566"/>
                </a:moveTo>
                <a:lnTo>
                  <a:pt x="8504" y="2566"/>
                </a:lnTo>
                <a:lnTo>
                  <a:pt x="8619" y="5423"/>
                </a:lnTo>
                <a:lnTo>
                  <a:pt x="7603" y="5423"/>
                </a:lnTo>
                <a:lnTo>
                  <a:pt x="7717" y="2566"/>
                </a:lnTo>
                <a:close/>
                <a:moveTo>
                  <a:pt x="7427" y="9818"/>
                </a:moveTo>
                <a:lnTo>
                  <a:pt x="7542" y="6961"/>
                </a:lnTo>
                <a:lnTo>
                  <a:pt x="8680" y="6961"/>
                </a:lnTo>
                <a:lnTo>
                  <a:pt x="8795" y="9818"/>
                </a:lnTo>
                <a:lnTo>
                  <a:pt x="7427" y="9818"/>
                </a:lnTo>
                <a:close/>
                <a:moveTo>
                  <a:pt x="5146" y="0"/>
                </a:moveTo>
                <a:lnTo>
                  <a:pt x="4540" y="1486"/>
                </a:lnTo>
                <a:lnTo>
                  <a:pt x="4594" y="1562"/>
                </a:lnTo>
                <a:lnTo>
                  <a:pt x="4650" y="1639"/>
                </a:lnTo>
                <a:lnTo>
                  <a:pt x="4706" y="1718"/>
                </a:lnTo>
                <a:lnTo>
                  <a:pt x="4763" y="1797"/>
                </a:lnTo>
                <a:lnTo>
                  <a:pt x="4819" y="1878"/>
                </a:lnTo>
                <a:lnTo>
                  <a:pt x="4876" y="1959"/>
                </a:lnTo>
                <a:lnTo>
                  <a:pt x="4932" y="2042"/>
                </a:lnTo>
                <a:lnTo>
                  <a:pt x="4990" y="2126"/>
                </a:lnTo>
                <a:lnTo>
                  <a:pt x="5695" y="0"/>
                </a:lnTo>
                <a:lnTo>
                  <a:pt x="5146" y="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man_nauka_2"/>
          <p:cNvSpPr>
            <a:spLocks noEditPoints="1"/>
          </p:cNvSpPr>
          <p:nvPr>
            <p:custDataLst>
              <p:tags r:id="rId7"/>
            </p:custDataLst>
          </p:nvPr>
        </p:nvSpPr>
        <p:spPr bwMode="auto">
          <a:xfrm>
            <a:off x="4306966" y="4257092"/>
            <a:ext cx="445054" cy="478158"/>
          </a:xfrm>
          <a:custGeom>
            <a:avLst/>
            <a:gdLst>
              <a:gd name="T0" fmla="*/ 8915 w 15246"/>
              <a:gd name="T1" fmla="*/ 4945 h 16380"/>
              <a:gd name="T2" fmla="*/ 9200 w 15246"/>
              <a:gd name="T3" fmla="*/ 3796 h 16380"/>
              <a:gd name="T4" fmla="*/ 8840 w 15246"/>
              <a:gd name="T5" fmla="*/ 4173 h 16380"/>
              <a:gd name="T6" fmla="*/ 7533 w 15246"/>
              <a:gd name="T7" fmla="*/ 4898 h 16380"/>
              <a:gd name="T8" fmla="*/ 6825 w 15246"/>
              <a:gd name="T9" fmla="*/ 3730 h 16380"/>
              <a:gd name="T10" fmla="*/ 5730 w 15246"/>
              <a:gd name="T11" fmla="*/ 4842 h 16380"/>
              <a:gd name="T12" fmla="*/ 4331 w 15246"/>
              <a:gd name="T13" fmla="*/ 4315 h 16380"/>
              <a:gd name="T14" fmla="*/ 3881 w 15246"/>
              <a:gd name="T15" fmla="*/ 3669 h 16380"/>
              <a:gd name="T16" fmla="*/ 4046 w 15246"/>
              <a:gd name="T17" fmla="*/ 4842 h 16380"/>
              <a:gd name="T18" fmla="*/ 6064 w 15246"/>
              <a:gd name="T19" fmla="*/ 7449 h 16380"/>
              <a:gd name="T20" fmla="*/ 5941 w 15246"/>
              <a:gd name="T21" fmla="*/ 4041 h 16380"/>
              <a:gd name="T22" fmla="*/ 5385 w 15246"/>
              <a:gd name="T23" fmla="*/ 3239 h 16380"/>
              <a:gd name="T24" fmla="*/ 4614 w 15246"/>
              <a:gd name="T25" fmla="*/ 3836 h 16380"/>
              <a:gd name="T26" fmla="*/ 5249 w 15246"/>
              <a:gd name="T27" fmla="*/ 4577 h 16380"/>
              <a:gd name="T28" fmla="*/ 7805 w 15246"/>
              <a:gd name="T29" fmla="*/ 4577 h 16380"/>
              <a:gd name="T30" fmla="*/ 8511 w 15246"/>
              <a:gd name="T31" fmla="*/ 3905 h 16380"/>
              <a:gd name="T32" fmla="*/ 7805 w 15246"/>
              <a:gd name="T33" fmla="*/ 3233 h 16380"/>
              <a:gd name="T34" fmla="*/ 10211 w 15246"/>
              <a:gd name="T35" fmla="*/ 10739 h 16380"/>
              <a:gd name="T36" fmla="*/ 824 w 15246"/>
              <a:gd name="T37" fmla="*/ 9742 h 16380"/>
              <a:gd name="T38" fmla="*/ 22 w 15246"/>
              <a:gd name="T39" fmla="*/ 14314 h 16380"/>
              <a:gd name="T40" fmla="*/ 3072 w 15246"/>
              <a:gd name="T41" fmla="*/ 15699 h 16380"/>
              <a:gd name="T42" fmla="*/ 9048 w 15246"/>
              <a:gd name="T43" fmla="*/ 14094 h 16380"/>
              <a:gd name="T44" fmla="*/ 9836 w 15246"/>
              <a:gd name="T45" fmla="*/ 9961 h 16380"/>
              <a:gd name="T46" fmla="*/ 9172 w 15246"/>
              <a:gd name="T47" fmla="*/ 7828 h 16380"/>
              <a:gd name="T48" fmla="*/ 4290 w 15246"/>
              <a:gd name="T49" fmla="*/ 7577 h 16380"/>
              <a:gd name="T50" fmla="*/ 12215 w 15246"/>
              <a:gd name="T51" fmla="*/ 13179 h 16380"/>
              <a:gd name="T52" fmla="*/ 11362 w 15246"/>
              <a:gd name="T53" fmla="*/ 12990 h 16380"/>
              <a:gd name="T54" fmla="*/ 10669 w 15246"/>
              <a:gd name="T55" fmla="*/ 14018 h 16380"/>
              <a:gd name="T56" fmla="*/ 12897 w 15246"/>
              <a:gd name="T57" fmla="*/ 15373 h 16380"/>
              <a:gd name="T58" fmla="*/ 12300 w 15246"/>
              <a:gd name="T59" fmla="*/ 13558 h 16380"/>
              <a:gd name="T60" fmla="*/ 12276 w 15246"/>
              <a:gd name="T61" fmla="*/ 12201 h 16380"/>
              <a:gd name="T62" fmla="*/ 12210 w 15246"/>
              <a:gd name="T63" fmla="*/ 11820 h 16380"/>
              <a:gd name="T64" fmla="*/ 12539 w 15246"/>
              <a:gd name="T65" fmla="*/ 11985 h 16380"/>
              <a:gd name="T66" fmla="*/ 13010 w 15246"/>
              <a:gd name="T67" fmla="*/ 13197 h 16380"/>
              <a:gd name="T68" fmla="*/ 12618 w 15246"/>
              <a:gd name="T69" fmla="*/ 12823 h 16380"/>
              <a:gd name="T70" fmla="*/ 13010 w 15246"/>
              <a:gd name="T71" fmla="*/ 12451 h 16380"/>
              <a:gd name="T72" fmla="*/ 14700 w 15246"/>
              <a:gd name="T73" fmla="*/ 11907 h 16380"/>
              <a:gd name="T74" fmla="*/ 13734 w 15246"/>
              <a:gd name="T75" fmla="*/ 10487 h 16380"/>
              <a:gd name="T76" fmla="*/ 14419 w 15246"/>
              <a:gd name="T77" fmla="*/ 9358 h 16380"/>
              <a:gd name="T78" fmla="*/ 11158 w 15246"/>
              <a:gd name="T79" fmla="*/ 8674 h 16380"/>
              <a:gd name="T80" fmla="*/ 10462 w 15246"/>
              <a:gd name="T81" fmla="*/ 9790 h 16380"/>
              <a:gd name="T82" fmla="*/ 11286 w 15246"/>
              <a:gd name="T83" fmla="*/ 10487 h 16380"/>
              <a:gd name="T84" fmla="*/ 9649 w 15246"/>
              <a:gd name="T85" fmla="*/ 13578 h 16380"/>
              <a:gd name="T86" fmla="*/ 12593 w 15246"/>
              <a:gd name="T87" fmla="*/ 16376 h 16380"/>
              <a:gd name="T88" fmla="*/ 15244 w 15246"/>
              <a:gd name="T89" fmla="*/ 13466 h 16380"/>
              <a:gd name="T90" fmla="*/ 12231 w 15246"/>
              <a:gd name="T91" fmla="*/ 15717 h 16380"/>
              <a:gd name="T92" fmla="*/ 10316 w 15246"/>
              <a:gd name="T93" fmla="*/ 13326 h 16380"/>
              <a:gd name="T94" fmla="*/ 11808 w 15246"/>
              <a:gd name="T95" fmla="*/ 11502 h 16380"/>
              <a:gd name="T96" fmla="*/ 11818 w 15246"/>
              <a:gd name="T97" fmla="*/ 9871 h 16380"/>
              <a:gd name="T98" fmla="*/ 11129 w 15246"/>
              <a:gd name="T99" fmla="*/ 9397 h 16380"/>
              <a:gd name="T100" fmla="*/ 13771 w 15246"/>
              <a:gd name="T101" fmla="*/ 9740 h 16380"/>
              <a:gd name="T102" fmla="*/ 13012 w 15246"/>
              <a:gd name="T103" fmla="*/ 9924 h 16380"/>
              <a:gd name="T104" fmla="*/ 13328 w 15246"/>
              <a:gd name="T105" fmla="*/ 11614 h 16380"/>
              <a:gd name="T106" fmla="*/ 14572 w 15246"/>
              <a:gd name="T107" fmla="*/ 13905 h 16380"/>
              <a:gd name="T108" fmla="*/ 5382 w 15246"/>
              <a:gd name="T109" fmla="*/ 2850 h 16380"/>
              <a:gd name="T110" fmla="*/ 7042 w 15246"/>
              <a:gd name="T111" fmla="*/ 3230 h 16380"/>
              <a:gd name="T112" fmla="*/ 7970 w 15246"/>
              <a:gd name="T113" fmla="*/ 2854 h 16380"/>
              <a:gd name="T114" fmla="*/ 9065 w 15246"/>
              <a:gd name="T115" fmla="*/ 3307 h 16380"/>
              <a:gd name="T116" fmla="*/ 9190 w 15246"/>
              <a:gd name="T117" fmla="*/ 2025 h 16380"/>
              <a:gd name="T118" fmla="*/ 5769 w 15246"/>
              <a:gd name="T119" fmla="*/ 120 h 16380"/>
              <a:gd name="T120" fmla="*/ 3899 w 15246"/>
              <a:gd name="T121" fmla="*/ 2977 h 16380"/>
              <a:gd name="T122" fmla="*/ 4766 w 15246"/>
              <a:gd name="T123" fmla="*/ 2997 h 16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246" h="16380">
                <a:moveTo>
                  <a:pt x="6446" y="7505"/>
                </a:moveTo>
                <a:lnTo>
                  <a:pt x="6558" y="7501"/>
                </a:lnTo>
                <a:lnTo>
                  <a:pt x="6667" y="7490"/>
                </a:lnTo>
                <a:lnTo>
                  <a:pt x="6775" y="7471"/>
                </a:lnTo>
                <a:lnTo>
                  <a:pt x="6884" y="7445"/>
                </a:lnTo>
                <a:lnTo>
                  <a:pt x="6990" y="7413"/>
                </a:lnTo>
                <a:lnTo>
                  <a:pt x="7095" y="7373"/>
                </a:lnTo>
                <a:lnTo>
                  <a:pt x="7199" y="7328"/>
                </a:lnTo>
                <a:lnTo>
                  <a:pt x="7302" y="7277"/>
                </a:lnTo>
                <a:lnTo>
                  <a:pt x="7403" y="7219"/>
                </a:lnTo>
                <a:lnTo>
                  <a:pt x="7501" y="7158"/>
                </a:lnTo>
                <a:lnTo>
                  <a:pt x="7598" y="7090"/>
                </a:lnTo>
                <a:lnTo>
                  <a:pt x="7692" y="7018"/>
                </a:lnTo>
                <a:lnTo>
                  <a:pt x="7784" y="6940"/>
                </a:lnTo>
                <a:lnTo>
                  <a:pt x="7874" y="6859"/>
                </a:lnTo>
                <a:lnTo>
                  <a:pt x="7962" y="6773"/>
                </a:lnTo>
                <a:lnTo>
                  <a:pt x="8046" y="6684"/>
                </a:lnTo>
                <a:lnTo>
                  <a:pt x="8127" y="6591"/>
                </a:lnTo>
                <a:lnTo>
                  <a:pt x="8206" y="6495"/>
                </a:lnTo>
                <a:lnTo>
                  <a:pt x="8282" y="6394"/>
                </a:lnTo>
                <a:lnTo>
                  <a:pt x="8354" y="6292"/>
                </a:lnTo>
                <a:lnTo>
                  <a:pt x="8423" y="6188"/>
                </a:lnTo>
                <a:lnTo>
                  <a:pt x="8488" y="6081"/>
                </a:lnTo>
                <a:lnTo>
                  <a:pt x="8550" y="5972"/>
                </a:lnTo>
                <a:lnTo>
                  <a:pt x="8607" y="5861"/>
                </a:lnTo>
                <a:lnTo>
                  <a:pt x="8662" y="5748"/>
                </a:lnTo>
                <a:lnTo>
                  <a:pt x="8711" y="5635"/>
                </a:lnTo>
                <a:lnTo>
                  <a:pt x="8757" y="5521"/>
                </a:lnTo>
                <a:lnTo>
                  <a:pt x="8798" y="5405"/>
                </a:lnTo>
                <a:lnTo>
                  <a:pt x="8834" y="5291"/>
                </a:lnTo>
                <a:lnTo>
                  <a:pt x="8866" y="5175"/>
                </a:lnTo>
                <a:lnTo>
                  <a:pt x="8893" y="5059"/>
                </a:lnTo>
                <a:lnTo>
                  <a:pt x="8915" y="4945"/>
                </a:lnTo>
                <a:lnTo>
                  <a:pt x="8931" y="4927"/>
                </a:lnTo>
                <a:lnTo>
                  <a:pt x="8948" y="4909"/>
                </a:lnTo>
                <a:lnTo>
                  <a:pt x="8963" y="4889"/>
                </a:lnTo>
                <a:lnTo>
                  <a:pt x="8979" y="4868"/>
                </a:lnTo>
                <a:lnTo>
                  <a:pt x="8995" y="4845"/>
                </a:lnTo>
                <a:lnTo>
                  <a:pt x="9010" y="4822"/>
                </a:lnTo>
                <a:lnTo>
                  <a:pt x="9024" y="4796"/>
                </a:lnTo>
                <a:lnTo>
                  <a:pt x="9039" y="4769"/>
                </a:lnTo>
                <a:lnTo>
                  <a:pt x="9052" y="4740"/>
                </a:lnTo>
                <a:lnTo>
                  <a:pt x="9065" y="4710"/>
                </a:lnTo>
                <a:lnTo>
                  <a:pt x="9076" y="4679"/>
                </a:lnTo>
                <a:lnTo>
                  <a:pt x="9089" y="4645"/>
                </a:lnTo>
                <a:lnTo>
                  <a:pt x="9099" y="4609"/>
                </a:lnTo>
                <a:lnTo>
                  <a:pt x="9109" y="4572"/>
                </a:lnTo>
                <a:lnTo>
                  <a:pt x="9118" y="4533"/>
                </a:lnTo>
                <a:lnTo>
                  <a:pt x="9127" y="4491"/>
                </a:lnTo>
                <a:lnTo>
                  <a:pt x="9139" y="4445"/>
                </a:lnTo>
                <a:lnTo>
                  <a:pt x="9151" y="4395"/>
                </a:lnTo>
                <a:lnTo>
                  <a:pt x="9163" y="4342"/>
                </a:lnTo>
                <a:lnTo>
                  <a:pt x="9175" y="4286"/>
                </a:lnTo>
                <a:lnTo>
                  <a:pt x="9185" y="4229"/>
                </a:lnTo>
                <a:lnTo>
                  <a:pt x="9194" y="4171"/>
                </a:lnTo>
                <a:lnTo>
                  <a:pt x="9202" y="4111"/>
                </a:lnTo>
                <a:lnTo>
                  <a:pt x="9207" y="4052"/>
                </a:lnTo>
                <a:lnTo>
                  <a:pt x="9209" y="4022"/>
                </a:lnTo>
                <a:lnTo>
                  <a:pt x="9211" y="3993"/>
                </a:lnTo>
                <a:lnTo>
                  <a:pt x="9211" y="3964"/>
                </a:lnTo>
                <a:lnTo>
                  <a:pt x="9211" y="3934"/>
                </a:lnTo>
                <a:lnTo>
                  <a:pt x="9211" y="3906"/>
                </a:lnTo>
                <a:lnTo>
                  <a:pt x="9209" y="3878"/>
                </a:lnTo>
                <a:lnTo>
                  <a:pt x="9207" y="3850"/>
                </a:lnTo>
                <a:lnTo>
                  <a:pt x="9204" y="3823"/>
                </a:lnTo>
                <a:lnTo>
                  <a:pt x="9200" y="3796"/>
                </a:lnTo>
                <a:lnTo>
                  <a:pt x="9195" y="3770"/>
                </a:lnTo>
                <a:lnTo>
                  <a:pt x="9189" y="3745"/>
                </a:lnTo>
                <a:lnTo>
                  <a:pt x="9182" y="3720"/>
                </a:lnTo>
                <a:lnTo>
                  <a:pt x="9174" y="3697"/>
                </a:lnTo>
                <a:lnTo>
                  <a:pt x="9164" y="3674"/>
                </a:lnTo>
                <a:lnTo>
                  <a:pt x="9154" y="3653"/>
                </a:lnTo>
                <a:lnTo>
                  <a:pt x="9143" y="3632"/>
                </a:lnTo>
                <a:lnTo>
                  <a:pt x="9130" y="3647"/>
                </a:lnTo>
                <a:lnTo>
                  <a:pt x="9115" y="3660"/>
                </a:lnTo>
                <a:lnTo>
                  <a:pt x="9101" y="3671"/>
                </a:lnTo>
                <a:lnTo>
                  <a:pt x="9085" y="3681"/>
                </a:lnTo>
                <a:lnTo>
                  <a:pt x="9075" y="3686"/>
                </a:lnTo>
                <a:lnTo>
                  <a:pt x="9067" y="3690"/>
                </a:lnTo>
                <a:lnTo>
                  <a:pt x="9058" y="3693"/>
                </a:lnTo>
                <a:lnTo>
                  <a:pt x="9049" y="3695"/>
                </a:lnTo>
                <a:lnTo>
                  <a:pt x="9040" y="3698"/>
                </a:lnTo>
                <a:lnTo>
                  <a:pt x="9031" y="3699"/>
                </a:lnTo>
                <a:lnTo>
                  <a:pt x="9021" y="3700"/>
                </a:lnTo>
                <a:lnTo>
                  <a:pt x="9011" y="3700"/>
                </a:lnTo>
                <a:lnTo>
                  <a:pt x="8849" y="3700"/>
                </a:lnTo>
                <a:lnTo>
                  <a:pt x="8854" y="3730"/>
                </a:lnTo>
                <a:lnTo>
                  <a:pt x="8859" y="3757"/>
                </a:lnTo>
                <a:lnTo>
                  <a:pt x="8863" y="3784"/>
                </a:lnTo>
                <a:lnTo>
                  <a:pt x="8867" y="3809"/>
                </a:lnTo>
                <a:lnTo>
                  <a:pt x="8869" y="3835"/>
                </a:lnTo>
                <a:lnTo>
                  <a:pt x="8871" y="3861"/>
                </a:lnTo>
                <a:lnTo>
                  <a:pt x="8872" y="3887"/>
                </a:lnTo>
                <a:lnTo>
                  <a:pt x="8873" y="3915"/>
                </a:lnTo>
                <a:lnTo>
                  <a:pt x="8871" y="3968"/>
                </a:lnTo>
                <a:lnTo>
                  <a:pt x="8868" y="4020"/>
                </a:lnTo>
                <a:lnTo>
                  <a:pt x="8861" y="4072"/>
                </a:lnTo>
                <a:lnTo>
                  <a:pt x="8852" y="4123"/>
                </a:lnTo>
                <a:lnTo>
                  <a:pt x="8840" y="4173"/>
                </a:lnTo>
                <a:lnTo>
                  <a:pt x="8826" y="4222"/>
                </a:lnTo>
                <a:lnTo>
                  <a:pt x="8810" y="4270"/>
                </a:lnTo>
                <a:lnTo>
                  <a:pt x="8791" y="4316"/>
                </a:lnTo>
                <a:lnTo>
                  <a:pt x="8771" y="4362"/>
                </a:lnTo>
                <a:lnTo>
                  <a:pt x="8748" y="4406"/>
                </a:lnTo>
                <a:lnTo>
                  <a:pt x="8723" y="4449"/>
                </a:lnTo>
                <a:lnTo>
                  <a:pt x="8696" y="4491"/>
                </a:lnTo>
                <a:lnTo>
                  <a:pt x="8668" y="4531"/>
                </a:lnTo>
                <a:lnTo>
                  <a:pt x="8636" y="4570"/>
                </a:lnTo>
                <a:lnTo>
                  <a:pt x="8604" y="4608"/>
                </a:lnTo>
                <a:lnTo>
                  <a:pt x="8570" y="4644"/>
                </a:lnTo>
                <a:lnTo>
                  <a:pt x="8534" y="4678"/>
                </a:lnTo>
                <a:lnTo>
                  <a:pt x="8496" y="4709"/>
                </a:lnTo>
                <a:lnTo>
                  <a:pt x="8457" y="4740"/>
                </a:lnTo>
                <a:lnTo>
                  <a:pt x="8416" y="4769"/>
                </a:lnTo>
                <a:lnTo>
                  <a:pt x="8375" y="4795"/>
                </a:lnTo>
                <a:lnTo>
                  <a:pt x="8332" y="4820"/>
                </a:lnTo>
                <a:lnTo>
                  <a:pt x="8287" y="4842"/>
                </a:lnTo>
                <a:lnTo>
                  <a:pt x="8242" y="4863"/>
                </a:lnTo>
                <a:lnTo>
                  <a:pt x="8195" y="4881"/>
                </a:lnTo>
                <a:lnTo>
                  <a:pt x="8147" y="4898"/>
                </a:lnTo>
                <a:lnTo>
                  <a:pt x="8098" y="4912"/>
                </a:lnTo>
                <a:lnTo>
                  <a:pt x="8048" y="4923"/>
                </a:lnTo>
                <a:lnTo>
                  <a:pt x="7996" y="4932"/>
                </a:lnTo>
                <a:lnTo>
                  <a:pt x="7945" y="4939"/>
                </a:lnTo>
                <a:lnTo>
                  <a:pt x="7892" y="4943"/>
                </a:lnTo>
                <a:lnTo>
                  <a:pt x="7839" y="4944"/>
                </a:lnTo>
                <a:lnTo>
                  <a:pt x="7787" y="4943"/>
                </a:lnTo>
                <a:lnTo>
                  <a:pt x="7734" y="4939"/>
                </a:lnTo>
                <a:lnTo>
                  <a:pt x="7683" y="4932"/>
                </a:lnTo>
                <a:lnTo>
                  <a:pt x="7632" y="4923"/>
                </a:lnTo>
                <a:lnTo>
                  <a:pt x="7582" y="4911"/>
                </a:lnTo>
                <a:lnTo>
                  <a:pt x="7533" y="4898"/>
                </a:lnTo>
                <a:lnTo>
                  <a:pt x="7485" y="4881"/>
                </a:lnTo>
                <a:lnTo>
                  <a:pt x="7438" y="4863"/>
                </a:lnTo>
                <a:lnTo>
                  <a:pt x="7393" y="4842"/>
                </a:lnTo>
                <a:lnTo>
                  <a:pt x="7348" y="4820"/>
                </a:lnTo>
                <a:lnTo>
                  <a:pt x="7305" y="4795"/>
                </a:lnTo>
                <a:lnTo>
                  <a:pt x="7263" y="4768"/>
                </a:lnTo>
                <a:lnTo>
                  <a:pt x="7222" y="4739"/>
                </a:lnTo>
                <a:lnTo>
                  <a:pt x="7183" y="4709"/>
                </a:lnTo>
                <a:lnTo>
                  <a:pt x="7145" y="4676"/>
                </a:lnTo>
                <a:lnTo>
                  <a:pt x="7110" y="4643"/>
                </a:lnTo>
                <a:lnTo>
                  <a:pt x="7076" y="4607"/>
                </a:lnTo>
                <a:lnTo>
                  <a:pt x="7043" y="4569"/>
                </a:lnTo>
                <a:lnTo>
                  <a:pt x="7012" y="4530"/>
                </a:lnTo>
                <a:lnTo>
                  <a:pt x="6984" y="4490"/>
                </a:lnTo>
                <a:lnTo>
                  <a:pt x="6956" y="4448"/>
                </a:lnTo>
                <a:lnTo>
                  <a:pt x="6932" y="4405"/>
                </a:lnTo>
                <a:lnTo>
                  <a:pt x="6909" y="4360"/>
                </a:lnTo>
                <a:lnTo>
                  <a:pt x="6888" y="4315"/>
                </a:lnTo>
                <a:lnTo>
                  <a:pt x="6869" y="4268"/>
                </a:lnTo>
                <a:lnTo>
                  <a:pt x="6853" y="4220"/>
                </a:lnTo>
                <a:lnTo>
                  <a:pt x="6840" y="4171"/>
                </a:lnTo>
                <a:lnTo>
                  <a:pt x="6828" y="4121"/>
                </a:lnTo>
                <a:lnTo>
                  <a:pt x="6818" y="4070"/>
                </a:lnTo>
                <a:lnTo>
                  <a:pt x="6812" y="4018"/>
                </a:lnTo>
                <a:lnTo>
                  <a:pt x="6808" y="3966"/>
                </a:lnTo>
                <a:lnTo>
                  <a:pt x="6807" y="3913"/>
                </a:lnTo>
                <a:lnTo>
                  <a:pt x="6807" y="3885"/>
                </a:lnTo>
                <a:lnTo>
                  <a:pt x="6808" y="3859"/>
                </a:lnTo>
                <a:lnTo>
                  <a:pt x="6810" y="3834"/>
                </a:lnTo>
                <a:lnTo>
                  <a:pt x="6813" y="3808"/>
                </a:lnTo>
                <a:lnTo>
                  <a:pt x="6816" y="3783"/>
                </a:lnTo>
                <a:lnTo>
                  <a:pt x="6820" y="3757"/>
                </a:lnTo>
                <a:lnTo>
                  <a:pt x="6825" y="3730"/>
                </a:lnTo>
                <a:lnTo>
                  <a:pt x="6831" y="3700"/>
                </a:lnTo>
                <a:lnTo>
                  <a:pt x="6291" y="3700"/>
                </a:lnTo>
                <a:lnTo>
                  <a:pt x="6296" y="3730"/>
                </a:lnTo>
                <a:lnTo>
                  <a:pt x="6301" y="3757"/>
                </a:lnTo>
                <a:lnTo>
                  <a:pt x="6305" y="3784"/>
                </a:lnTo>
                <a:lnTo>
                  <a:pt x="6310" y="3809"/>
                </a:lnTo>
                <a:lnTo>
                  <a:pt x="6312" y="3835"/>
                </a:lnTo>
                <a:lnTo>
                  <a:pt x="6314" y="3861"/>
                </a:lnTo>
                <a:lnTo>
                  <a:pt x="6315" y="3887"/>
                </a:lnTo>
                <a:lnTo>
                  <a:pt x="6316" y="3915"/>
                </a:lnTo>
                <a:lnTo>
                  <a:pt x="6314" y="3968"/>
                </a:lnTo>
                <a:lnTo>
                  <a:pt x="6310" y="4020"/>
                </a:lnTo>
                <a:lnTo>
                  <a:pt x="6303" y="4072"/>
                </a:lnTo>
                <a:lnTo>
                  <a:pt x="6294" y="4123"/>
                </a:lnTo>
                <a:lnTo>
                  <a:pt x="6283" y="4173"/>
                </a:lnTo>
                <a:lnTo>
                  <a:pt x="6269" y="4222"/>
                </a:lnTo>
                <a:lnTo>
                  <a:pt x="6252" y="4270"/>
                </a:lnTo>
                <a:lnTo>
                  <a:pt x="6234" y="4316"/>
                </a:lnTo>
                <a:lnTo>
                  <a:pt x="6213" y="4362"/>
                </a:lnTo>
                <a:lnTo>
                  <a:pt x="6191" y="4406"/>
                </a:lnTo>
                <a:lnTo>
                  <a:pt x="6165" y="4449"/>
                </a:lnTo>
                <a:lnTo>
                  <a:pt x="6139" y="4491"/>
                </a:lnTo>
                <a:lnTo>
                  <a:pt x="6110" y="4531"/>
                </a:lnTo>
                <a:lnTo>
                  <a:pt x="6080" y="4570"/>
                </a:lnTo>
                <a:lnTo>
                  <a:pt x="6047" y="4608"/>
                </a:lnTo>
                <a:lnTo>
                  <a:pt x="6012" y="4644"/>
                </a:lnTo>
                <a:lnTo>
                  <a:pt x="5976" y="4678"/>
                </a:lnTo>
                <a:lnTo>
                  <a:pt x="5940" y="4709"/>
                </a:lnTo>
                <a:lnTo>
                  <a:pt x="5900" y="4740"/>
                </a:lnTo>
                <a:lnTo>
                  <a:pt x="5860" y="4769"/>
                </a:lnTo>
                <a:lnTo>
                  <a:pt x="5818" y="4795"/>
                </a:lnTo>
                <a:lnTo>
                  <a:pt x="5775" y="4820"/>
                </a:lnTo>
                <a:lnTo>
                  <a:pt x="5730" y="4842"/>
                </a:lnTo>
                <a:lnTo>
                  <a:pt x="5684" y="4863"/>
                </a:lnTo>
                <a:lnTo>
                  <a:pt x="5637" y="4881"/>
                </a:lnTo>
                <a:lnTo>
                  <a:pt x="5589" y="4898"/>
                </a:lnTo>
                <a:lnTo>
                  <a:pt x="5541" y="4912"/>
                </a:lnTo>
                <a:lnTo>
                  <a:pt x="5491" y="4923"/>
                </a:lnTo>
                <a:lnTo>
                  <a:pt x="5440" y="4932"/>
                </a:lnTo>
                <a:lnTo>
                  <a:pt x="5388" y="4939"/>
                </a:lnTo>
                <a:lnTo>
                  <a:pt x="5336" y="4943"/>
                </a:lnTo>
                <a:lnTo>
                  <a:pt x="5283" y="4944"/>
                </a:lnTo>
                <a:lnTo>
                  <a:pt x="5229" y="4943"/>
                </a:lnTo>
                <a:lnTo>
                  <a:pt x="5177" y="4939"/>
                </a:lnTo>
                <a:lnTo>
                  <a:pt x="5126" y="4932"/>
                </a:lnTo>
                <a:lnTo>
                  <a:pt x="5075" y="4923"/>
                </a:lnTo>
                <a:lnTo>
                  <a:pt x="5025" y="4911"/>
                </a:lnTo>
                <a:lnTo>
                  <a:pt x="4976" y="4898"/>
                </a:lnTo>
                <a:lnTo>
                  <a:pt x="4928" y="4881"/>
                </a:lnTo>
                <a:lnTo>
                  <a:pt x="4881" y="4863"/>
                </a:lnTo>
                <a:lnTo>
                  <a:pt x="4835" y="4842"/>
                </a:lnTo>
                <a:lnTo>
                  <a:pt x="4791" y="4820"/>
                </a:lnTo>
                <a:lnTo>
                  <a:pt x="4747" y="4795"/>
                </a:lnTo>
                <a:lnTo>
                  <a:pt x="4705" y="4768"/>
                </a:lnTo>
                <a:lnTo>
                  <a:pt x="4665" y="4739"/>
                </a:lnTo>
                <a:lnTo>
                  <a:pt x="4626" y="4709"/>
                </a:lnTo>
                <a:lnTo>
                  <a:pt x="4589" y="4676"/>
                </a:lnTo>
                <a:lnTo>
                  <a:pt x="4553" y="4643"/>
                </a:lnTo>
                <a:lnTo>
                  <a:pt x="4518" y="4607"/>
                </a:lnTo>
                <a:lnTo>
                  <a:pt x="4486" y="4569"/>
                </a:lnTo>
                <a:lnTo>
                  <a:pt x="4455" y="4530"/>
                </a:lnTo>
                <a:lnTo>
                  <a:pt x="4426" y="4490"/>
                </a:lnTo>
                <a:lnTo>
                  <a:pt x="4400" y="4448"/>
                </a:lnTo>
                <a:lnTo>
                  <a:pt x="4374" y="4405"/>
                </a:lnTo>
                <a:lnTo>
                  <a:pt x="4352" y="4360"/>
                </a:lnTo>
                <a:lnTo>
                  <a:pt x="4331" y="4315"/>
                </a:lnTo>
                <a:lnTo>
                  <a:pt x="4313" y="4268"/>
                </a:lnTo>
                <a:lnTo>
                  <a:pt x="4297" y="4220"/>
                </a:lnTo>
                <a:lnTo>
                  <a:pt x="4282" y="4171"/>
                </a:lnTo>
                <a:lnTo>
                  <a:pt x="4271" y="4121"/>
                </a:lnTo>
                <a:lnTo>
                  <a:pt x="4262" y="4070"/>
                </a:lnTo>
                <a:lnTo>
                  <a:pt x="4255" y="4018"/>
                </a:lnTo>
                <a:lnTo>
                  <a:pt x="4251" y="3966"/>
                </a:lnTo>
                <a:lnTo>
                  <a:pt x="4250" y="3913"/>
                </a:lnTo>
                <a:lnTo>
                  <a:pt x="4250" y="3885"/>
                </a:lnTo>
                <a:lnTo>
                  <a:pt x="4252" y="3859"/>
                </a:lnTo>
                <a:lnTo>
                  <a:pt x="4254" y="3834"/>
                </a:lnTo>
                <a:lnTo>
                  <a:pt x="4256" y="3808"/>
                </a:lnTo>
                <a:lnTo>
                  <a:pt x="4260" y="3783"/>
                </a:lnTo>
                <a:lnTo>
                  <a:pt x="4264" y="3757"/>
                </a:lnTo>
                <a:lnTo>
                  <a:pt x="4268" y="3730"/>
                </a:lnTo>
                <a:lnTo>
                  <a:pt x="4274" y="3700"/>
                </a:lnTo>
                <a:lnTo>
                  <a:pt x="4039" y="3700"/>
                </a:lnTo>
                <a:lnTo>
                  <a:pt x="4029" y="3700"/>
                </a:lnTo>
                <a:lnTo>
                  <a:pt x="4020" y="3699"/>
                </a:lnTo>
                <a:lnTo>
                  <a:pt x="4009" y="3697"/>
                </a:lnTo>
                <a:lnTo>
                  <a:pt x="4000" y="3695"/>
                </a:lnTo>
                <a:lnTo>
                  <a:pt x="3991" y="3692"/>
                </a:lnTo>
                <a:lnTo>
                  <a:pt x="3982" y="3689"/>
                </a:lnTo>
                <a:lnTo>
                  <a:pt x="3973" y="3684"/>
                </a:lnTo>
                <a:lnTo>
                  <a:pt x="3963" y="3680"/>
                </a:lnTo>
                <a:lnTo>
                  <a:pt x="3955" y="3675"/>
                </a:lnTo>
                <a:lnTo>
                  <a:pt x="3947" y="3669"/>
                </a:lnTo>
                <a:lnTo>
                  <a:pt x="3939" y="3664"/>
                </a:lnTo>
                <a:lnTo>
                  <a:pt x="3932" y="3657"/>
                </a:lnTo>
                <a:lnTo>
                  <a:pt x="3918" y="3644"/>
                </a:lnTo>
                <a:lnTo>
                  <a:pt x="3904" y="3628"/>
                </a:lnTo>
                <a:lnTo>
                  <a:pt x="3892" y="3648"/>
                </a:lnTo>
                <a:lnTo>
                  <a:pt x="3881" y="3669"/>
                </a:lnTo>
                <a:lnTo>
                  <a:pt x="3872" y="3691"/>
                </a:lnTo>
                <a:lnTo>
                  <a:pt x="3863" y="3714"/>
                </a:lnTo>
                <a:lnTo>
                  <a:pt x="3855" y="3739"/>
                </a:lnTo>
                <a:lnTo>
                  <a:pt x="3849" y="3763"/>
                </a:lnTo>
                <a:lnTo>
                  <a:pt x="3844" y="3789"/>
                </a:lnTo>
                <a:lnTo>
                  <a:pt x="3840" y="3816"/>
                </a:lnTo>
                <a:lnTo>
                  <a:pt x="3837" y="3843"/>
                </a:lnTo>
                <a:lnTo>
                  <a:pt x="3834" y="3871"/>
                </a:lnTo>
                <a:lnTo>
                  <a:pt x="3833" y="3899"/>
                </a:lnTo>
                <a:lnTo>
                  <a:pt x="3832" y="3928"/>
                </a:lnTo>
                <a:lnTo>
                  <a:pt x="3832" y="3957"/>
                </a:lnTo>
                <a:lnTo>
                  <a:pt x="3833" y="3986"/>
                </a:lnTo>
                <a:lnTo>
                  <a:pt x="3834" y="4016"/>
                </a:lnTo>
                <a:lnTo>
                  <a:pt x="3836" y="4047"/>
                </a:lnTo>
                <a:lnTo>
                  <a:pt x="3842" y="4106"/>
                </a:lnTo>
                <a:lnTo>
                  <a:pt x="3850" y="4167"/>
                </a:lnTo>
                <a:lnTo>
                  <a:pt x="3859" y="4226"/>
                </a:lnTo>
                <a:lnTo>
                  <a:pt x="3871" y="4283"/>
                </a:lnTo>
                <a:lnTo>
                  <a:pt x="3882" y="4340"/>
                </a:lnTo>
                <a:lnTo>
                  <a:pt x="3894" y="4394"/>
                </a:lnTo>
                <a:lnTo>
                  <a:pt x="3907" y="4444"/>
                </a:lnTo>
                <a:lnTo>
                  <a:pt x="3920" y="4491"/>
                </a:lnTo>
                <a:lnTo>
                  <a:pt x="3927" y="4532"/>
                </a:lnTo>
                <a:lnTo>
                  <a:pt x="3935" y="4572"/>
                </a:lnTo>
                <a:lnTo>
                  <a:pt x="3944" y="4609"/>
                </a:lnTo>
                <a:lnTo>
                  <a:pt x="3954" y="4644"/>
                </a:lnTo>
                <a:lnTo>
                  <a:pt x="3966" y="4678"/>
                </a:lnTo>
                <a:lnTo>
                  <a:pt x="3978" y="4709"/>
                </a:lnTo>
                <a:lnTo>
                  <a:pt x="3990" y="4739"/>
                </a:lnTo>
                <a:lnTo>
                  <a:pt x="4003" y="4767"/>
                </a:lnTo>
                <a:lnTo>
                  <a:pt x="4017" y="4793"/>
                </a:lnTo>
                <a:lnTo>
                  <a:pt x="4031" y="4819"/>
                </a:lnTo>
                <a:lnTo>
                  <a:pt x="4046" y="4842"/>
                </a:lnTo>
                <a:lnTo>
                  <a:pt x="4062" y="4864"/>
                </a:lnTo>
                <a:lnTo>
                  <a:pt x="4076" y="4885"/>
                </a:lnTo>
                <a:lnTo>
                  <a:pt x="4092" y="4905"/>
                </a:lnTo>
                <a:lnTo>
                  <a:pt x="4108" y="4923"/>
                </a:lnTo>
                <a:lnTo>
                  <a:pt x="4123" y="4940"/>
                </a:lnTo>
                <a:lnTo>
                  <a:pt x="4144" y="5064"/>
                </a:lnTo>
                <a:lnTo>
                  <a:pt x="4171" y="5188"/>
                </a:lnTo>
                <a:lnTo>
                  <a:pt x="4203" y="5311"/>
                </a:lnTo>
                <a:lnTo>
                  <a:pt x="4238" y="5432"/>
                </a:lnTo>
                <a:lnTo>
                  <a:pt x="4279" y="5553"/>
                </a:lnTo>
                <a:lnTo>
                  <a:pt x="4325" y="5672"/>
                </a:lnTo>
                <a:lnTo>
                  <a:pt x="4374" y="5788"/>
                </a:lnTo>
                <a:lnTo>
                  <a:pt x="4427" y="5903"/>
                </a:lnTo>
                <a:lnTo>
                  <a:pt x="4486" y="6015"/>
                </a:lnTo>
                <a:lnTo>
                  <a:pt x="4546" y="6125"/>
                </a:lnTo>
                <a:lnTo>
                  <a:pt x="4610" y="6233"/>
                </a:lnTo>
                <a:lnTo>
                  <a:pt x="4679" y="6337"/>
                </a:lnTo>
                <a:lnTo>
                  <a:pt x="4749" y="6438"/>
                </a:lnTo>
                <a:lnTo>
                  <a:pt x="4824" y="6537"/>
                </a:lnTo>
                <a:lnTo>
                  <a:pt x="4900" y="6631"/>
                </a:lnTo>
                <a:lnTo>
                  <a:pt x="4979" y="6722"/>
                </a:lnTo>
                <a:lnTo>
                  <a:pt x="5061" y="6809"/>
                </a:lnTo>
                <a:lnTo>
                  <a:pt x="5145" y="6892"/>
                </a:lnTo>
                <a:lnTo>
                  <a:pt x="5230" y="6971"/>
                </a:lnTo>
                <a:lnTo>
                  <a:pt x="5318" y="7044"/>
                </a:lnTo>
                <a:lnTo>
                  <a:pt x="5408" y="7114"/>
                </a:lnTo>
                <a:lnTo>
                  <a:pt x="5498" y="7179"/>
                </a:lnTo>
                <a:lnTo>
                  <a:pt x="5591" y="7238"/>
                </a:lnTo>
                <a:lnTo>
                  <a:pt x="5684" y="7291"/>
                </a:lnTo>
                <a:lnTo>
                  <a:pt x="5778" y="7339"/>
                </a:lnTo>
                <a:lnTo>
                  <a:pt x="5873" y="7382"/>
                </a:lnTo>
                <a:lnTo>
                  <a:pt x="5968" y="7419"/>
                </a:lnTo>
                <a:lnTo>
                  <a:pt x="6064" y="7449"/>
                </a:lnTo>
                <a:lnTo>
                  <a:pt x="6160" y="7473"/>
                </a:lnTo>
                <a:lnTo>
                  <a:pt x="6255" y="7491"/>
                </a:lnTo>
                <a:lnTo>
                  <a:pt x="6351" y="7501"/>
                </a:lnTo>
                <a:lnTo>
                  <a:pt x="6446" y="7505"/>
                </a:lnTo>
                <a:close/>
                <a:moveTo>
                  <a:pt x="5283" y="4578"/>
                </a:moveTo>
                <a:lnTo>
                  <a:pt x="5317" y="4577"/>
                </a:lnTo>
                <a:lnTo>
                  <a:pt x="5351" y="4574"/>
                </a:lnTo>
                <a:lnTo>
                  <a:pt x="5385" y="4570"/>
                </a:lnTo>
                <a:lnTo>
                  <a:pt x="5419" y="4564"/>
                </a:lnTo>
                <a:lnTo>
                  <a:pt x="5450" y="4557"/>
                </a:lnTo>
                <a:lnTo>
                  <a:pt x="5482" y="4547"/>
                </a:lnTo>
                <a:lnTo>
                  <a:pt x="5514" y="4537"/>
                </a:lnTo>
                <a:lnTo>
                  <a:pt x="5544" y="4525"/>
                </a:lnTo>
                <a:lnTo>
                  <a:pt x="5574" y="4512"/>
                </a:lnTo>
                <a:lnTo>
                  <a:pt x="5602" y="4496"/>
                </a:lnTo>
                <a:lnTo>
                  <a:pt x="5631" y="4481"/>
                </a:lnTo>
                <a:lnTo>
                  <a:pt x="5658" y="4463"/>
                </a:lnTo>
                <a:lnTo>
                  <a:pt x="5684" y="4444"/>
                </a:lnTo>
                <a:lnTo>
                  <a:pt x="5710" y="4424"/>
                </a:lnTo>
                <a:lnTo>
                  <a:pt x="5734" y="4403"/>
                </a:lnTo>
                <a:lnTo>
                  <a:pt x="5758" y="4381"/>
                </a:lnTo>
                <a:lnTo>
                  <a:pt x="5779" y="4357"/>
                </a:lnTo>
                <a:lnTo>
                  <a:pt x="5801" y="4333"/>
                </a:lnTo>
                <a:lnTo>
                  <a:pt x="5821" y="4307"/>
                </a:lnTo>
                <a:lnTo>
                  <a:pt x="5839" y="4281"/>
                </a:lnTo>
                <a:lnTo>
                  <a:pt x="5857" y="4254"/>
                </a:lnTo>
                <a:lnTo>
                  <a:pt x="5873" y="4225"/>
                </a:lnTo>
                <a:lnTo>
                  <a:pt x="5889" y="4196"/>
                </a:lnTo>
                <a:lnTo>
                  <a:pt x="5902" y="4167"/>
                </a:lnTo>
                <a:lnTo>
                  <a:pt x="5914" y="4136"/>
                </a:lnTo>
                <a:lnTo>
                  <a:pt x="5924" y="4105"/>
                </a:lnTo>
                <a:lnTo>
                  <a:pt x="5933" y="4072"/>
                </a:lnTo>
                <a:lnTo>
                  <a:pt x="5941" y="4041"/>
                </a:lnTo>
                <a:lnTo>
                  <a:pt x="5947" y="4007"/>
                </a:lnTo>
                <a:lnTo>
                  <a:pt x="5951" y="3973"/>
                </a:lnTo>
                <a:lnTo>
                  <a:pt x="5954" y="3939"/>
                </a:lnTo>
                <a:lnTo>
                  <a:pt x="5954" y="3905"/>
                </a:lnTo>
                <a:lnTo>
                  <a:pt x="5954" y="3871"/>
                </a:lnTo>
                <a:lnTo>
                  <a:pt x="5951" y="3836"/>
                </a:lnTo>
                <a:lnTo>
                  <a:pt x="5947" y="3802"/>
                </a:lnTo>
                <a:lnTo>
                  <a:pt x="5941" y="3769"/>
                </a:lnTo>
                <a:lnTo>
                  <a:pt x="5933" y="3737"/>
                </a:lnTo>
                <a:lnTo>
                  <a:pt x="5924" y="3705"/>
                </a:lnTo>
                <a:lnTo>
                  <a:pt x="5914" y="3673"/>
                </a:lnTo>
                <a:lnTo>
                  <a:pt x="5902" y="3643"/>
                </a:lnTo>
                <a:lnTo>
                  <a:pt x="5889" y="3613"/>
                </a:lnTo>
                <a:lnTo>
                  <a:pt x="5873" y="3584"/>
                </a:lnTo>
                <a:lnTo>
                  <a:pt x="5857" y="3555"/>
                </a:lnTo>
                <a:lnTo>
                  <a:pt x="5839" y="3529"/>
                </a:lnTo>
                <a:lnTo>
                  <a:pt x="5821" y="3502"/>
                </a:lnTo>
                <a:lnTo>
                  <a:pt x="5801" y="3477"/>
                </a:lnTo>
                <a:lnTo>
                  <a:pt x="5779" y="3452"/>
                </a:lnTo>
                <a:lnTo>
                  <a:pt x="5758" y="3429"/>
                </a:lnTo>
                <a:lnTo>
                  <a:pt x="5734" y="3407"/>
                </a:lnTo>
                <a:lnTo>
                  <a:pt x="5710" y="3386"/>
                </a:lnTo>
                <a:lnTo>
                  <a:pt x="5684" y="3365"/>
                </a:lnTo>
                <a:lnTo>
                  <a:pt x="5658" y="3347"/>
                </a:lnTo>
                <a:lnTo>
                  <a:pt x="5631" y="3329"/>
                </a:lnTo>
                <a:lnTo>
                  <a:pt x="5602" y="3313"/>
                </a:lnTo>
                <a:lnTo>
                  <a:pt x="5574" y="3299"/>
                </a:lnTo>
                <a:lnTo>
                  <a:pt x="5544" y="3284"/>
                </a:lnTo>
                <a:lnTo>
                  <a:pt x="5514" y="3273"/>
                </a:lnTo>
                <a:lnTo>
                  <a:pt x="5482" y="3262"/>
                </a:lnTo>
                <a:lnTo>
                  <a:pt x="5450" y="3252"/>
                </a:lnTo>
                <a:lnTo>
                  <a:pt x="5419" y="3245"/>
                </a:lnTo>
                <a:lnTo>
                  <a:pt x="5385" y="3239"/>
                </a:lnTo>
                <a:lnTo>
                  <a:pt x="5351" y="3235"/>
                </a:lnTo>
                <a:lnTo>
                  <a:pt x="5317" y="3233"/>
                </a:lnTo>
                <a:lnTo>
                  <a:pt x="5283" y="3232"/>
                </a:lnTo>
                <a:lnTo>
                  <a:pt x="5249" y="3233"/>
                </a:lnTo>
                <a:lnTo>
                  <a:pt x="5214" y="3235"/>
                </a:lnTo>
                <a:lnTo>
                  <a:pt x="5180" y="3239"/>
                </a:lnTo>
                <a:lnTo>
                  <a:pt x="5148" y="3245"/>
                </a:lnTo>
                <a:lnTo>
                  <a:pt x="5115" y="3252"/>
                </a:lnTo>
                <a:lnTo>
                  <a:pt x="5083" y="3262"/>
                </a:lnTo>
                <a:lnTo>
                  <a:pt x="5052" y="3273"/>
                </a:lnTo>
                <a:lnTo>
                  <a:pt x="5021" y="3284"/>
                </a:lnTo>
                <a:lnTo>
                  <a:pt x="4991" y="3299"/>
                </a:lnTo>
                <a:lnTo>
                  <a:pt x="4963" y="3313"/>
                </a:lnTo>
                <a:lnTo>
                  <a:pt x="4934" y="3329"/>
                </a:lnTo>
                <a:lnTo>
                  <a:pt x="4908" y="3347"/>
                </a:lnTo>
                <a:lnTo>
                  <a:pt x="4881" y="3365"/>
                </a:lnTo>
                <a:lnTo>
                  <a:pt x="4856" y="3386"/>
                </a:lnTo>
                <a:lnTo>
                  <a:pt x="4831" y="3407"/>
                </a:lnTo>
                <a:lnTo>
                  <a:pt x="4807" y="3429"/>
                </a:lnTo>
                <a:lnTo>
                  <a:pt x="4785" y="3452"/>
                </a:lnTo>
                <a:lnTo>
                  <a:pt x="4765" y="3477"/>
                </a:lnTo>
                <a:lnTo>
                  <a:pt x="4744" y="3502"/>
                </a:lnTo>
                <a:lnTo>
                  <a:pt x="4726" y="3529"/>
                </a:lnTo>
                <a:lnTo>
                  <a:pt x="4708" y="3555"/>
                </a:lnTo>
                <a:lnTo>
                  <a:pt x="4692" y="3584"/>
                </a:lnTo>
                <a:lnTo>
                  <a:pt x="4677" y="3613"/>
                </a:lnTo>
                <a:lnTo>
                  <a:pt x="4663" y="3643"/>
                </a:lnTo>
                <a:lnTo>
                  <a:pt x="4651" y="3673"/>
                </a:lnTo>
                <a:lnTo>
                  <a:pt x="4641" y="3705"/>
                </a:lnTo>
                <a:lnTo>
                  <a:pt x="4632" y="3737"/>
                </a:lnTo>
                <a:lnTo>
                  <a:pt x="4625" y="3769"/>
                </a:lnTo>
                <a:lnTo>
                  <a:pt x="4618" y="3802"/>
                </a:lnTo>
                <a:lnTo>
                  <a:pt x="4614" y="3836"/>
                </a:lnTo>
                <a:lnTo>
                  <a:pt x="4611" y="3871"/>
                </a:lnTo>
                <a:lnTo>
                  <a:pt x="4610" y="3905"/>
                </a:lnTo>
                <a:lnTo>
                  <a:pt x="4611" y="3939"/>
                </a:lnTo>
                <a:lnTo>
                  <a:pt x="4614" y="3973"/>
                </a:lnTo>
                <a:lnTo>
                  <a:pt x="4618" y="4007"/>
                </a:lnTo>
                <a:lnTo>
                  <a:pt x="4625" y="4041"/>
                </a:lnTo>
                <a:lnTo>
                  <a:pt x="4632" y="4072"/>
                </a:lnTo>
                <a:lnTo>
                  <a:pt x="4641" y="4105"/>
                </a:lnTo>
                <a:lnTo>
                  <a:pt x="4651" y="4136"/>
                </a:lnTo>
                <a:lnTo>
                  <a:pt x="4663" y="4167"/>
                </a:lnTo>
                <a:lnTo>
                  <a:pt x="4677" y="4196"/>
                </a:lnTo>
                <a:lnTo>
                  <a:pt x="4692" y="4225"/>
                </a:lnTo>
                <a:lnTo>
                  <a:pt x="4708" y="4254"/>
                </a:lnTo>
                <a:lnTo>
                  <a:pt x="4726" y="4281"/>
                </a:lnTo>
                <a:lnTo>
                  <a:pt x="4744" y="4307"/>
                </a:lnTo>
                <a:lnTo>
                  <a:pt x="4765" y="4333"/>
                </a:lnTo>
                <a:lnTo>
                  <a:pt x="4785" y="4357"/>
                </a:lnTo>
                <a:lnTo>
                  <a:pt x="4807" y="4381"/>
                </a:lnTo>
                <a:lnTo>
                  <a:pt x="4831" y="4403"/>
                </a:lnTo>
                <a:lnTo>
                  <a:pt x="4856" y="4424"/>
                </a:lnTo>
                <a:lnTo>
                  <a:pt x="4881" y="4444"/>
                </a:lnTo>
                <a:lnTo>
                  <a:pt x="4908" y="4463"/>
                </a:lnTo>
                <a:lnTo>
                  <a:pt x="4934" y="4481"/>
                </a:lnTo>
                <a:lnTo>
                  <a:pt x="4963" y="4496"/>
                </a:lnTo>
                <a:lnTo>
                  <a:pt x="4991" y="4512"/>
                </a:lnTo>
                <a:lnTo>
                  <a:pt x="5021" y="4525"/>
                </a:lnTo>
                <a:lnTo>
                  <a:pt x="5052" y="4537"/>
                </a:lnTo>
                <a:lnTo>
                  <a:pt x="5083" y="4547"/>
                </a:lnTo>
                <a:lnTo>
                  <a:pt x="5115" y="4557"/>
                </a:lnTo>
                <a:lnTo>
                  <a:pt x="5148" y="4564"/>
                </a:lnTo>
                <a:lnTo>
                  <a:pt x="5180" y="4570"/>
                </a:lnTo>
                <a:lnTo>
                  <a:pt x="5214" y="4574"/>
                </a:lnTo>
                <a:lnTo>
                  <a:pt x="5249" y="4577"/>
                </a:lnTo>
                <a:lnTo>
                  <a:pt x="5283" y="4578"/>
                </a:lnTo>
                <a:close/>
                <a:moveTo>
                  <a:pt x="7168" y="3905"/>
                </a:moveTo>
                <a:lnTo>
                  <a:pt x="7169" y="3939"/>
                </a:lnTo>
                <a:lnTo>
                  <a:pt x="7172" y="3973"/>
                </a:lnTo>
                <a:lnTo>
                  <a:pt x="7176" y="4007"/>
                </a:lnTo>
                <a:lnTo>
                  <a:pt x="7182" y="4041"/>
                </a:lnTo>
                <a:lnTo>
                  <a:pt x="7189" y="4072"/>
                </a:lnTo>
                <a:lnTo>
                  <a:pt x="7198" y="4105"/>
                </a:lnTo>
                <a:lnTo>
                  <a:pt x="7209" y="4136"/>
                </a:lnTo>
                <a:lnTo>
                  <a:pt x="7221" y="4167"/>
                </a:lnTo>
                <a:lnTo>
                  <a:pt x="7234" y="4196"/>
                </a:lnTo>
                <a:lnTo>
                  <a:pt x="7250" y="4225"/>
                </a:lnTo>
                <a:lnTo>
                  <a:pt x="7266" y="4254"/>
                </a:lnTo>
                <a:lnTo>
                  <a:pt x="7283" y="4281"/>
                </a:lnTo>
                <a:lnTo>
                  <a:pt x="7302" y="4307"/>
                </a:lnTo>
                <a:lnTo>
                  <a:pt x="7321" y="4333"/>
                </a:lnTo>
                <a:lnTo>
                  <a:pt x="7343" y="4357"/>
                </a:lnTo>
                <a:lnTo>
                  <a:pt x="7365" y="4381"/>
                </a:lnTo>
                <a:lnTo>
                  <a:pt x="7389" y="4403"/>
                </a:lnTo>
                <a:lnTo>
                  <a:pt x="7413" y="4424"/>
                </a:lnTo>
                <a:lnTo>
                  <a:pt x="7438" y="4444"/>
                </a:lnTo>
                <a:lnTo>
                  <a:pt x="7464" y="4463"/>
                </a:lnTo>
                <a:lnTo>
                  <a:pt x="7492" y="4481"/>
                </a:lnTo>
                <a:lnTo>
                  <a:pt x="7519" y="4496"/>
                </a:lnTo>
                <a:lnTo>
                  <a:pt x="7549" y="4512"/>
                </a:lnTo>
                <a:lnTo>
                  <a:pt x="7579" y="4525"/>
                </a:lnTo>
                <a:lnTo>
                  <a:pt x="7609" y="4537"/>
                </a:lnTo>
                <a:lnTo>
                  <a:pt x="7640" y="4547"/>
                </a:lnTo>
                <a:lnTo>
                  <a:pt x="7672" y="4557"/>
                </a:lnTo>
                <a:lnTo>
                  <a:pt x="7704" y="4564"/>
                </a:lnTo>
                <a:lnTo>
                  <a:pt x="7737" y="4570"/>
                </a:lnTo>
                <a:lnTo>
                  <a:pt x="7771" y="4574"/>
                </a:lnTo>
                <a:lnTo>
                  <a:pt x="7805" y="4577"/>
                </a:lnTo>
                <a:lnTo>
                  <a:pt x="7839" y="4578"/>
                </a:lnTo>
                <a:lnTo>
                  <a:pt x="7874" y="4577"/>
                </a:lnTo>
                <a:lnTo>
                  <a:pt x="7909" y="4574"/>
                </a:lnTo>
                <a:lnTo>
                  <a:pt x="7941" y="4570"/>
                </a:lnTo>
                <a:lnTo>
                  <a:pt x="7975" y="4564"/>
                </a:lnTo>
                <a:lnTo>
                  <a:pt x="8008" y="4557"/>
                </a:lnTo>
                <a:lnTo>
                  <a:pt x="8039" y="4547"/>
                </a:lnTo>
                <a:lnTo>
                  <a:pt x="8070" y="4537"/>
                </a:lnTo>
                <a:lnTo>
                  <a:pt x="8101" y="4525"/>
                </a:lnTo>
                <a:lnTo>
                  <a:pt x="8130" y="4512"/>
                </a:lnTo>
                <a:lnTo>
                  <a:pt x="8160" y="4496"/>
                </a:lnTo>
                <a:lnTo>
                  <a:pt x="8188" y="4481"/>
                </a:lnTo>
                <a:lnTo>
                  <a:pt x="8215" y="4463"/>
                </a:lnTo>
                <a:lnTo>
                  <a:pt x="8242" y="4444"/>
                </a:lnTo>
                <a:lnTo>
                  <a:pt x="8267" y="4424"/>
                </a:lnTo>
                <a:lnTo>
                  <a:pt x="8292" y="4403"/>
                </a:lnTo>
                <a:lnTo>
                  <a:pt x="8314" y="4381"/>
                </a:lnTo>
                <a:lnTo>
                  <a:pt x="8337" y="4357"/>
                </a:lnTo>
                <a:lnTo>
                  <a:pt x="8358" y="4333"/>
                </a:lnTo>
                <a:lnTo>
                  <a:pt x="8378" y="4307"/>
                </a:lnTo>
                <a:lnTo>
                  <a:pt x="8397" y="4281"/>
                </a:lnTo>
                <a:lnTo>
                  <a:pt x="8414" y="4254"/>
                </a:lnTo>
                <a:lnTo>
                  <a:pt x="8431" y="4225"/>
                </a:lnTo>
                <a:lnTo>
                  <a:pt x="8445" y="4196"/>
                </a:lnTo>
                <a:lnTo>
                  <a:pt x="8459" y="4167"/>
                </a:lnTo>
                <a:lnTo>
                  <a:pt x="8471" y="4136"/>
                </a:lnTo>
                <a:lnTo>
                  <a:pt x="8482" y="4105"/>
                </a:lnTo>
                <a:lnTo>
                  <a:pt x="8491" y="4072"/>
                </a:lnTo>
                <a:lnTo>
                  <a:pt x="8498" y="4041"/>
                </a:lnTo>
                <a:lnTo>
                  <a:pt x="8504" y="4007"/>
                </a:lnTo>
                <a:lnTo>
                  <a:pt x="8508" y="3973"/>
                </a:lnTo>
                <a:lnTo>
                  <a:pt x="8510" y="3939"/>
                </a:lnTo>
                <a:lnTo>
                  <a:pt x="8511" y="3905"/>
                </a:lnTo>
                <a:lnTo>
                  <a:pt x="8510" y="3871"/>
                </a:lnTo>
                <a:lnTo>
                  <a:pt x="8508" y="3836"/>
                </a:lnTo>
                <a:lnTo>
                  <a:pt x="8504" y="3802"/>
                </a:lnTo>
                <a:lnTo>
                  <a:pt x="8498" y="3769"/>
                </a:lnTo>
                <a:lnTo>
                  <a:pt x="8491" y="3737"/>
                </a:lnTo>
                <a:lnTo>
                  <a:pt x="8482" y="3705"/>
                </a:lnTo>
                <a:lnTo>
                  <a:pt x="8471" y="3673"/>
                </a:lnTo>
                <a:lnTo>
                  <a:pt x="8459" y="3643"/>
                </a:lnTo>
                <a:lnTo>
                  <a:pt x="8445" y="3613"/>
                </a:lnTo>
                <a:lnTo>
                  <a:pt x="8431" y="3584"/>
                </a:lnTo>
                <a:lnTo>
                  <a:pt x="8414" y="3555"/>
                </a:lnTo>
                <a:lnTo>
                  <a:pt x="8397" y="3529"/>
                </a:lnTo>
                <a:lnTo>
                  <a:pt x="8378" y="3502"/>
                </a:lnTo>
                <a:lnTo>
                  <a:pt x="8358" y="3477"/>
                </a:lnTo>
                <a:lnTo>
                  <a:pt x="8337" y="3452"/>
                </a:lnTo>
                <a:lnTo>
                  <a:pt x="8314" y="3429"/>
                </a:lnTo>
                <a:lnTo>
                  <a:pt x="8292" y="3407"/>
                </a:lnTo>
                <a:lnTo>
                  <a:pt x="8267" y="3386"/>
                </a:lnTo>
                <a:lnTo>
                  <a:pt x="8242" y="3365"/>
                </a:lnTo>
                <a:lnTo>
                  <a:pt x="8215" y="3347"/>
                </a:lnTo>
                <a:lnTo>
                  <a:pt x="8188" y="3329"/>
                </a:lnTo>
                <a:lnTo>
                  <a:pt x="8160" y="3313"/>
                </a:lnTo>
                <a:lnTo>
                  <a:pt x="8130" y="3299"/>
                </a:lnTo>
                <a:lnTo>
                  <a:pt x="8101" y="3284"/>
                </a:lnTo>
                <a:lnTo>
                  <a:pt x="8070" y="3273"/>
                </a:lnTo>
                <a:lnTo>
                  <a:pt x="8039" y="3262"/>
                </a:lnTo>
                <a:lnTo>
                  <a:pt x="8008" y="3252"/>
                </a:lnTo>
                <a:lnTo>
                  <a:pt x="7975" y="3245"/>
                </a:lnTo>
                <a:lnTo>
                  <a:pt x="7941" y="3239"/>
                </a:lnTo>
                <a:lnTo>
                  <a:pt x="7909" y="3235"/>
                </a:lnTo>
                <a:lnTo>
                  <a:pt x="7874" y="3233"/>
                </a:lnTo>
                <a:lnTo>
                  <a:pt x="7839" y="3232"/>
                </a:lnTo>
                <a:lnTo>
                  <a:pt x="7805" y="3233"/>
                </a:lnTo>
                <a:lnTo>
                  <a:pt x="7771" y="3235"/>
                </a:lnTo>
                <a:lnTo>
                  <a:pt x="7737" y="3239"/>
                </a:lnTo>
                <a:lnTo>
                  <a:pt x="7704" y="3245"/>
                </a:lnTo>
                <a:lnTo>
                  <a:pt x="7672" y="3252"/>
                </a:lnTo>
                <a:lnTo>
                  <a:pt x="7640" y="3262"/>
                </a:lnTo>
                <a:lnTo>
                  <a:pt x="7609" y="3273"/>
                </a:lnTo>
                <a:lnTo>
                  <a:pt x="7579" y="3284"/>
                </a:lnTo>
                <a:lnTo>
                  <a:pt x="7549" y="3299"/>
                </a:lnTo>
                <a:lnTo>
                  <a:pt x="7519" y="3313"/>
                </a:lnTo>
                <a:lnTo>
                  <a:pt x="7492" y="3329"/>
                </a:lnTo>
                <a:lnTo>
                  <a:pt x="7464" y="3347"/>
                </a:lnTo>
                <a:lnTo>
                  <a:pt x="7438" y="3365"/>
                </a:lnTo>
                <a:lnTo>
                  <a:pt x="7413" y="3386"/>
                </a:lnTo>
                <a:lnTo>
                  <a:pt x="7389" y="3407"/>
                </a:lnTo>
                <a:lnTo>
                  <a:pt x="7365" y="3429"/>
                </a:lnTo>
                <a:lnTo>
                  <a:pt x="7343" y="3452"/>
                </a:lnTo>
                <a:lnTo>
                  <a:pt x="7321" y="3477"/>
                </a:lnTo>
                <a:lnTo>
                  <a:pt x="7302" y="3502"/>
                </a:lnTo>
                <a:lnTo>
                  <a:pt x="7283" y="3529"/>
                </a:lnTo>
                <a:lnTo>
                  <a:pt x="7266" y="3555"/>
                </a:lnTo>
                <a:lnTo>
                  <a:pt x="7250" y="3584"/>
                </a:lnTo>
                <a:lnTo>
                  <a:pt x="7234" y="3613"/>
                </a:lnTo>
                <a:lnTo>
                  <a:pt x="7221" y="3643"/>
                </a:lnTo>
                <a:lnTo>
                  <a:pt x="7209" y="3673"/>
                </a:lnTo>
                <a:lnTo>
                  <a:pt x="7198" y="3705"/>
                </a:lnTo>
                <a:lnTo>
                  <a:pt x="7189" y="3737"/>
                </a:lnTo>
                <a:lnTo>
                  <a:pt x="7182" y="3769"/>
                </a:lnTo>
                <a:lnTo>
                  <a:pt x="7176" y="3802"/>
                </a:lnTo>
                <a:lnTo>
                  <a:pt x="7172" y="3836"/>
                </a:lnTo>
                <a:lnTo>
                  <a:pt x="7169" y="3871"/>
                </a:lnTo>
                <a:lnTo>
                  <a:pt x="7168" y="3905"/>
                </a:lnTo>
                <a:close/>
                <a:moveTo>
                  <a:pt x="10211" y="10739"/>
                </a:moveTo>
                <a:lnTo>
                  <a:pt x="10211" y="10739"/>
                </a:lnTo>
                <a:lnTo>
                  <a:pt x="10211" y="10739"/>
                </a:lnTo>
                <a:close/>
                <a:moveTo>
                  <a:pt x="3398" y="8049"/>
                </a:moveTo>
                <a:lnTo>
                  <a:pt x="2083" y="8557"/>
                </a:lnTo>
                <a:lnTo>
                  <a:pt x="2040" y="8568"/>
                </a:lnTo>
                <a:lnTo>
                  <a:pt x="1998" y="8581"/>
                </a:lnTo>
                <a:lnTo>
                  <a:pt x="1955" y="8596"/>
                </a:lnTo>
                <a:lnTo>
                  <a:pt x="1912" y="8614"/>
                </a:lnTo>
                <a:lnTo>
                  <a:pt x="1870" y="8633"/>
                </a:lnTo>
                <a:lnTo>
                  <a:pt x="1827" y="8654"/>
                </a:lnTo>
                <a:lnTo>
                  <a:pt x="1785" y="8675"/>
                </a:lnTo>
                <a:lnTo>
                  <a:pt x="1743" y="8699"/>
                </a:lnTo>
                <a:lnTo>
                  <a:pt x="1702" y="8722"/>
                </a:lnTo>
                <a:lnTo>
                  <a:pt x="1662" y="8748"/>
                </a:lnTo>
                <a:lnTo>
                  <a:pt x="1623" y="8774"/>
                </a:lnTo>
                <a:lnTo>
                  <a:pt x="1584" y="8800"/>
                </a:lnTo>
                <a:lnTo>
                  <a:pt x="1546" y="8827"/>
                </a:lnTo>
                <a:lnTo>
                  <a:pt x="1509" y="8854"/>
                </a:lnTo>
                <a:lnTo>
                  <a:pt x="1473" y="8881"/>
                </a:lnTo>
                <a:lnTo>
                  <a:pt x="1439" y="8909"/>
                </a:lnTo>
                <a:lnTo>
                  <a:pt x="1405" y="8935"/>
                </a:lnTo>
                <a:lnTo>
                  <a:pt x="1373" y="8962"/>
                </a:lnTo>
                <a:lnTo>
                  <a:pt x="1343" y="8989"/>
                </a:lnTo>
                <a:lnTo>
                  <a:pt x="1313" y="9013"/>
                </a:lnTo>
                <a:lnTo>
                  <a:pt x="1260" y="9061"/>
                </a:lnTo>
                <a:lnTo>
                  <a:pt x="1214" y="9105"/>
                </a:lnTo>
                <a:lnTo>
                  <a:pt x="1176" y="9142"/>
                </a:lnTo>
                <a:lnTo>
                  <a:pt x="1146" y="9173"/>
                </a:lnTo>
                <a:lnTo>
                  <a:pt x="1127" y="9194"/>
                </a:lnTo>
                <a:lnTo>
                  <a:pt x="1117" y="9206"/>
                </a:lnTo>
                <a:lnTo>
                  <a:pt x="1038" y="9329"/>
                </a:lnTo>
                <a:lnTo>
                  <a:pt x="963" y="9460"/>
                </a:lnTo>
                <a:lnTo>
                  <a:pt x="891" y="9599"/>
                </a:lnTo>
                <a:lnTo>
                  <a:pt x="824" y="9742"/>
                </a:lnTo>
                <a:lnTo>
                  <a:pt x="759" y="9891"/>
                </a:lnTo>
                <a:lnTo>
                  <a:pt x="698" y="10046"/>
                </a:lnTo>
                <a:lnTo>
                  <a:pt x="641" y="10205"/>
                </a:lnTo>
                <a:lnTo>
                  <a:pt x="585" y="10368"/>
                </a:lnTo>
                <a:lnTo>
                  <a:pt x="534" y="10532"/>
                </a:lnTo>
                <a:lnTo>
                  <a:pt x="486" y="10700"/>
                </a:lnTo>
                <a:lnTo>
                  <a:pt x="440" y="10870"/>
                </a:lnTo>
                <a:lnTo>
                  <a:pt x="398" y="11042"/>
                </a:lnTo>
                <a:lnTo>
                  <a:pt x="359" y="11214"/>
                </a:lnTo>
                <a:lnTo>
                  <a:pt x="322" y="11386"/>
                </a:lnTo>
                <a:lnTo>
                  <a:pt x="287" y="11558"/>
                </a:lnTo>
                <a:lnTo>
                  <a:pt x="255" y="11728"/>
                </a:lnTo>
                <a:lnTo>
                  <a:pt x="226" y="11897"/>
                </a:lnTo>
                <a:lnTo>
                  <a:pt x="198" y="12064"/>
                </a:lnTo>
                <a:lnTo>
                  <a:pt x="173" y="12228"/>
                </a:lnTo>
                <a:lnTo>
                  <a:pt x="150" y="12388"/>
                </a:lnTo>
                <a:lnTo>
                  <a:pt x="130" y="12545"/>
                </a:lnTo>
                <a:lnTo>
                  <a:pt x="110" y="12697"/>
                </a:lnTo>
                <a:lnTo>
                  <a:pt x="93" y="12843"/>
                </a:lnTo>
                <a:lnTo>
                  <a:pt x="78" y="12984"/>
                </a:lnTo>
                <a:lnTo>
                  <a:pt x="64" y="13118"/>
                </a:lnTo>
                <a:lnTo>
                  <a:pt x="52" y="13245"/>
                </a:lnTo>
                <a:lnTo>
                  <a:pt x="42" y="13365"/>
                </a:lnTo>
                <a:lnTo>
                  <a:pt x="33" y="13476"/>
                </a:lnTo>
                <a:lnTo>
                  <a:pt x="18" y="13672"/>
                </a:lnTo>
                <a:lnTo>
                  <a:pt x="9" y="13827"/>
                </a:lnTo>
                <a:lnTo>
                  <a:pt x="5" y="13897"/>
                </a:lnTo>
                <a:lnTo>
                  <a:pt x="0" y="14007"/>
                </a:lnTo>
                <a:lnTo>
                  <a:pt x="1" y="14076"/>
                </a:lnTo>
                <a:lnTo>
                  <a:pt x="4" y="14141"/>
                </a:lnTo>
                <a:lnTo>
                  <a:pt x="8" y="14202"/>
                </a:lnTo>
                <a:lnTo>
                  <a:pt x="14" y="14260"/>
                </a:lnTo>
                <a:lnTo>
                  <a:pt x="22" y="14314"/>
                </a:lnTo>
                <a:lnTo>
                  <a:pt x="31" y="14365"/>
                </a:lnTo>
                <a:lnTo>
                  <a:pt x="41" y="14412"/>
                </a:lnTo>
                <a:lnTo>
                  <a:pt x="52" y="14456"/>
                </a:lnTo>
                <a:lnTo>
                  <a:pt x="64" y="14498"/>
                </a:lnTo>
                <a:lnTo>
                  <a:pt x="78" y="14536"/>
                </a:lnTo>
                <a:lnTo>
                  <a:pt x="92" y="14571"/>
                </a:lnTo>
                <a:lnTo>
                  <a:pt x="106" y="14604"/>
                </a:lnTo>
                <a:lnTo>
                  <a:pt x="122" y="14635"/>
                </a:lnTo>
                <a:lnTo>
                  <a:pt x="137" y="14661"/>
                </a:lnTo>
                <a:lnTo>
                  <a:pt x="152" y="14687"/>
                </a:lnTo>
                <a:lnTo>
                  <a:pt x="168" y="14709"/>
                </a:lnTo>
                <a:lnTo>
                  <a:pt x="184" y="14730"/>
                </a:lnTo>
                <a:lnTo>
                  <a:pt x="199" y="14747"/>
                </a:lnTo>
                <a:lnTo>
                  <a:pt x="215" y="14763"/>
                </a:lnTo>
                <a:lnTo>
                  <a:pt x="229" y="14778"/>
                </a:lnTo>
                <a:lnTo>
                  <a:pt x="244" y="14791"/>
                </a:lnTo>
                <a:lnTo>
                  <a:pt x="257" y="14801"/>
                </a:lnTo>
                <a:lnTo>
                  <a:pt x="271" y="14812"/>
                </a:lnTo>
                <a:lnTo>
                  <a:pt x="283" y="14819"/>
                </a:lnTo>
                <a:lnTo>
                  <a:pt x="304" y="14831"/>
                </a:lnTo>
                <a:lnTo>
                  <a:pt x="321" y="14838"/>
                </a:lnTo>
                <a:lnTo>
                  <a:pt x="332" y="14842"/>
                </a:lnTo>
                <a:lnTo>
                  <a:pt x="335" y="14843"/>
                </a:lnTo>
                <a:lnTo>
                  <a:pt x="589" y="14953"/>
                </a:lnTo>
                <a:lnTo>
                  <a:pt x="847" y="15056"/>
                </a:lnTo>
                <a:lnTo>
                  <a:pt x="1111" y="15155"/>
                </a:lnTo>
                <a:lnTo>
                  <a:pt x="1378" y="15248"/>
                </a:lnTo>
                <a:lnTo>
                  <a:pt x="1651" y="15337"/>
                </a:lnTo>
                <a:lnTo>
                  <a:pt x="1928" y="15420"/>
                </a:lnTo>
                <a:lnTo>
                  <a:pt x="2209" y="15498"/>
                </a:lnTo>
                <a:lnTo>
                  <a:pt x="2493" y="15569"/>
                </a:lnTo>
                <a:lnTo>
                  <a:pt x="2781" y="15637"/>
                </a:lnTo>
                <a:lnTo>
                  <a:pt x="3072" y="15699"/>
                </a:lnTo>
                <a:lnTo>
                  <a:pt x="3367" y="15756"/>
                </a:lnTo>
                <a:lnTo>
                  <a:pt x="3664" y="15808"/>
                </a:lnTo>
                <a:lnTo>
                  <a:pt x="3963" y="15854"/>
                </a:lnTo>
                <a:lnTo>
                  <a:pt x="4265" y="15896"/>
                </a:lnTo>
                <a:lnTo>
                  <a:pt x="4568" y="15932"/>
                </a:lnTo>
                <a:lnTo>
                  <a:pt x="4873" y="15962"/>
                </a:lnTo>
                <a:lnTo>
                  <a:pt x="5179" y="15988"/>
                </a:lnTo>
                <a:lnTo>
                  <a:pt x="5487" y="16008"/>
                </a:lnTo>
                <a:lnTo>
                  <a:pt x="5796" y="16024"/>
                </a:lnTo>
                <a:lnTo>
                  <a:pt x="6105" y="16033"/>
                </a:lnTo>
                <a:lnTo>
                  <a:pt x="6414" y="16038"/>
                </a:lnTo>
                <a:lnTo>
                  <a:pt x="6723" y="16037"/>
                </a:lnTo>
                <a:lnTo>
                  <a:pt x="7033" y="16032"/>
                </a:lnTo>
                <a:lnTo>
                  <a:pt x="7343" y="16021"/>
                </a:lnTo>
                <a:lnTo>
                  <a:pt x="7650" y="16004"/>
                </a:lnTo>
                <a:lnTo>
                  <a:pt x="7958" y="15983"/>
                </a:lnTo>
                <a:lnTo>
                  <a:pt x="8264" y="15956"/>
                </a:lnTo>
                <a:lnTo>
                  <a:pt x="8569" y="15924"/>
                </a:lnTo>
                <a:lnTo>
                  <a:pt x="8871" y="15888"/>
                </a:lnTo>
                <a:lnTo>
                  <a:pt x="9173" y="15846"/>
                </a:lnTo>
                <a:lnTo>
                  <a:pt x="9471" y="15797"/>
                </a:lnTo>
                <a:lnTo>
                  <a:pt x="9768" y="15745"/>
                </a:lnTo>
                <a:lnTo>
                  <a:pt x="9668" y="15612"/>
                </a:lnTo>
                <a:lnTo>
                  <a:pt x="9575" y="15475"/>
                </a:lnTo>
                <a:lnTo>
                  <a:pt x="9489" y="15334"/>
                </a:lnTo>
                <a:lnTo>
                  <a:pt x="9410" y="15188"/>
                </a:lnTo>
                <a:lnTo>
                  <a:pt x="9336" y="15040"/>
                </a:lnTo>
                <a:lnTo>
                  <a:pt x="9271" y="14888"/>
                </a:lnTo>
                <a:lnTo>
                  <a:pt x="9211" y="14734"/>
                </a:lnTo>
                <a:lnTo>
                  <a:pt x="9159" y="14577"/>
                </a:lnTo>
                <a:lnTo>
                  <a:pt x="9115" y="14417"/>
                </a:lnTo>
                <a:lnTo>
                  <a:pt x="9078" y="14257"/>
                </a:lnTo>
                <a:lnTo>
                  <a:pt x="9048" y="14094"/>
                </a:lnTo>
                <a:lnTo>
                  <a:pt x="9025" y="13930"/>
                </a:lnTo>
                <a:lnTo>
                  <a:pt x="9011" y="13764"/>
                </a:lnTo>
                <a:lnTo>
                  <a:pt x="9004" y="13598"/>
                </a:lnTo>
                <a:lnTo>
                  <a:pt x="9005" y="13433"/>
                </a:lnTo>
                <a:lnTo>
                  <a:pt x="9014" y="13267"/>
                </a:lnTo>
                <a:lnTo>
                  <a:pt x="9032" y="13101"/>
                </a:lnTo>
                <a:lnTo>
                  <a:pt x="9057" y="12935"/>
                </a:lnTo>
                <a:lnTo>
                  <a:pt x="9091" y="12771"/>
                </a:lnTo>
                <a:lnTo>
                  <a:pt x="9133" y="12607"/>
                </a:lnTo>
                <a:lnTo>
                  <a:pt x="9183" y="12446"/>
                </a:lnTo>
                <a:lnTo>
                  <a:pt x="9243" y="12286"/>
                </a:lnTo>
                <a:lnTo>
                  <a:pt x="9310" y="12127"/>
                </a:lnTo>
                <a:lnTo>
                  <a:pt x="9387" y="11972"/>
                </a:lnTo>
                <a:lnTo>
                  <a:pt x="9473" y="11819"/>
                </a:lnTo>
                <a:lnTo>
                  <a:pt x="9569" y="11670"/>
                </a:lnTo>
                <a:lnTo>
                  <a:pt x="9672" y="11523"/>
                </a:lnTo>
                <a:lnTo>
                  <a:pt x="9787" y="11381"/>
                </a:lnTo>
                <a:lnTo>
                  <a:pt x="9909" y="11242"/>
                </a:lnTo>
                <a:lnTo>
                  <a:pt x="10041" y="11108"/>
                </a:lnTo>
                <a:lnTo>
                  <a:pt x="10184" y="10978"/>
                </a:lnTo>
                <a:lnTo>
                  <a:pt x="10335" y="10853"/>
                </a:lnTo>
                <a:lnTo>
                  <a:pt x="10211" y="10739"/>
                </a:lnTo>
                <a:lnTo>
                  <a:pt x="10161" y="10686"/>
                </a:lnTo>
                <a:lnTo>
                  <a:pt x="10114" y="10628"/>
                </a:lnTo>
                <a:lnTo>
                  <a:pt x="10070" y="10566"/>
                </a:lnTo>
                <a:lnTo>
                  <a:pt x="10030" y="10501"/>
                </a:lnTo>
                <a:lnTo>
                  <a:pt x="9992" y="10432"/>
                </a:lnTo>
                <a:lnTo>
                  <a:pt x="9957" y="10359"/>
                </a:lnTo>
                <a:lnTo>
                  <a:pt x="9927" y="10285"/>
                </a:lnTo>
                <a:lnTo>
                  <a:pt x="9899" y="10207"/>
                </a:lnTo>
                <a:lnTo>
                  <a:pt x="9874" y="10127"/>
                </a:lnTo>
                <a:lnTo>
                  <a:pt x="9853" y="10045"/>
                </a:lnTo>
                <a:lnTo>
                  <a:pt x="9836" y="9961"/>
                </a:lnTo>
                <a:lnTo>
                  <a:pt x="9821" y="9876"/>
                </a:lnTo>
                <a:lnTo>
                  <a:pt x="9810" y="9790"/>
                </a:lnTo>
                <a:lnTo>
                  <a:pt x="9803" y="9703"/>
                </a:lnTo>
                <a:lnTo>
                  <a:pt x="9800" y="9615"/>
                </a:lnTo>
                <a:lnTo>
                  <a:pt x="9800" y="9527"/>
                </a:lnTo>
                <a:lnTo>
                  <a:pt x="9803" y="9438"/>
                </a:lnTo>
                <a:lnTo>
                  <a:pt x="9811" y="9350"/>
                </a:lnTo>
                <a:lnTo>
                  <a:pt x="9822" y="9263"/>
                </a:lnTo>
                <a:lnTo>
                  <a:pt x="9837" y="9176"/>
                </a:lnTo>
                <a:lnTo>
                  <a:pt x="9856" y="9090"/>
                </a:lnTo>
                <a:lnTo>
                  <a:pt x="9879" y="9006"/>
                </a:lnTo>
                <a:lnTo>
                  <a:pt x="9905" y="8923"/>
                </a:lnTo>
                <a:lnTo>
                  <a:pt x="9937" y="8842"/>
                </a:lnTo>
                <a:lnTo>
                  <a:pt x="9972" y="8763"/>
                </a:lnTo>
                <a:lnTo>
                  <a:pt x="10010" y="8687"/>
                </a:lnTo>
                <a:lnTo>
                  <a:pt x="10053" y="8613"/>
                </a:lnTo>
                <a:lnTo>
                  <a:pt x="10100" y="8542"/>
                </a:lnTo>
                <a:lnTo>
                  <a:pt x="10151" y="8475"/>
                </a:lnTo>
                <a:lnTo>
                  <a:pt x="10208" y="8411"/>
                </a:lnTo>
                <a:lnTo>
                  <a:pt x="10268" y="8352"/>
                </a:lnTo>
                <a:lnTo>
                  <a:pt x="10332" y="8295"/>
                </a:lnTo>
                <a:lnTo>
                  <a:pt x="10177" y="8237"/>
                </a:lnTo>
                <a:lnTo>
                  <a:pt x="10023" y="8180"/>
                </a:lnTo>
                <a:lnTo>
                  <a:pt x="9870" y="8122"/>
                </a:lnTo>
                <a:lnTo>
                  <a:pt x="9720" y="8065"/>
                </a:lnTo>
                <a:lnTo>
                  <a:pt x="9647" y="8035"/>
                </a:lnTo>
                <a:lnTo>
                  <a:pt x="9575" y="8007"/>
                </a:lnTo>
                <a:lnTo>
                  <a:pt x="9504" y="7977"/>
                </a:lnTo>
                <a:lnTo>
                  <a:pt x="9434" y="7948"/>
                </a:lnTo>
                <a:lnTo>
                  <a:pt x="9366" y="7919"/>
                </a:lnTo>
                <a:lnTo>
                  <a:pt x="9299" y="7889"/>
                </a:lnTo>
                <a:lnTo>
                  <a:pt x="9234" y="7858"/>
                </a:lnTo>
                <a:lnTo>
                  <a:pt x="9172" y="7828"/>
                </a:lnTo>
                <a:lnTo>
                  <a:pt x="9110" y="7797"/>
                </a:lnTo>
                <a:lnTo>
                  <a:pt x="9051" y="7766"/>
                </a:lnTo>
                <a:lnTo>
                  <a:pt x="8995" y="7734"/>
                </a:lnTo>
                <a:lnTo>
                  <a:pt x="8941" y="7703"/>
                </a:lnTo>
                <a:lnTo>
                  <a:pt x="8888" y="7670"/>
                </a:lnTo>
                <a:lnTo>
                  <a:pt x="8839" y="7637"/>
                </a:lnTo>
                <a:lnTo>
                  <a:pt x="8793" y="7603"/>
                </a:lnTo>
                <a:lnTo>
                  <a:pt x="8750" y="7569"/>
                </a:lnTo>
                <a:lnTo>
                  <a:pt x="8710" y="7534"/>
                </a:lnTo>
                <a:lnTo>
                  <a:pt x="8673" y="7499"/>
                </a:lnTo>
                <a:lnTo>
                  <a:pt x="8638" y="7463"/>
                </a:lnTo>
                <a:lnTo>
                  <a:pt x="8609" y="7426"/>
                </a:lnTo>
                <a:lnTo>
                  <a:pt x="8581" y="7388"/>
                </a:lnTo>
                <a:lnTo>
                  <a:pt x="8558" y="7351"/>
                </a:lnTo>
                <a:lnTo>
                  <a:pt x="8539" y="7312"/>
                </a:lnTo>
                <a:lnTo>
                  <a:pt x="8523" y="7272"/>
                </a:lnTo>
                <a:lnTo>
                  <a:pt x="8522" y="7277"/>
                </a:lnTo>
                <a:lnTo>
                  <a:pt x="8519" y="7267"/>
                </a:lnTo>
                <a:lnTo>
                  <a:pt x="6535" y="11392"/>
                </a:lnTo>
                <a:lnTo>
                  <a:pt x="4553" y="7267"/>
                </a:lnTo>
                <a:lnTo>
                  <a:pt x="4549" y="7277"/>
                </a:lnTo>
                <a:lnTo>
                  <a:pt x="4548" y="7272"/>
                </a:lnTo>
                <a:lnTo>
                  <a:pt x="4538" y="7298"/>
                </a:lnTo>
                <a:lnTo>
                  <a:pt x="4523" y="7326"/>
                </a:lnTo>
                <a:lnTo>
                  <a:pt x="4507" y="7354"/>
                </a:lnTo>
                <a:lnTo>
                  <a:pt x="4489" y="7381"/>
                </a:lnTo>
                <a:lnTo>
                  <a:pt x="4467" y="7409"/>
                </a:lnTo>
                <a:lnTo>
                  <a:pt x="4443" y="7437"/>
                </a:lnTo>
                <a:lnTo>
                  <a:pt x="4416" y="7465"/>
                </a:lnTo>
                <a:lnTo>
                  <a:pt x="4388" y="7493"/>
                </a:lnTo>
                <a:lnTo>
                  <a:pt x="4358" y="7521"/>
                </a:lnTo>
                <a:lnTo>
                  <a:pt x="4325" y="7549"/>
                </a:lnTo>
                <a:lnTo>
                  <a:pt x="4290" y="7577"/>
                </a:lnTo>
                <a:lnTo>
                  <a:pt x="4255" y="7604"/>
                </a:lnTo>
                <a:lnTo>
                  <a:pt x="4218" y="7632"/>
                </a:lnTo>
                <a:lnTo>
                  <a:pt x="4179" y="7659"/>
                </a:lnTo>
                <a:lnTo>
                  <a:pt x="4139" y="7685"/>
                </a:lnTo>
                <a:lnTo>
                  <a:pt x="4097" y="7712"/>
                </a:lnTo>
                <a:lnTo>
                  <a:pt x="4055" y="7738"/>
                </a:lnTo>
                <a:lnTo>
                  <a:pt x="4013" y="7763"/>
                </a:lnTo>
                <a:lnTo>
                  <a:pt x="3969" y="7789"/>
                </a:lnTo>
                <a:lnTo>
                  <a:pt x="3925" y="7813"/>
                </a:lnTo>
                <a:lnTo>
                  <a:pt x="3881" y="7837"/>
                </a:lnTo>
                <a:lnTo>
                  <a:pt x="3836" y="7860"/>
                </a:lnTo>
                <a:lnTo>
                  <a:pt x="3790" y="7883"/>
                </a:lnTo>
                <a:lnTo>
                  <a:pt x="3745" y="7905"/>
                </a:lnTo>
                <a:lnTo>
                  <a:pt x="3700" y="7926"/>
                </a:lnTo>
                <a:lnTo>
                  <a:pt x="3655" y="7946"/>
                </a:lnTo>
                <a:lnTo>
                  <a:pt x="3611" y="7966"/>
                </a:lnTo>
                <a:lnTo>
                  <a:pt x="3567" y="7984"/>
                </a:lnTo>
                <a:lnTo>
                  <a:pt x="3523" y="8003"/>
                </a:lnTo>
                <a:lnTo>
                  <a:pt x="3480" y="8019"/>
                </a:lnTo>
                <a:lnTo>
                  <a:pt x="3439" y="8034"/>
                </a:lnTo>
                <a:lnTo>
                  <a:pt x="3398" y="8049"/>
                </a:lnTo>
                <a:close/>
                <a:moveTo>
                  <a:pt x="12303" y="13492"/>
                </a:moveTo>
                <a:lnTo>
                  <a:pt x="12302" y="13460"/>
                </a:lnTo>
                <a:lnTo>
                  <a:pt x="12300" y="13430"/>
                </a:lnTo>
                <a:lnTo>
                  <a:pt x="12296" y="13400"/>
                </a:lnTo>
                <a:lnTo>
                  <a:pt x="12291" y="13370"/>
                </a:lnTo>
                <a:lnTo>
                  <a:pt x="12284" y="13340"/>
                </a:lnTo>
                <a:lnTo>
                  <a:pt x="12276" y="13312"/>
                </a:lnTo>
                <a:lnTo>
                  <a:pt x="12266" y="13284"/>
                </a:lnTo>
                <a:lnTo>
                  <a:pt x="12255" y="13257"/>
                </a:lnTo>
                <a:lnTo>
                  <a:pt x="12244" y="13230"/>
                </a:lnTo>
                <a:lnTo>
                  <a:pt x="12231" y="13203"/>
                </a:lnTo>
                <a:lnTo>
                  <a:pt x="12215" y="13179"/>
                </a:lnTo>
                <a:lnTo>
                  <a:pt x="12200" y="13154"/>
                </a:lnTo>
                <a:lnTo>
                  <a:pt x="12184" y="13131"/>
                </a:lnTo>
                <a:lnTo>
                  <a:pt x="12165" y="13107"/>
                </a:lnTo>
                <a:lnTo>
                  <a:pt x="12146" y="13086"/>
                </a:lnTo>
                <a:lnTo>
                  <a:pt x="12127" y="13064"/>
                </a:lnTo>
                <a:lnTo>
                  <a:pt x="12105" y="13045"/>
                </a:lnTo>
                <a:lnTo>
                  <a:pt x="12084" y="13025"/>
                </a:lnTo>
                <a:lnTo>
                  <a:pt x="12061" y="13008"/>
                </a:lnTo>
                <a:lnTo>
                  <a:pt x="12038" y="12990"/>
                </a:lnTo>
                <a:lnTo>
                  <a:pt x="12013" y="12975"/>
                </a:lnTo>
                <a:lnTo>
                  <a:pt x="11988" y="12961"/>
                </a:lnTo>
                <a:lnTo>
                  <a:pt x="11962" y="12947"/>
                </a:lnTo>
                <a:lnTo>
                  <a:pt x="11934" y="12935"/>
                </a:lnTo>
                <a:lnTo>
                  <a:pt x="11908" y="12924"/>
                </a:lnTo>
                <a:lnTo>
                  <a:pt x="11879" y="12915"/>
                </a:lnTo>
                <a:lnTo>
                  <a:pt x="11851" y="12906"/>
                </a:lnTo>
                <a:lnTo>
                  <a:pt x="11822" y="12900"/>
                </a:lnTo>
                <a:lnTo>
                  <a:pt x="11792" y="12894"/>
                </a:lnTo>
                <a:lnTo>
                  <a:pt x="11762" y="12891"/>
                </a:lnTo>
                <a:lnTo>
                  <a:pt x="11731" y="12888"/>
                </a:lnTo>
                <a:lnTo>
                  <a:pt x="11700" y="12888"/>
                </a:lnTo>
                <a:lnTo>
                  <a:pt x="11669" y="12888"/>
                </a:lnTo>
                <a:lnTo>
                  <a:pt x="11638" y="12891"/>
                </a:lnTo>
                <a:lnTo>
                  <a:pt x="11608" y="12894"/>
                </a:lnTo>
                <a:lnTo>
                  <a:pt x="11579" y="12900"/>
                </a:lnTo>
                <a:lnTo>
                  <a:pt x="11549" y="12906"/>
                </a:lnTo>
                <a:lnTo>
                  <a:pt x="11521" y="12915"/>
                </a:lnTo>
                <a:lnTo>
                  <a:pt x="11492" y="12924"/>
                </a:lnTo>
                <a:lnTo>
                  <a:pt x="11465" y="12935"/>
                </a:lnTo>
                <a:lnTo>
                  <a:pt x="11438" y="12947"/>
                </a:lnTo>
                <a:lnTo>
                  <a:pt x="11412" y="12961"/>
                </a:lnTo>
                <a:lnTo>
                  <a:pt x="11387" y="12975"/>
                </a:lnTo>
                <a:lnTo>
                  <a:pt x="11362" y="12990"/>
                </a:lnTo>
                <a:lnTo>
                  <a:pt x="11339" y="13008"/>
                </a:lnTo>
                <a:lnTo>
                  <a:pt x="11316" y="13025"/>
                </a:lnTo>
                <a:lnTo>
                  <a:pt x="11294" y="13045"/>
                </a:lnTo>
                <a:lnTo>
                  <a:pt x="11273" y="13064"/>
                </a:lnTo>
                <a:lnTo>
                  <a:pt x="11253" y="13086"/>
                </a:lnTo>
                <a:lnTo>
                  <a:pt x="11234" y="13107"/>
                </a:lnTo>
                <a:lnTo>
                  <a:pt x="11216" y="13131"/>
                </a:lnTo>
                <a:lnTo>
                  <a:pt x="11200" y="13154"/>
                </a:lnTo>
                <a:lnTo>
                  <a:pt x="11183" y="13179"/>
                </a:lnTo>
                <a:lnTo>
                  <a:pt x="11169" y="13203"/>
                </a:lnTo>
                <a:lnTo>
                  <a:pt x="11156" y="13230"/>
                </a:lnTo>
                <a:lnTo>
                  <a:pt x="11144" y="13257"/>
                </a:lnTo>
                <a:lnTo>
                  <a:pt x="11133" y="13284"/>
                </a:lnTo>
                <a:lnTo>
                  <a:pt x="11123" y="13312"/>
                </a:lnTo>
                <a:lnTo>
                  <a:pt x="11116" y="13340"/>
                </a:lnTo>
                <a:lnTo>
                  <a:pt x="11109" y="13370"/>
                </a:lnTo>
                <a:lnTo>
                  <a:pt x="11104" y="13400"/>
                </a:lnTo>
                <a:lnTo>
                  <a:pt x="11100" y="13430"/>
                </a:lnTo>
                <a:lnTo>
                  <a:pt x="11098" y="13460"/>
                </a:lnTo>
                <a:lnTo>
                  <a:pt x="11097" y="13492"/>
                </a:lnTo>
                <a:lnTo>
                  <a:pt x="11097" y="13514"/>
                </a:lnTo>
                <a:lnTo>
                  <a:pt x="11098" y="13536"/>
                </a:lnTo>
                <a:lnTo>
                  <a:pt x="11100" y="13558"/>
                </a:lnTo>
                <a:lnTo>
                  <a:pt x="11103" y="13579"/>
                </a:lnTo>
                <a:lnTo>
                  <a:pt x="11106" y="13601"/>
                </a:lnTo>
                <a:lnTo>
                  <a:pt x="11110" y="13621"/>
                </a:lnTo>
                <a:lnTo>
                  <a:pt x="11115" y="13640"/>
                </a:lnTo>
                <a:lnTo>
                  <a:pt x="11120" y="13659"/>
                </a:lnTo>
                <a:lnTo>
                  <a:pt x="10622" y="13659"/>
                </a:lnTo>
                <a:lnTo>
                  <a:pt x="10628" y="13751"/>
                </a:lnTo>
                <a:lnTo>
                  <a:pt x="10638" y="13842"/>
                </a:lnTo>
                <a:lnTo>
                  <a:pt x="10652" y="13931"/>
                </a:lnTo>
                <a:lnTo>
                  <a:pt x="10669" y="14018"/>
                </a:lnTo>
                <a:lnTo>
                  <a:pt x="10692" y="14104"/>
                </a:lnTo>
                <a:lnTo>
                  <a:pt x="10718" y="14189"/>
                </a:lnTo>
                <a:lnTo>
                  <a:pt x="10749" y="14271"/>
                </a:lnTo>
                <a:lnTo>
                  <a:pt x="10783" y="14352"/>
                </a:lnTo>
                <a:lnTo>
                  <a:pt x="10821" y="14431"/>
                </a:lnTo>
                <a:lnTo>
                  <a:pt x="10862" y="14507"/>
                </a:lnTo>
                <a:lnTo>
                  <a:pt x="10906" y="14580"/>
                </a:lnTo>
                <a:lnTo>
                  <a:pt x="10955" y="14652"/>
                </a:lnTo>
                <a:lnTo>
                  <a:pt x="11006" y="14722"/>
                </a:lnTo>
                <a:lnTo>
                  <a:pt x="11060" y="14788"/>
                </a:lnTo>
                <a:lnTo>
                  <a:pt x="11118" y="14853"/>
                </a:lnTo>
                <a:lnTo>
                  <a:pt x="11178" y="14913"/>
                </a:lnTo>
                <a:lnTo>
                  <a:pt x="11241" y="14971"/>
                </a:lnTo>
                <a:lnTo>
                  <a:pt x="11307" y="15027"/>
                </a:lnTo>
                <a:lnTo>
                  <a:pt x="11374" y="15079"/>
                </a:lnTo>
                <a:lnTo>
                  <a:pt x="11446" y="15128"/>
                </a:lnTo>
                <a:lnTo>
                  <a:pt x="11519" y="15174"/>
                </a:lnTo>
                <a:lnTo>
                  <a:pt x="11594" y="15216"/>
                </a:lnTo>
                <a:lnTo>
                  <a:pt x="11672" y="15255"/>
                </a:lnTo>
                <a:lnTo>
                  <a:pt x="11752" y="15290"/>
                </a:lnTo>
                <a:lnTo>
                  <a:pt x="11833" y="15321"/>
                </a:lnTo>
                <a:lnTo>
                  <a:pt x="11916" y="15349"/>
                </a:lnTo>
                <a:lnTo>
                  <a:pt x="12001" y="15373"/>
                </a:lnTo>
                <a:lnTo>
                  <a:pt x="12088" y="15392"/>
                </a:lnTo>
                <a:lnTo>
                  <a:pt x="12177" y="15407"/>
                </a:lnTo>
                <a:lnTo>
                  <a:pt x="12265" y="15419"/>
                </a:lnTo>
                <a:lnTo>
                  <a:pt x="12356" y="15425"/>
                </a:lnTo>
                <a:lnTo>
                  <a:pt x="12448" y="15428"/>
                </a:lnTo>
                <a:lnTo>
                  <a:pt x="12541" y="15425"/>
                </a:lnTo>
                <a:lnTo>
                  <a:pt x="12632" y="15419"/>
                </a:lnTo>
                <a:lnTo>
                  <a:pt x="12721" y="15407"/>
                </a:lnTo>
                <a:lnTo>
                  <a:pt x="12810" y="15392"/>
                </a:lnTo>
                <a:lnTo>
                  <a:pt x="12897" y="15373"/>
                </a:lnTo>
                <a:lnTo>
                  <a:pt x="12982" y="15349"/>
                </a:lnTo>
                <a:lnTo>
                  <a:pt x="13066" y="15321"/>
                </a:lnTo>
                <a:lnTo>
                  <a:pt x="13147" y="15290"/>
                </a:lnTo>
                <a:lnTo>
                  <a:pt x="13226" y="15255"/>
                </a:lnTo>
                <a:lnTo>
                  <a:pt x="13304" y="15216"/>
                </a:lnTo>
                <a:lnTo>
                  <a:pt x="13379" y="15174"/>
                </a:lnTo>
                <a:lnTo>
                  <a:pt x="13453" y="15128"/>
                </a:lnTo>
                <a:lnTo>
                  <a:pt x="13523" y="15079"/>
                </a:lnTo>
                <a:lnTo>
                  <a:pt x="13592" y="15027"/>
                </a:lnTo>
                <a:lnTo>
                  <a:pt x="13657" y="14971"/>
                </a:lnTo>
                <a:lnTo>
                  <a:pt x="13720" y="14913"/>
                </a:lnTo>
                <a:lnTo>
                  <a:pt x="13781" y="14853"/>
                </a:lnTo>
                <a:lnTo>
                  <a:pt x="13838" y="14788"/>
                </a:lnTo>
                <a:lnTo>
                  <a:pt x="13892" y="14722"/>
                </a:lnTo>
                <a:lnTo>
                  <a:pt x="13943" y="14652"/>
                </a:lnTo>
                <a:lnTo>
                  <a:pt x="13991" y="14580"/>
                </a:lnTo>
                <a:lnTo>
                  <a:pt x="14036" y="14507"/>
                </a:lnTo>
                <a:lnTo>
                  <a:pt x="14077" y="14431"/>
                </a:lnTo>
                <a:lnTo>
                  <a:pt x="14115" y="14352"/>
                </a:lnTo>
                <a:lnTo>
                  <a:pt x="14149" y="14271"/>
                </a:lnTo>
                <a:lnTo>
                  <a:pt x="14179" y="14189"/>
                </a:lnTo>
                <a:lnTo>
                  <a:pt x="14206" y="14104"/>
                </a:lnTo>
                <a:lnTo>
                  <a:pt x="14228" y="14018"/>
                </a:lnTo>
                <a:lnTo>
                  <a:pt x="14247" y="13931"/>
                </a:lnTo>
                <a:lnTo>
                  <a:pt x="14260" y="13842"/>
                </a:lnTo>
                <a:lnTo>
                  <a:pt x="14270" y="13751"/>
                </a:lnTo>
                <a:lnTo>
                  <a:pt x="14275" y="13659"/>
                </a:lnTo>
                <a:lnTo>
                  <a:pt x="12280" y="13659"/>
                </a:lnTo>
                <a:lnTo>
                  <a:pt x="12285" y="13640"/>
                </a:lnTo>
                <a:lnTo>
                  <a:pt x="12290" y="13621"/>
                </a:lnTo>
                <a:lnTo>
                  <a:pt x="12294" y="13601"/>
                </a:lnTo>
                <a:lnTo>
                  <a:pt x="12297" y="13579"/>
                </a:lnTo>
                <a:lnTo>
                  <a:pt x="12300" y="13558"/>
                </a:lnTo>
                <a:lnTo>
                  <a:pt x="12301" y="13536"/>
                </a:lnTo>
                <a:lnTo>
                  <a:pt x="12302" y="13514"/>
                </a:lnTo>
                <a:lnTo>
                  <a:pt x="12303" y="13492"/>
                </a:lnTo>
                <a:close/>
                <a:moveTo>
                  <a:pt x="12539" y="11996"/>
                </a:moveTo>
                <a:lnTo>
                  <a:pt x="12539" y="12008"/>
                </a:lnTo>
                <a:lnTo>
                  <a:pt x="12538" y="12018"/>
                </a:lnTo>
                <a:lnTo>
                  <a:pt x="12537" y="12028"/>
                </a:lnTo>
                <a:lnTo>
                  <a:pt x="12535" y="12039"/>
                </a:lnTo>
                <a:lnTo>
                  <a:pt x="12533" y="12050"/>
                </a:lnTo>
                <a:lnTo>
                  <a:pt x="12530" y="12059"/>
                </a:lnTo>
                <a:lnTo>
                  <a:pt x="12527" y="12069"/>
                </a:lnTo>
                <a:lnTo>
                  <a:pt x="12523" y="12078"/>
                </a:lnTo>
                <a:lnTo>
                  <a:pt x="12514" y="12097"/>
                </a:lnTo>
                <a:lnTo>
                  <a:pt x="12504" y="12114"/>
                </a:lnTo>
                <a:lnTo>
                  <a:pt x="12491" y="12130"/>
                </a:lnTo>
                <a:lnTo>
                  <a:pt x="12478" y="12146"/>
                </a:lnTo>
                <a:lnTo>
                  <a:pt x="12463" y="12159"/>
                </a:lnTo>
                <a:lnTo>
                  <a:pt x="12446" y="12171"/>
                </a:lnTo>
                <a:lnTo>
                  <a:pt x="12429" y="12182"/>
                </a:lnTo>
                <a:lnTo>
                  <a:pt x="12411" y="12191"/>
                </a:lnTo>
                <a:lnTo>
                  <a:pt x="12400" y="12195"/>
                </a:lnTo>
                <a:lnTo>
                  <a:pt x="12391" y="12198"/>
                </a:lnTo>
                <a:lnTo>
                  <a:pt x="12381" y="12201"/>
                </a:lnTo>
                <a:lnTo>
                  <a:pt x="12371" y="12203"/>
                </a:lnTo>
                <a:lnTo>
                  <a:pt x="12360" y="12205"/>
                </a:lnTo>
                <a:lnTo>
                  <a:pt x="12349" y="12206"/>
                </a:lnTo>
                <a:lnTo>
                  <a:pt x="12339" y="12207"/>
                </a:lnTo>
                <a:lnTo>
                  <a:pt x="12328" y="12207"/>
                </a:lnTo>
                <a:lnTo>
                  <a:pt x="12317" y="12207"/>
                </a:lnTo>
                <a:lnTo>
                  <a:pt x="12306" y="12206"/>
                </a:lnTo>
                <a:lnTo>
                  <a:pt x="12296" y="12205"/>
                </a:lnTo>
                <a:lnTo>
                  <a:pt x="12285" y="12203"/>
                </a:lnTo>
                <a:lnTo>
                  <a:pt x="12276" y="12201"/>
                </a:lnTo>
                <a:lnTo>
                  <a:pt x="12265" y="12198"/>
                </a:lnTo>
                <a:lnTo>
                  <a:pt x="12255" y="12195"/>
                </a:lnTo>
                <a:lnTo>
                  <a:pt x="12246" y="12191"/>
                </a:lnTo>
                <a:lnTo>
                  <a:pt x="12228" y="12182"/>
                </a:lnTo>
                <a:lnTo>
                  <a:pt x="12210" y="12171"/>
                </a:lnTo>
                <a:lnTo>
                  <a:pt x="12194" y="12159"/>
                </a:lnTo>
                <a:lnTo>
                  <a:pt x="12179" y="12146"/>
                </a:lnTo>
                <a:lnTo>
                  <a:pt x="12165" y="12130"/>
                </a:lnTo>
                <a:lnTo>
                  <a:pt x="12153" y="12114"/>
                </a:lnTo>
                <a:lnTo>
                  <a:pt x="12143" y="12097"/>
                </a:lnTo>
                <a:lnTo>
                  <a:pt x="12134" y="12078"/>
                </a:lnTo>
                <a:lnTo>
                  <a:pt x="12130" y="12069"/>
                </a:lnTo>
                <a:lnTo>
                  <a:pt x="12127" y="12059"/>
                </a:lnTo>
                <a:lnTo>
                  <a:pt x="12123" y="12050"/>
                </a:lnTo>
                <a:lnTo>
                  <a:pt x="12121" y="12039"/>
                </a:lnTo>
                <a:lnTo>
                  <a:pt x="12119" y="12028"/>
                </a:lnTo>
                <a:lnTo>
                  <a:pt x="12118" y="12018"/>
                </a:lnTo>
                <a:lnTo>
                  <a:pt x="12117" y="12008"/>
                </a:lnTo>
                <a:lnTo>
                  <a:pt x="12117" y="11996"/>
                </a:lnTo>
                <a:lnTo>
                  <a:pt x="12117" y="11985"/>
                </a:lnTo>
                <a:lnTo>
                  <a:pt x="12118" y="11975"/>
                </a:lnTo>
                <a:lnTo>
                  <a:pt x="12119" y="11964"/>
                </a:lnTo>
                <a:lnTo>
                  <a:pt x="12121" y="11953"/>
                </a:lnTo>
                <a:lnTo>
                  <a:pt x="12123" y="11943"/>
                </a:lnTo>
                <a:lnTo>
                  <a:pt x="12127" y="11933"/>
                </a:lnTo>
                <a:lnTo>
                  <a:pt x="12130" y="11924"/>
                </a:lnTo>
                <a:lnTo>
                  <a:pt x="12134" y="11913"/>
                </a:lnTo>
                <a:lnTo>
                  <a:pt x="12143" y="11895"/>
                </a:lnTo>
                <a:lnTo>
                  <a:pt x="12153" y="11878"/>
                </a:lnTo>
                <a:lnTo>
                  <a:pt x="12165" y="11861"/>
                </a:lnTo>
                <a:lnTo>
                  <a:pt x="12179" y="11846"/>
                </a:lnTo>
                <a:lnTo>
                  <a:pt x="12194" y="11833"/>
                </a:lnTo>
                <a:lnTo>
                  <a:pt x="12210" y="11820"/>
                </a:lnTo>
                <a:lnTo>
                  <a:pt x="12228" y="11810"/>
                </a:lnTo>
                <a:lnTo>
                  <a:pt x="12246" y="11801"/>
                </a:lnTo>
                <a:lnTo>
                  <a:pt x="12255" y="11797"/>
                </a:lnTo>
                <a:lnTo>
                  <a:pt x="12265" y="11794"/>
                </a:lnTo>
                <a:lnTo>
                  <a:pt x="12276" y="11791"/>
                </a:lnTo>
                <a:lnTo>
                  <a:pt x="12285" y="11788"/>
                </a:lnTo>
                <a:lnTo>
                  <a:pt x="12296" y="11786"/>
                </a:lnTo>
                <a:lnTo>
                  <a:pt x="12306" y="11785"/>
                </a:lnTo>
                <a:lnTo>
                  <a:pt x="12317" y="11784"/>
                </a:lnTo>
                <a:lnTo>
                  <a:pt x="12328" y="11784"/>
                </a:lnTo>
                <a:lnTo>
                  <a:pt x="12339" y="11784"/>
                </a:lnTo>
                <a:lnTo>
                  <a:pt x="12349" y="11785"/>
                </a:lnTo>
                <a:lnTo>
                  <a:pt x="12360" y="11786"/>
                </a:lnTo>
                <a:lnTo>
                  <a:pt x="12371" y="11788"/>
                </a:lnTo>
                <a:lnTo>
                  <a:pt x="12381" y="11791"/>
                </a:lnTo>
                <a:lnTo>
                  <a:pt x="12391" y="11794"/>
                </a:lnTo>
                <a:lnTo>
                  <a:pt x="12400" y="11797"/>
                </a:lnTo>
                <a:lnTo>
                  <a:pt x="12411" y="11801"/>
                </a:lnTo>
                <a:lnTo>
                  <a:pt x="12429" y="11810"/>
                </a:lnTo>
                <a:lnTo>
                  <a:pt x="12446" y="11820"/>
                </a:lnTo>
                <a:lnTo>
                  <a:pt x="12463" y="11833"/>
                </a:lnTo>
                <a:lnTo>
                  <a:pt x="12478" y="11846"/>
                </a:lnTo>
                <a:lnTo>
                  <a:pt x="12491" y="11861"/>
                </a:lnTo>
                <a:lnTo>
                  <a:pt x="12504" y="11878"/>
                </a:lnTo>
                <a:lnTo>
                  <a:pt x="12514" y="11895"/>
                </a:lnTo>
                <a:lnTo>
                  <a:pt x="12523" y="11913"/>
                </a:lnTo>
                <a:lnTo>
                  <a:pt x="12527" y="11924"/>
                </a:lnTo>
                <a:lnTo>
                  <a:pt x="12530" y="11933"/>
                </a:lnTo>
                <a:lnTo>
                  <a:pt x="12533" y="11943"/>
                </a:lnTo>
                <a:lnTo>
                  <a:pt x="12535" y="11953"/>
                </a:lnTo>
                <a:lnTo>
                  <a:pt x="12537" y="11964"/>
                </a:lnTo>
                <a:lnTo>
                  <a:pt x="12538" y="11975"/>
                </a:lnTo>
                <a:lnTo>
                  <a:pt x="12539" y="11985"/>
                </a:lnTo>
                <a:lnTo>
                  <a:pt x="12539" y="11996"/>
                </a:lnTo>
                <a:close/>
                <a:moveTo>
                  <a:pt x="13365" y="12823"/>
                </a:moveTo>
                <a:lnTo>
                  <a:pt x="13364" y="12843"/>
                </a:lnTo>
                <a:lnTo>
                  <a:pt x="13363" y="12862"/>
                </a:lnTo>
                <a:lnTo>
                  <a:pt x="13361" y="12881"/>
                </a:lnTo>
                <a:lnTo>
                  <a:pt x="13358" y="12899"/>
                </a:lnTo>
                <a:lnTo>
                  <a:pt x="13353" y="12918"/>
                </a:lnTo>
                <a:lnTo>
                  <a:pt x="13348" y="12935"/>
                </a:lnTo>
                <a:lnTo>
                  <a:pt x="13342" y="12952"/>
                </a:lnTo>
                <a:lnTo>
                  <a:pt x="13335" y="12970"/>
                </a:lnTo>
                <a:lnTo>
                  <a:pt x="13328" y="12986"/>
                </a:lnTo>
                <a:lnTo>
                  <a:pt x="13320" y="13002"/>
                </a:lnTo>
                <a:lnTo>
                  <a:pt x="13311" y="13018"/>
                </a:lnTo>
                <a:lnTo>
                  <a:pt x="13301" y="13033"/>
                </a:lnTo>
                <a:lnTo>
                  <a:pt x="13290" y="13048"/>
                </a:lnTo>
                <a:lnTo>
                  <a:pt x="13279" y="13062"/>
                </a:lnTo>
                <a:lnTo>
                  <a:pt x="13268" y="13075"/>
                </a:lnTo>
                <a:lnTo>
                  <a:pt x="13256" y="13089"/>
                </a:lnTo>
                <a:lnTo>
                  <a:pt x="13242" y="13101"/>
                </a:lnTo>
                <a:lnTo>
                  <a:pt x="13229" y="13112"/>
                </a:lnTo>
                <a:lnTo>
                  <a:pt x="13215" y="13123"/>
                </a:lnTo>
                <a:lnTo>
                  <a:pt x="13200" y="13134"/>
                </a:lnTo>
                <a:lnTo>
                  <a:pt x="13185" y="13144"/>
                </a:lnTo>
                <a:lnTo>
                  <a:pt x="13170" y="13153"/>
                </a:lnTo>
                <a:lnTo>
                  <a:pt x="13153" y="13161"/>
                </a:lnTo>
                <a:lnTo>
                  <a:pt x="13137" y="13168"/>
                </a:lnTo>
                <a:lnTo>
                  <a:pt x="13120" y="13176"/>
                </a:lnTo>
                <a:lnTo>
                  <a:pt x="13102" y="13181"/>
                </a:lnTo>
                <a:lnTo>
                  <a:pt x="13085" y="13186"/>
                </a:lnTo>
                <a:lnTo>
                  <a:pt x="13067" y="13190"/>
                </a:lnTo>
                <a:lnTo>
                  <a:pt x="13048" y="13194"/>
                </a:lnTo>
                <a:lnTo>
                  <a:pt x="13030" y="13196"/>
                </a:lnTo>
                <a:lnTo>
                  <a:pt x="13010" y="13197"/>
                </a:lnTo>
                <a:lnTo>
                  <a:pt x="12992" y="13198"/>
                </a:lnTo>
                <a:lnTo>
                  <a:pt x="12973" y="13197"/>
                </a:lnTo>
                <a:lnTo>
                  <a:pt x="12953" y="13196"/>
                </a:lnTo>
                <a:lnTo>
                  <a:pt x="12935" y="13194"/>
                </a:lnTo>
                <a:lnTo>
                  <a:pt x="12916" y="13190"/>
                </a:lnTo>
                <a:lnTo>
                  <a:pt x="12899" y="13186"/>
                </a:lnTo>
                <a:lnTo>
                  <a:pt x="12881" y="13181"/>
                </a:lnTo>
                <a:lnTo>
                  <a:pt x="12863" y="13176"/>
                </a:lnTo>
                <a:lnTo>
                  <a:pt x="12847" y="13168"/>
                </a:lnTo>
                <a:lnTo>
                  <a:pt x="12829" y="13161"/>
                </a:lnTo>
                <a:lnTo>
                  <a:pt x="12814" y="13153"/>
                </a:lnTo>
                <a:lnTo>
                  <a:pt x="12798" y="13144"/>
                </a:lnTo>
                <a:lnTo>
                  <a:pt x="12784" y="13134"/>
                </a:lnTo>
                <a:lnTo>
                  <a:pt x="12768" y="13123"/>
                </a:lnTo>
                <a:lnTo>
                  <a:pt x="12755" y="13112"/>
                </a:lnTo>
                <a:lnTo>
                  <a:pt x="12741" y="13101"/>
                </a:lnTo>
                <a:lnTo>
                  <a:pt x="12728" y="13089"/>
                </a:lnTo>
                <a:lnTo>
                  <a:pt x="12715" y="13075"/>
                </a:lnTo>
                <a:lnTo>
                  <a:pt x="12704" y="13062"/>
                </a:lnTo>
                <a:lnTo>
                  <a:pt x="12693" y="13048"/>
                </a:lnTo>
                <a:lnTo>
                  <a:pt x="12682" y="13033"/>
                </a:lnTo>
                <a:lnTo>
                  <a:pt x="12672" y="13018"/>
                </a:lnTo>
                <a:lnTo>
                  <a:pt x="12664" y="13002"/>
                </a:lnTo>
                <a:lnTo>
                  <a:pt x="12656" y="12986"/>
                </a:lnTo>
                <a:lnTo>
                  <a:pt x="12648" y="12970"/>
                </a:lnTo>
                <a:lnTo>
                  <a:pt x="12641" y="12952"/>
                </a:lnTo>
                <a:lnTo>
                  <a:pt x="12635" y="12935"/>
                </a:lnTo>
                <a:lnTo>
                  <a:pt x="12630" y="12918"/>
                </a:lnTo>
                <a:lnTo>
                  <a:pt x="12626" y="12899"/>
                </a:lnTo>
                <a:lnTo>
                  <a:pt x="12623" y="12881"/>
                </a:lnTo>
                <a:lnTo>
                  <a:pt x="12620" y="12862"/>
                </a:lnTo>
                <a:lnTo>
                  <a:pt x="12619" y="12843"/>
                </a:lnTo>
                <a:lnTo>
                  <a:pt x="12618" y="12823"/>
                </a:lnTo>
                <a:lnTo>
                  <a:pt x="12619" y="12805"/>
                </a:lnTo>
                <a:lnTo>
                  <a:pt x="12620" y="12786"/>
                </a:lnTo>
                <a:lnTo>
                  <a:pt x="12623" y="12767"/>
                </a:lnTo>
                <a:lnTo>
                  <a:pt x="12626" y="12749"/>
                </a:lnTo>
                <a:lnTo>
                  <a:pt x="12630" y="12730"/>
                </a:lnTo>
                <a:lnTo>
                  <a:pt x="12635" y="12713"/>
                </a:lnTo>
                <a:lnTo>
                  <a:pt x="12641" y="12696"/>
                </a:lnTo>
                <a:lnTo>
                  <a:pt x="12648" y="12678"/>
                </a:lnTo>
                <a:lnTo>
                  <a:pt x="12656" y="12662"/>
                </a:lnTo>
                <a:lnTo>
                  <a:pt x="12664" y="12646"/>
                </a:lnTo>
                <a:lnTo>
                  <a:pt x="12672" y="12630"/>
                </a:lnTo>
                <a:lnTo>
                  <a:pt x="12682" y="12615"/>
                </a:lnTo>
                <a:lnTo>
                  <a:pt x="12693" y="12600"/>
                </a:lnTo>
                <a:lnTo>
                  <a:pt x="12704" y="12586"/>
                </a:lnTo>
                <a:lnTo>
                  <a:pt x="12715" y="12573"/>
                </a:lnTo>
                <a:lnTo>
                  <a:pt x="12728" y="12559"/>
                </a:lnTo>
                <a:lnTo>
                  <a:pt x="12741" y="12547"/>
                </a:lnTo>
                <a:lnTo>
                  <a:pt x="12755" y="12536"/>
                </a:lnTo>
                <a:lnTo>
                  <a:pt x="12768" y="12525"/>
                </a:lnTo>
                <a:lnTo>
                  <a:pt x="12784" y="12514"/>
                </a:lnTo>
                <a:lnTo>
                  <a:pt x="12798" y="12504"/>
                </a:lnTo>
                <a:lnTo>
                  <a:pt x="12814" y="12496"/>
                </a:lnTo>
                <a:lnTo>
                  <a:pt x="12829" y="12487"/>
                </a:lnTo>
                <a:lnTo>
                  <a:pt x="12847" y="12480"/>
                </a:lnTo>
                <a:lnTo>
                  <a:pt x="12863" y="12473"/>
                </a:lnTo>
                <a:lnTo>
                  <a:pt x="12881" y="12467"/>
                </a:lnTo>
                <a:lnTo>
                  <a:pt x="12899" y="12462"/>
                </a:lnTo>
                <a:lnTo>
                  <a:pt x="12916" y="12458"/>
                </a:lnTo>
                <a:lnTo>
                  <a:pt x="12935" y="12455"/>
                </a:lnTo>
                <a:lnTo>
                  <a:pt x="12953" y="12452"/>
                </a:lnTo>
                <a:lnTo>
                  <a:pt x="12973" y="12451"/>
                </a:lnTo>
                <a:lnTo>
                  <a:pt x="12992" y="12450"/>
                </a:lnTo>
                <a:lnTo>
                  <a:pt x="13010" y="12451"/>
                </a:lnTo>
                <a:lnTo>
                  <a:pt x="13030" y="12452"/>
                </a:lnTo>
                <a:lnTo>
                  <a:pt x="13048" y="12455"/>
                </a:lnTo>
                <a:lnTo>
                  <a:pt x="13067" y="12458"/>
                </a:lnTo>
                <a:lnTo>
                  <a:pt x="13085" y="12462"/>
                </a:lnTo>
                <a:lnTo>
                  <a:pt x="13102" y="12467"/>
                </a:lnTo>
                <a:lnTo>
                  <a:pt x="13120" y="12473"/>
                </a:lnTo>
                <a:lnTo>
                  <a:pt x="13137" y="12480"/>
                </a:lnTo>
                <a:lnTo>
                  <a:pt x="13153" y="12487"/>
                </a:lnTo>
                <a:lnTo>
                  <a:pt x="13170" y="12496"/>
                </a:lnTo>
                <a:lnTo>
                  <a:pt x="13185" y="12504"/>
                </a:lnTo>
                <a:lnTo>
                  <a:pt x="13200" y="12514"/>
                </a:lnTo>
                <a:lnTo>
                  <a:pt x="13215" y="12525"/>
                </a:lnTo>
                <a:lnTo>
                  <a:pt x="13229" y="12536"/>
                </a:lnTo>
                <a:lnTo>
                  <a:pt x="13242" y="12547"/>
                </a:lnTo>
                <a:lnTo>
                  <a:pt x="13256" y="12559"/>
                </a:lnTo>
                <a:lnTo>
                  <a:pt x="13268" y="12573"/>
                </a:lnTo>
                <a:lnTo>
                  <a:pt x="13279" y="12586"/>
                </a:lnTo>
                <a:lnTo>
                  <a:pt x="13290" y="12600"/>
                </a:lnTo>
                <a:lnTo>
                  <a:pt x="13301" y="12615"/>
                </a:lnTo>
                <a:lnTo>
                  <a:pt x="13311" y="12630"/>
                </a:lnTo>
                <a:lnTo>
                  <a:pt x="13320" y="12646"/>
                </a:lnTo>
                <a:lnTo>
                  <a:pt x="13328" y="12662"/>
                </a:lnTo>
                <a:lnTo>
                  <a:pt x="13335" y="12678"/>
                </a:lnTo>
                <a:lnTo>
                  <a:pt x="13342" y="12696"/>
                </a:lnTo>
                <a:lnTo>
                  <a:pt x="13348" y="12713"/>
                </a:lnTo>
                <a:lnTo>
                  <a:pt x="13353" y="12730"/>
                </a:lnTo>
                <a:lnTo>
                  <a:pt x="13358" y="12749"/>
                </a:lnTo>
                <a:lnTo>
                  <a:pt x="13361" y="12767"/>
                </a:lnTo>
                <a:lnTo>
                  <a:pt x="13363" y="12786"/>
                </a:lnTo>
                <a:lnTo>
                  <a:pt x="13364" y="12805"/>
                </a:lnTo>
                <a:lnTo>
                  <a:pt x="13365" y="12823"/>
                </a:lnTo>
                <a:close/>
                <a:moveTo>
                  <a:pt x="14728" y="11945"/>
                </a:moveTo>
                <a:lnTo>
                  <a:pt x="14700" y="11907"/>
                </a:lnTo>
                <a:lnTo>
                  <a:pt x="14673" y="11870"/>
                </a:lnTo>
                <a:lnTo>
                  <a:pt x="14644" y="11834"/>
                </a:lnTo>
                <a:lnTo>
                  <a:pt x="14616" y="11797"/>
                </a:lnTo>
                <a:lnTo>
                  <a:pt x="14586" y="11762"/>
                </a:lnTo>
                <a:lnTo>
                  <a:pt x="14555" y="11726"/>
                </a:lnTo>
                <a:lnTo>
                  <a:pt x="14525" y="11692"/>
                </a:lnTo>
                <a:lnTo>
                  <a:pt x="14493" y="11657"/>
                </a:lnTo>
                <a:lnTo>
                  <a:pt x="14461" y="11625"/>
                </a:lnTo>
                <a:lnTo>
                  <a:pt x="14429" y="11592"/>
                </a:lnTo>
                <a:lnTo>
                  <a:pt x="14396" y="11559"/>
                </a:lnTo>
                <a:lnTo>
                  <a:pt x="14362" y="11527"/>
                </a:lnTo>
                <a:lnTo>
                  <a:pt x="14328" y="11497"/>
                </a:lnTo>
                <a:lnTo>
                  <a:pt x="14294" y="11466"/>
                </a:lnTo>
                <a:lnTo>
                  <a:pt x="14259" y="11436"/>
                </a:lnTo>
                <a:lnTo>
                  <a:pt x="14223" y="11407"/>
                </a:lnTo>
                <a:lnTo>
                  <a:pt x="14187" y="11378"/>
                </a:lnTo>
                <a:lnTo>
                  <a:pt x="14152" y="11350"/>
                </a:lnTo>
                <a:lnTo>
                  <a:pt x="14115" y="11323"/>
                </a:lnTo>
                <a:lnTo>
                  <a:pt x="14077" y="11295"/>
                </a:lnTo>
                <a:lnTo>
                  <a:pt x="14039" y="11269"/>
                </a:lnTo>
                <a:lnTo>
                  <a:pt x="14001" y="11244"/>
                </a:lnTo>
                <a:lnTo>
                  <a:pt x="13963" y="11218"/>
                </a:lnTo>
                <a:lnTo>
                  <a:pt x="13924" y="11194"/>
                </a:lnTo>
                <a:lnTo>
                  <a:pt x="13884" y="11170"/>
                </a:lnTo>
                <a:lnTo>
                  <a:pt x="13844" y="11148"/>
                </a:lnTo>
                <a:lnTo>
                  <a:pt x="13803" y="11125"/>
                </a:lnTo>
                <a:lnTo>
                  <a:pt x="13763" y="11104"/>
                </a:lnTo>
                <a:lnTo>
                  <a:pt x="13722" y="11082"/>
                </a:lnTo>
                <a:lnTo>
                  <a:pt x="13681" y="11062"/>
                </a:lnTo>
                <a:lnTo>
                  <a:pt x="13639" y="11042"/>
                </a:lnTo>
                <a:lnTo>
                  <a:pt x="13597" y="11023"/>
                </a:lnTo>
                <a:lnTo>
                  <a:pt x="13597" y="10487"/>
                </a:lnTo>
                <a:lnTo>
                  <a:pt x="13734" y="10487"/>
                </a:lnTo>
                <a:lnTo>
                  <a:pt x="13770" y="10486"/>
                </a:lnTo>
                <a:lnTo>
                  <a:pt x="13804" y="10483"/>
                </a:lnTo>
                <a:lnTo>
                  <a:pt x="13839" y="10479"/>
                </a:lnTo>
                <a:lnTo>
                  <a:pt x="13873" y="10473"/>
                </a:lnTo>
                <a:lnTo>
                  <a:pt x="13905" y="10465"/>
                </a:lnTo>
                <a:lnTo>
                  <a:pt x="13938" y="10456"/>
                </a:lnTo>
                <a:lnTo>
                  <a:pt x="13971" y="10444"/>
                </a:lnTo>
                <a:lnTo>
                  <a:pt x="14001" y="10432"/>
                </a:lnTo>
                <a:lnTo>
                  <a:pt x="14032" y="10418"/>
                </a:lnTo>
                <a:lnTo>
                  <a:pt x="14062" y="10402"/>
                </a:lnTo>
                <a:lnTo>
                  <a:pt x="14090" y="10385"/>
                </a:lnTo>
                <a:lnTo>
                  <a:pt x="14118" y="10366"/>
                </a:lnTo>
                <a:lnTo>
                  <a:pt x="14145" y="10347"/>
                </a:lnTo>
                <a:lnTo>
                  <a:pt x="14171" y="10327"/>
                </a:lnTo>
                <a:lnTo>
                  <a:pt x="14196" y="10304"/>
                </a:lnTo>
                <a:lnTo>
                  <a:pt x="14219" y="10282"/>
                </a:lnTo>
                <a:lnTo>
                  <a:pt x="14243" y="10257"/>
                </a:lnTo>
                <a:lnTo>
                  <a:pt x="14264" y="10231"/>
                </a:lnTo>
                <a:lnTo>
                  <a:pt x="14285" y="10206"/>
                </a:lnTo>
                <a:lnTo>
                  <a:pt x="14303" y="10178"/>
                </a:lnTo>
                <a:lnTo>
                  <a:pt x="14321" y="10149"/>
                </a:lnTo>
                <a:lnTo>
                  <a:pt x="14338" y="10121"/>
                </a:lnTo>
                <a:lnTo>
                  <a:pt x="14353" y="10090"/>
                </a:lnTo>
                <a:lnTo>
                  <a:pt x="14366" y="10059"/>
                </a:lnTo>
                <a:lnTo>
                  <a:pt x="14379" y="10028"/>
                </a:lnTo>
                <a:lnTo>
                  <a:pt x="14389" y="9996"/>
                </a:lnTo>
                <a:lnTo>
                  <a:pt x="14398" y="9963"/>
                </a:lnTo>
                <a:lnTo>
                  <a:pt x="14406" y="9929"/>
                </a:lnTo>
                <a:lnTo>
                  <a:pt x="14412" y="9895"/>
                </a:lnTo>
                <a:lnTo>
                  <a:pt x="14416" y="9861"/>
                </a:lnTo>
                <a:lnTo>
                  <a:pt x="14419" y="9825"/>
                </a:lnTo>
                <a:lnTo>
                  <a:pt x="14419" y="9790"/>
                </a:lnTo>
                <a:lnTo>
                  <a:pt x="14419" y="9358"/>
                </a:lnTo>
                <a:lnTo>
                  <a:pt x="14419" y="9322"/>
                </a:lnTo>
                <a:lnTo>
                  <a:pt x="14416" y="9287"/>
                </a:lnTo>
                <a:lnTo>
                  <a:pt x="14412" y="9253"/>
                </a:lnTo>
                <a:lnTo>
                  <a:pt x="14406" y="9219"/>
                </a:lnTo>
                <a:lnTo>
                  <a:pt x="14398" y="9186"/>
                </a:lnTo>
                <a:lnTo>
                  <a:pt x="14389" y="9153"/>
                </a:lnTo>
                <a:lnTo>
                  <a:pt x="14379" y="9122"/>
                </a:lnTo>
                <a:lnTo>
                  <a:pt x="14366" y="9090"/>
                </a:lnTo>
                <a:lnTo>
                  <a:pt x="14353" y="9060"/>
                </a:lnTo>
                <a:lnTo>
                  <a:pt x="14338" y="9030"/>
                </a:lnTo>
                <a:lnTo>
                  <a:pt x="14321" y="9002"/>
                </a:lnTo>
                <a:lnTo>
                  <a:pt x="14303" y="8974"/>
                </a:lnTo>
                <a:lnTo>
                  <a:pt x="14285" y="8948"/>
                </a:lnTo>
                <a:lnTo>
                  <a:pt x="14264" y="8921"/>
                </a:lnTo>
                <a:lnTo>
                  <a:pt x="14243" y="8896"/>
                </a:lnTo>
                <a:lnTo>
                  <a:pt x="14219" y="8873"/>
                </a:lnTo>
                <a:lnTo>
                  <a:pt x="14196" y="8850"/>
                </a:lnTo>
                <a:lnTo>
                  <a:pt x="14171" y="8829"/>
                </a:lnTo>
                <a:lnTo>
                  <a:pt x="14145" y="8809"/>
                </a:lnTo>
                <a:lnTo>
                  <a:pt x="14118" y="8790"/>
                </a:lnTo>
                <a:lnTo>
                  <a:pt x="14090" y="8773"/>
                </a:lnTo>
                <a:lnTo>
                  <a:pt x="14062" y="8756"/>
                </a:lnTo>
                <a:lnTo>
                  <a:pt x="14032" y="8741"/>
                </a:lnTo>
                <a:lnTo>
                  <a:pt x="14001" y="8727"/>
                </a:lnTo>
                <a:lnTo>
                  <a:pt x="13971" y="8715"/>
                </a:lnTo>
                <a:lnTo>
                  <a:pt x="13938" y="8705"/>
                </a:lnTo>
                <a:lnTo>
                  <a:pt x="13905" y="8696"/>
                </a:lnTo>
                <a:lnTo>
                  <a:pt x="13873" y="8688"/>
                </a:lnTo>
                <a:lnTo>
                  <a:pt x="13839" y="8681"/>
                </a:lnTo>
                <a:lnTo>
                  <a:pt x="13804" y="8677"/>
                </a:lnTo>
                <a:lnTo>
                  <a:pt x="13770" y="8675"/>
                </a:lnTo>
                <a:lnTo>
                  <a:pt x="13734" y="8674"/>
                </a:lnTo>
                <a:lnTo>
                  <a:pt x="11158" y="8674"/>
                </a:lnTo>
                <a:lnTo>
                  <a:pt x="11123" y="8675"/>
                </a:lnTo>
                <a:lnTo>
                  <a:pt x="11087" y="8677"/>
                </a:lnTo>
                <a:lnTo>
                  <a:pt x="11053" y="8681"/>
                </a:lnTo>
                <a:lnTo>
                  <a:pt x="11019" y="8688"/>
                </a:lnTo>
                <a:lnTo>
                  <a:pt x="10985" y="8696"/>
                </a:lnTo>
                <a:lnTo>
                  <a:pt x="10952" y="8705"/>
                </a:lnTo>
                <a:lnTo>
                  <a:pt x="10920" y="8715"/>
                </a:lnTo>
                <a:lnTo>
                  <a:pt x="10889" y="8727"/>
                </a:lnTo>
                <a:lnTo>
                  <a:pt x="10857" y="8741"/>
                </a:lnTo>
                <a:lnTo>
                  <a:pt x="10828" y="8756"/>
                </a:lnTo>
                <a:lnTo>
                  <a:pt x="10799" y="8773"/>
                </a:lnTo>
                <a:lnTo>
                  <a:pt x="10771" y="8790"/>
                </a:lnTo>
                <a:lnTo>
                  <a:pt x="10743" y="8809"/>
                </a:lnTo>
                <a:lnTo>
                  <a:pt x="10716" y="8829"/>
                </a:lnTo>
                <a:lnTo>
                  <a:pt x="10692" y="8850"/>
                </a:lnTo>
                <a:lnTo>
                  <a:pt x="10667" y="8873"/>
                </a:lnTo>
                <a:lnTo>
                  <a:pt x="10644" y="8896"/>
                </a:lnTo>
                <a:lnTo>
                  <a:pt x="10622" y="8921"/>
                </a:lnTo>
                <a:lnTo>
                  <a:pt x="10601" y="8948"/>
                </a:lnTo>
                <a:lnTo>
                  <a:pt x="10582" y="8974"/>
                </a:lnTo>
                <a:lnTo>
                  <a:pt x="10564" y="9002"/>
                </a:lnTo>
                <a:lnTo>
                  <a:pt x="10547" y="9030"/>
                </a:lnTo>
                <a:lnTo>
                  <a:pt x="10532" y="9060"/>
                </a:lnTo>
                <a:lnTo>
                  <a:pt x="10517" y="9090"/>
                </a:lnTo>
                <a:lnTo>
                  <a:pt x="10505" y="9122"/>
                </a:lnTo>
                <a:lnTo>
                  <a:pt x="10494" y="9153"/>
                </a:lnTo>
                <a:lnTo>
                  <a:pt x="10484" y="9186"/>
                </a:lnTo>
                <a:lnTo>
                  <a:pt x="10476" y="9219"/>
                </a:lnTo>
                <a:lnTo>
                  <a:pt x="10470" y="9253"/>
                </a:lnTo>
                <a:lnTo>
                  <a:pt x="10466" y="9287"/>
                </a:lnTo>
                <a:lnTo>
                  <a:pt x="10463" y="9322"/>
                </a:lnTo>
                <a:lnTo>
                  <a:pt x="10462" y="9358"/>
                </a:lnTo>
                <a:lnTo>
                  <a:pt x="10462" y="9790"/>
                </a:lnTo>
                <a:lnTo>
                  <a:pt x="10463" y="9825"/>
                </a:lnTo>
                <a:lnTo>
                  <a:pt x="10466" y="9861"/>
                </a:lnTo>
                <a:lnTo>
                  <a:pt x="10470" y="9895"/>
                </a:lnTo>
                <a:lnTo>
                  <a:pt x="10476" y="9929"/>
                </a:lnTo>
                <a:lnTo>
                  <a:pt x="10484" y="9963"/>
                </a:lnTo>
                <a:lnTo>
                  <a:pt x="10494" y="9996"/>
                </a:lnTo>
                <a:lnTo>
                  <a:pt x="10505" y="10028"/>
                </a:lnTo>
                <a:lnTo>
                  <a:pt x="10517" y="10059"/>
                </a:lnTo>
                <a:lnTo>
                  <a:pt x="10532" y="10090"/>
                </a:lnTo>
                <a:lnTo>
                  <a:pt x="10547" y="10121"/>
                </a:lnTo>
                <a:lnTo>
                  <a:pt x="10564" y="10149"/>
                </a:lnTo>
                <a:lnTo>
                  <a:pt x="10582" y="10178"/>
                </a:lnTo>
                <a:lnTo>
                  <a:pt x="10601" y="10206"/>
                </a:lnTo>
                <a:lnTo>
                  <a:pt x="10622" y="10231"/>
                </a:lnTo>
                <a:lnTo>
                  <a:pt x="10644" y="10257"/>
                </a:lnTo>
                <a:lnTo>
                  <a:pt x="10667" y="10282"/>
                </a:lnTo>
                <a:lnTo>
                  <a:pt x="10692" y="10304"/>
                </a:lnTo>
                <a:lnTo>
                  <a:pt x="10716" y="10327"/>
                </a:lnTo>
                <a:lnTo>
                  <a:pt x="10743" y="10347"/>
                </a:lnTo>
                <a:lnTo>
                  <a:pt x="10771" y="10366"/>
                </a:lnTo>
                <a:lnTo>
                  <a:pt x="10799" y="10385"/>
                </a:lnTo>
                <a:lnTo>
                  <a:pt x="10828" y="10402"/>
                </a:lnTo>
                <a:lnTo>
                  <a:pt x="10857" y="10418"/>
                </a:lnTo>
                <a:lnTo>
                  <a:pt x="10889" y="10432"/>
                </a:lnTo>
                <a:lnTo>
                  <a:pt x="10920" y="10444"/>
                </a:lnTo>
                <a:lnTo>
                  <a:pt x="10952" y="10456"/>
                </a:lnTo>
                <a:lnTo>
                  <a:pt x="10985" y="10465"/>
                </a:lnTo>
                <a:lnTo>
                  <a:pt x="11019" y="10473"/>
                </a:lnTo>
                <a:lnTo>
                  <a:pt x="11053" y="10479"/>
                </a:lnTo>
                <a:lnTo>
                  <a:pt x="11087" y="10483"/>
                </a:lnTo>
                <a:lnTo>
                  <a:pt x="11123" y="10486"/>
                </a:lnTo>
                <a:lnTo>
                  <a:pt x="11158" y="10487"/>
                </a:lnTo>
                <a:lnTo>
                  <a:pt x="11286" y="10487"/>
                </a:lnTo>
                <a:lnTo>
                  <a:pt x="11286" y="11025"/>
                </a:lnTo>
                <a:lnTo>
                  <a:pt x="11195" y="11069"/>
                </a:lnTo>
                <a:lnTo>
                  <a:pt x="11105" y="11116"/>
                </a:lnTo>
                <a:lnTo>
                  <a:pt x="11018" y="11166"/>
                </a:lnTo>
                <a:lnTo>
                  <a:pt x="10933" y="11219"/>
                </a:lnTo>
                <a:lnTo>
                  <a:pt x="10850" y="11276"/>
                </a:lnTo>
                <a:lnTo>
                  <a:pt x="10769" y="11335"/>
                </a:lnTo>
                <a:lnTo>
                  <a:pt x="10691" y="11396"/>
                </a:lnTo>
                <a:lnTo>
                  <a:pt x="10614" y="11461"/>
                </a:lnTo>
                <a:lnTo>
                  <a:pt x="10541" y="11527"/>
                </a:lnTo>
                <a:lnTo>
                  <a:pt x="10470" y="11596"/>
                </a:lnTo>
                <a:lnTo>
                  <a:pt x="10401" y="11668"/>
                </a:lnTo>
                <a:lnTo>
                  <a:pt x="10335" y="11742"/>
                </a:lnTo>
                <a:lnTo>
                  <a:pt x="10272" y="11818"/>
                </a:lnTo>
                <a:lnTo>
                  <a:pt x="10211" y="11896"/>
                </a:lnTo>
                <a:lnTo>
                  <a:pt x="10152" y="11977"/>
                </a:lnTo>
                <a:lnTo>
                  <a:pt x="10098" y="12059"/>
                </a:lnTo>
                <a:lnTo>
                  <a:pt x="10045" y="12143"/>
                </a:lnTo>
                <a:lnTo>
                  <a:pt x="9996" y="12229"/>
                </a:lnTo>
                <a:lnTo>
                  <a:pt x="9950" y="12317"/>
                </a:lnTo>
                <a:lnTo>
                  <a:pt x="9907" y="12406"/>
                </a:lnTo>
                <a:lnTo>
                  <a:pt x="9866" y="12497"/>
                </a:lnTo>
                <a:lnTo>
                  <a:pt x="9830" y="12589"/>
                </a:lnTo>
                <a:lnTo>
                  <a:pt x="9796" y="12683"/>
                </a:lnTo>
                <a:lnTo>
                  <a:pt x="9766" y="12778"/>
                </a:lnTo>
                <a:lnTo>
                  <a:pt x="9739" y="12875"/>
                </a:lnTo>
                <a:lnTo>
                  <a:pt x="9715" y="12972"/>
                </a:lnTo>
                <a:lnTo>
                  <a:pt x="9695" y="13071"/>
                </a:lnTo>
                <a:lnTo>
                  <a:pt x="9678" y="13171"/>
                </a:lnTo>
                <a:lnTo>
                  <a:pt x="9665" y="13271"/>
                </a:lnTo>
                <a:lnTo>
                  <a:pt x="9656" y="13372"/>
                </a:lnTo>
                <a:lnTo>
                  <a:pt x="9651" y="13475"/>
                </a:lnTo>
                <a:lnTo>
                  <a:pt x="9649" y="13578"/>
                </a:lnTo>
                <a:lnTo>
                  <a:pt x="9652" y="13721"/>
                </a:lnTo>
                <a:lnTo>
                  <a:pt x="9663" y="13864"/>
                </a:lnTo>
                <a:lnTo>
                  <a:pt x="9680" y="14004"/>
                </a:lnTo>
                <a:lnTo>
                  <a:pt x="9706" y="14142"/>
                </a:lnTo>
                <a:lnTo>
                  <a:pt x="9737" y="14277"/>
                </a:lnTo>
                <a:lnTo>
                  <a:pt x="9774" y="14410"/>
                </a:lnTo>
                <a:lnTo>
                  <a:pt x="9818" y="14540"/>
                </a:lnTo>
                <a:lnTo>
                  <a:pt x="9869" y="14667"/>
                </a:lnTo>
                <a:lnTo>
                  <a:pt x="9926" y="14791"/>
                </a:lnTo>
                <a:lnTo>
                  <a:pt x="9987" y="14912"/>
                </a:lnTo>
                <a:lnTo>
                  <a:pt x="10054" y="15030"/>
                </a:lnTo>
                <a:lnTo>
                  <a:pt x="10128" y="15143"/>
                </a:lnTo>
                <a:lnTo>
                  <a:pt x="10206" y="15253"/>
                </a:lnTo>
                <a:lnTo>
                  <a:pt x="10289" y="15359"/>
                </a:lnTo>
                <a:lnTo>
                  <a:pt x="10377" y="15461"/>
                </a:lnTo>
                <a:lnTo>
                  <a:pt x="10470" y="15558"/>
                </a:lnTo>
                <a:lnTo>
                  <a:pt x="10567" y="15651"/>
                </a:lnTo>
                <a:lnTo>
                  <a:pt x="10669" y="15739"/>
                </a:lnTo>
                <a:lnTo>
                  <a:pt x="10775" y="15823"/>
                </a:lnTo>
                <a:lnTo>
                  <a:pt x="10885" y="15901"/>
                </a:lnTo>
                <a:lnTo>
                  <a:pt x="10998" y="15974"/>
                </a:lnTo>
                <a:lnTo>
                  <a:pt x="11116" y="16041"/>
                </a:lnTo>
                <a:lnTo>
                  <a:pt x="11237" y="16104"/>
                </a:lnTo>
                <a:lnTo>
                  <a:pt x="11360" y="16160"/>
                </a:lnTo>
                <a:lnTo>
                  <a:pt x="11488" y="16210"/>
                </a:lnTo>
                <a:lnTo>
                  <a:pt x="11618" y="16254"/>
                </a:lnTo>
                <a:lnTo>
                  <a:pt x="11750" y="16292"/>
                </a:lnTo>
                <a:lnTo>
                  <a:pt x="11885" y="16323"/>
                </a:lnTo>
                <a:lnTo>
                  <a:pt x="12023" y="16347"/>
                </a:lnTo>
                <a:lnTo>
                  <a:pt x="12163" y="16366"/>
                </a:lnTo>
                <a:lnTo>
                  <a:pt x="12305" y="16376"/>
                </a:lnTo>
                <a:lnTo>
                  <a:pt x="12449" y="16380"/>
                </a:lnTo>
                <a:lnTo>
                  <a:pt x="12593" y="16376"/>
                </a:lnTo>
                <a:lnTo>
                  <a:pt x="12735" y="16366"/>
                </a:lnTo>
                <a:lnTo>
                  <a:pt x="12875" y="16347"/>
                </a:lnTo>
                <a:lnTo>
                  <a:pt x="13012" y="16323"/>
                </a:lnTo>
                <a:lnTo>
                  <a:pt x="13148" y="16292"/>
                </a:lnTo>
                <a:lnTo>
                  <a:pt x="13280" y="16254"/>
                </a:lnTo>
                <a:lnTo>
                  <a:pt x="13411" y="16210"/>
                </a:lnTo>
                <a:lnTo>
                  <a:pt x="13538" y="16160"/>
                </a:lnTo>
                <a:lnTo>
                  <a:pt x="13661" y="16104"/>
                </a:lnTo>
                <a:lnTo>
                  <a:pt x="13782" y="16041"/>
                </a:lnTo>
                <a:lnTo>
                  <a:pt x="13899" y="15974"/>
                </a:lnTo>
                <a:lnTo>
                  <a:pt x="14013" y="15901"/>
                </a:lnTo>
                <a:lnTo>
                  <a:pt x="14122" y="15823"/>
                </a:lnTo>
                <a:lnTo>
                  <a:pt x="14227" y="15739"/>
                </a:lnTo>
                <a:lnTo>
                  <a:pt x="14329" y="15651"/>
                </a:lnTo>
                <a:lnTo>
                  <a:pt x="14427" y="15558"/>
                </a:lnTo>
                <a:lnTo>
                  <a:pt x="14518" y="15461"/>
                </a:lnTo>
                <a:lnTo>
                  <a:pt x="14607" y="15359"/>
                </a:lnTo>
                <a:lnTo>
                  <a:pt x="14690" y="15253"/>
                </a:lnTo>
                <a:lnTo>
                  <a:pt x="14768" y="15143"/>
                </a:lnTo>
                <a:lnTo>
                  <a:pt x="14840" y="15030"/>
                </a:lnTo>
                <a:lnTo>
                  <a:pt x="14908" y="14912"/>
                </a:lnTo>
                <a:lnTo>
                  <a:pt x="14970" y="14791"/>
                </a:lnTo>
                <a:lnTo>
                  <a:pt x="15026" y="14667"/>
                </a:lnTo>
                <a:lnTo>
                  <a:pt x="15076" y="14540"/>
                </a:lnTo>
                <a:lnTo>
                  <a:pt x="15120" y="14410"/>
                </a:lnTo>
                <a:lnTo>
                  <a:pt x="15158" y="14277"/>
                </a:lnTo>
                <a:lnTo>
                  <a:pt x="15189" y="14142"/>
                </a:lnTo>
                <a:lnTo>
                  <a:pt x="15213" y="14004"/>
                </a:lnTo>
                <a:lnTo>
                  <a:pt x="15232" y="13864"/>
                </a:lnTo>
                <a:lnTo>
                  <a:pt x="15242" y="13721"/>
                </a:lnTo>
                <a:lnTo>
                  <a:pt x="15246" y="13578"/>
                </a:lnTo>
                <a:lnTo>
                  <a:pt x="15245" y="13522"/>
                </a:lnTo>
                <a:lnTo>
                  <a:pt x="15244" y="13466"/>
                </a:lnTo>
                <a:lnTo>
                  <a:pt x="15241" y="13412"/>
                </a:lnTo>
                <a:lnTo>
                  <a:pt x="15238" y="13357"/>
                </a:lnTo>
                <a:lnTo>
                  <a:pt x="15233" y="13302"/>
                </a:lnTo>
                <a:lnTo>
                  <a:pt x="15228" y="13247"/>
                </a:lnTo>
                <a:lnTo>
                  <a:pt x="15220" y="13193"/>
                </a:lnTo>
                <a:lnTo>
                  <a:pt x="15212" y="13139"/>
                </a:lnTo>
                <a:lnTo>
                  <a:pt x="15204" y="13086"/>
                </a:lnTo>
                <a:lnTo>
                  <a:pt x="15194" y="13032"/>
                </a:lnTo>
                <a:lnTo>
                  <a:pt x="15183" y="12979"/>
                </a:lnTo>
                <a:lnTo>
                  <a:pt x="15171" y="12926"/>
                </a:lnTo>
                <a:lnTo>
                  <a:pt x="15158" y="12873"/>
                </a:lnTo>
                <a:lnTo>
                  <a:pt x="15144" y="12820"/>
                </a:lnTo>
                <a:lnTo>
                  <a:pt x="15130" y="12768"/>
                </a:lnTo>
                <a:lnTo>
                  <a:pt x="15113" y="12717"/>
                </a:lnTo>
                <a:lnTo>
                  <a:pt x="15097" y="12666"/>
                </a:lnTo>
                <a:lnTo>
                  <a:pt x="15078" y="12615"/>
                </a:lnTo>
                <a:lnTo>
                  <a:pt x="15060" y="12564"/>
                </a:lnTo>
                <a:lnTo>
                  <a:pt x="15041" y="12514"/>
                </a:lnTo>
                <a:lnTo>
                  <a:pt x="15019" y="12464"/>
                </a:lnTo>
                <a:lnTo>
                  <a:pt x="14998" y="12415"/>
                </a:lnTo>
                <a:lnTo>
                  <a:pt x="14975" y="12366"/>
                </a:lnTo>
                <a:lnTo>
                  <a:pt x="14952" y="12317"/>
                </a:lnTo>
                <a:lnTo>
                  <a:pt x="14926" y="12269"/>
                </a:lnTo>
                <a:lnTo>
                  <a:pt x="14901" y="12222"/>
                </a:lnTo>
                <a:lnTo>
                  <a:pt x="14875" y="12173"/>
                </a:lnTo>
                <a:lnTo>
                  <a:pt x="14848" y="12127"/>
                </a:lnTo>
                <a:lnTo>
                  <a:pt x="14819" y="12081"/>
                </a:lnTo>
                <a:lnTo>
                  <a:pt x="14789" y="12035"/>
                </a:lnTo>
                <a:lnTo>
                  <a:pt x="14760" y="11990"/>
                </a:lnTo>
                <a:lnTo>
                  <a:pt x="14728" y="11945"/>
                </a:lnTo>
                <a:close/>
                <a:moveTo>
                  <a:pt x="12450" y="15728"/>
                </a:moveTo>
                <a:lnTo>
                  <a:pt x="12340" y="15725"/>
                </a:lnTo>
                <a:lnTo>
                  <a:pt x="12231" y="15717"/>
                </a:lnTo>
                <a:lnTo>
                  <a:pt x="12123" y="15703"/>
                </a:lnTo>
                <a:lnTo>
                  <a:pt x="12018" y="15684"/>
                </a:lnTo>
                <a:lnTo>
                  <a:pt x="11914" y="15660"/>
                </a:lnTo>
                <a:lnTo>
                  <a:pt x="11812" y="15631"/>
                </a:lnTo>
                <a:lnTo>
                  <a:pt x="11713" y="15597"/>
                </a:lnTo>
                <a:lnTo>
                  <a:pt x="11615" y="15559"/>
                </a:lnTo>
                <a:lnTo>
                  <a:pt x="11520" y="15516"/>
                </a:lnTo>
                <a:lnTo>
                  <a:pt x="11427" y="15468"/>
                </a:lnTo>
                <a:lnTo>
                  <a:pt x="11337" y="15417"/>
                </a:lnTo>
                <a:lnTo>
                  <a:pt x="11250" y="15360"/>
                </a:lnTo>
                <a:lnTo>
                  <a:pt x="11165" y="15300"/>
                </a:lnTo>
                <a:lnTo>
                  <a:pt x="11084" y="15236"/>
                </a:lnTo>
                <a:lnTo>
                  <a:pt x="11006" y="15169"/>
                </a:lnTo>
                <a:lnTo>
                  <a:pt x="10931" y="15097"/>
                </a:lnTo>
                <a:lnTo>
                  <a:pt x="10861" y="15023"/>
                </a:lnTo>
                <a:lnTo>
                  <a:pt x="10792" y="14945"/>
                </a:lnTo>
                <a:lnTo>
                  <a:pt x="10729" y="14864"/>
                </a:lnTo>
                <a:lnTo>
                  <a:pt x="10668" y="14779"/>
                </a:lnTo>
                <a:lnTo>
                  <a:pt x="10612" y="14692"/>
                </a:lnTo>
                <a:lnTo>
                  <a:pt x="10561" y="14602"/>
                </a:lnTo>
                <a:lnTo>
                  <a:pt x="10513" y="14509"/>
                </a:lnTo>
                <a:lnTo>
                  <a:pt x="10470" y="14414"/>
                </a:lnTo>
                <a:lnTo>
                  <a:pt x="10431" y="14316"/>
                </a:lnTo>
                <a:lnTo>
                  <a:pt x="10398" y="14217"/>
                </a:lnTo>
                <a:lnTo>
                  <a:pt x="10369" y="14114"/>
                </a:lnTo>
                <a:lnTo>
                  <a:pt x="10345" y="14010"/>
                </a:lnTo>
                <a:lnTo>
                  <a:pt x="10326" y="13905"/>
                </a:lnTo>
                <a:lnTo>
                  <a:pt x="10312" y="13797"/>
                </a:lnTo>
                <a:lnTo>
                  <a:pt x="10304" y="13689"/>
                </a:lnTo>
                <a:lnTo>
                  <a:pt x="10301" y="13578"/>
                </a:lnTo>
                <a:lnTo>
                  <a:pt x="10303" y="13493"/>
                </a:lnTo>
                <a:lnTo>
                  <a:pt x="10308" y="13409"/>
                </a:lnTo>
                <a:lnTo>
                  <a:pt x="10316" y="13326"/>
                </a:lnTo>
                <a:lnTo>
                  <a:pt x="10327" y="13243"/>
                </a:lnTo>
                <a:lnTo>
                  <a:pt x="10341" y="13162"/>
                </a:lnTo>
                <a:lnTo>
                  <a:pt x="10359" y="13081"/>
                </a:lnTo>
                <a:lnTo>
                  <a:pt x="10379" y="13002"/>
                </a:lnTo>
                <a:lnTo>
                  <a:pt x="10403" y="12923"/>
                </a:lnTo>
                <a:lnTo>
                  <a:pt x="10429" y="12845"/>
                </a:lnTo>
                <a:lnTo>
                  <a:pt x="10459" y="12769"/>
                </a:lnTo>
                <a:lnTo>
                  <a:pt x="10491" y="12693"/>
                </a:lnTo>
                <a:lnTo>
                  <a:pt x="10525" y="12620"/>
                </a:lnTo>
                <a:lnTo>
                  <a:pt x="10563" y="12548"/>
                </a:lnTo>
                <a:lnTo>
                  <a:pt x="10603" y="12477"/>
                </a:lnTo>
                <a:lnTo>
                  <a:pt x="10646" y="12408"/>
                </a:lnTo>
                <a:lnTo>
                  <a:pt x="10692" y="12340"/>
                </a:lnTo>
                <a:lnTo>
                  <a:pt x="10739" y="12275"/>
                </a:lnTo>
                <a:lnTo>
                  <a:pt x="10790" y="12211"/>
                </a:lnTo>
                <a:lnTo>
                  <a:pt x="10842" y="12149"/>
                </a:lnTo>
                <a:lnTo>
                  <a:pt x="10897" y="12088"/>
                </a:lnTo>
                <a:lnTo>
                  <a:pt x="10955" y="12031"/>
                </a:lnTo>
                <a:lnTo>
                  <a:pt x="11014" y="11975"/>
                </a:lnTo>
                <a:lnTo>
                  <a:pt x="11076" y="11922"/>
                </a:lnTo>
                <a:lnTo>
                  <a:pt x="11139" y="11870"/>
                </a:lnTo>
                <a:lnTo>
                  <a:pt x="11206" y="11821"/>
                </a:lnTo>
                <a:lnTo>
                  <a:pt x="11273" y="11774"/>
                </a:lnTo>
                <a:lnTo>
                  <a:pt x="11344" y="11730"/>
                </a:lnTo>
                <a:lnTo>
                  <a:pt x="11415" y="11689"/>
                </a:lnTo>
                <a:lnTo>
                  <a:pt x="11489" y="11650"/>
                </a:lnTo>
                <a:lnTo>
                  <a:pt x="11565" y="11614"/>
                </a:lnTo>
                <a:lnTo>
                  <a:pt x="11642" y="11581"/>
                </a:lnTo>
                <a:lnTo>
                  <a:pt x="11721" y="11551"/>
                </a:lnTo>
                <a:lnTo>
                  <a:pt x="11744" y="11541"/>
                </a:lnTo>
                <a:lnTo>
                  <a:pt x="11767" y="11529"/>
                </a:lnTo>
                <a:lnTo>
                  <a:pt x="11788" y="11516"/>
                </a:lnTo>
                <a:lnTo>
                  <a:pt x="11808" y="11502"/>
                </a:lnTo>
                <a:lnTo>
                  <a:pt x="11827" y="11486"/>
                </a:lnTo>
                <a:lnTo>
                  <a:pt x="11844" y="11469"/>
                </a:lnTo>
                <a:lnTo>
                  <a:pt x="11860" y="11451"/>
                </a:lnTo>
                <a:lnTo>
                  <a:pt x="11874" y="11431"/>
                </a:lnTo>
                <a:lnTo>
                  <a:pt x="11887" y="11411"/>
                </a:lnTo>
                <a:lnTo>
                  <a:pt x="11899" y="11389"/>
                </a:lnTo>
                <a:lnTo>
                  <a:pt x="11909" y="11367"/>
                </a:lnTo>
                <a:lnTo>
                  <a:pt x="11917" y="11343"/>
                </a:lnTo>
                <a:lnTo>
                  <a:pt x="11923" y="11320"/>
                </a:lnTo>
                <a:lnTo>
                  <a:pt x="11928" y="11295"/>
                </a:lnTo>
                <a:lnTo>
                  <a:pt x="11930" y="11269"/>
                </a:lnTo>
                <a:lnTo>
                  <a:pt x="11931" y="11244"/>
                </a:lnTo>
                <a:lnTo>
                  <a:pt x="11931" y="10098"/>
                </a:lnTo>
                <a:lnTo>
                  <a:pt x="11931" y="10084"/>
                </a:lnTo>
                <a:lnTo>
                  <a:pt x="11930" y="10071"/>
                </a:lnTo>
                <a:lnTo>
                  <a:pt x="11928" y="10057"/>
                </a:lnTo>
                <a:lnTo>
                  <a:pt x="11926" y="10044"/>
                </a:lnTo>
                <a:lnTo>
                  <a:pt x="11923" y="10031"/>
                </a:lnTo>
                <a:lnTo>
                  <a:pt x="11920" y="10017"/>
                </a:lnTo>
                <a:lnTo>
                  <a:pt x="11916" y="10005"/>
                </a:lnTo>
                <a:lnTo>
                  <a:pt x="11912" y="9992"/>
                </a:lnTo>
                <a:lnTo>
                  <a:pt x="11907" y="9981"/>
                </a:lnTo>
                <a:lnTo>
                  <a:pt x="11901" y="9968"/>
                </a:lnTo>
                <a:lnTo>
                  <a:pt x="11895" y="9957"/>
                </a:lnTo>
                <a:lnTo>
                  <a:pt x="11887" y="9946"/>
                </a:lnTo>
                <a:lnTo>
                  <a:pt x="11880" y="9934"/>
                </a:lnTo>
                <a:lnTo>
                  <a:pt x="11873" y="9924"/>
                </a:lnTo>
                <a:lnTo>
                  <a:pt x="11865" y="9914"/>
                </a:lnTo>
                <a:lnTo>
                  <a:pt x="11856" y="9905"/>
                </a:lnTo>
                <a:lnTo>
                  <a:pt x="11848" y="9896"/>
                </a:lnTo>
                <a:lnTo>
                  <a:pt x="11837" y="9886"/>
                </a:lnTo>
                <a:lnTo>
                  <a:pt x="11828" y="9878"/>
                </a:lnTo>
                <a:lnTo>
                  <a:pt x="11818" y="9871"/>
                </a:lnTo>
                <a:lnTo>
                  <a:pt x="11807" y="9864"/>
                </a:lnTo>
                <a:lnTo>
                  <a:pt x="11795" y="9857"/>
                </a:lnTo>
                <a:lnTo>
                  <a:pt x="11784" y="9851"/>
                </a:lnTo>
                <a:lnTo>
                  <a:pt x="11773" y="9845"/>
                </a:lnTo>
                <a:lnTo>
                  <a:pt x="11761" y="9840"/>
                </a:lnTo>
                <a:lnTo>
                  <a:pt x="11748" y="9836"/>
                </a:lnTo>
                <a:lnTo>
                  <a:pt x="11736" y="9832"/>
                </a:lnTo>
                <a:lnTo>
                  <a:pt x="11723" y="9829"/>
                </a:lnTo>
                <a:lnTo>
                  <a:pt x="11710" y="9826"/>
                </a:lnTo>
                <a:lnTo>
                  <a:pt x="11696" y="9825"/>
                </a:lnTo>
                <a:lnTo>
                  <a:pt x="11683" y="9824"/>
                </a:lnTo>
                <a:lnTo>
                  <a:pt x="11669" y="9823"/>
                </a:lnTo>
                <a:lnTo>
                  <a:pt x="11229" y="9823"/>
                </a:lnTo>
                <a:lnTo>
                  <a:pt x="11218" y="9823"/>
                </a:lnTo>
                <a:lnTo>
                  <a:pt x="11207" y="9821"/>
                </a:lnTo>
                <a:lnTo>
                  <a:pt x="11197" y="9819"/>
                </a:lnTo>
                <a:lnTo>
                  <a:pt x="11187" y="9816"/>
                </a:lnTo>
                <a:lnTo>
                  <a:pt x="11178" y="9811"/>
                </a:lnTo>
                <a:lnTo>
                  <a:pt x="11169" y="9805"/>
                </a:lnTo>
                <a:lnTo>
                  <a:pt x="11161" y="9800"/>
                </a:lnTo>
                <a:lnTo>
                  <a:pt x="11154" y="9793"/>
                </a:lnTo>
                <a:lnTo>
                  <a:pt x="11148" y="9786"/>
                </a:lnTo>
                <a:lnTo>
                  <a:pt x="11142" y="9778"/>
                </a:lnTo>
                <a:lnTo>
                  <a:pt x="11136" y="9770"/>
                </a:lnTo>
                <a:lnTo>
                  <a:pt x="11132" y="9760"/>
                </a:lnTo>
                <a:lnTo>
                  <a:pt x="11129" y="9750"/>
                </a:lnTo>
                <a:lnTo>
                  <a:pt x="11126" y="9740"/>
                </a:lnTo>
                <a:lnTo>
                  <a:pt x="11125" y="9730"/>
                </a:lnTo>
                <a:lnTo>
                  <a:pt x="11124" y="9718"/>
                </a:lnTo>
                <a:lnTo>
                  <a:pt x="11124" y="9429"/>
                </a:lnTo>
                <a:lnTo>
                  <a:pt x="11125" y="9417"/>
                </a:lnTo>
                <a:lnTo>
                  <a:pt x="11126" y="9407"/>
                </a:lnTo>
                <a:lnTo>
                  <a:pt x="11129" y="9397"/>
                </a:lnTo>
                <a:lnTo>
                  <a:pt x="11132" y="9387"/>
                </a:lnTo>
                <a:lnTo>
                  <a:pt x="11136" y="9378"/>
                </a:lnTo>
                <a:lnTo>
                  <a:pt x="11142" y="9368"/>
                </a:lnTo>
                <a:lnTo>
                  <a:pt x="11148" y="9360"/>
                </a:lnTo>
                <a:lnTo>
                  <a:pt x="11154" y="9353"/>
                </a:lnTo>
                <a:lnTo>
                  <a:pt x="11161" y="9346"/>
                </a:lnTo>
                <a:lnTo>
                  <a:pt x="11169" y="9340"/>
                </a:lnTo>
                <a:lnTo>
                  <a:pt x="11178" y="9335"/>
                </a:lnTo>
                <a:lnTo>
                  <a:pt x="11187" y="9329"/>
                </a:lnTo>
                <a:lnTo>
                  <a:pt x="11197" y="9326"/>
                </a:lnTo>
                <a:lnTo>
                  <a:pt x="11207" y="9323"/>
                </a:lnTo>
                <a:lnTo>
                  <a:pt x="11218" y="9322"/>
                </a:lnTo>
                <a:lnTo>
                  <a:pt x="11229" y="9321"/>
                </a:lnTo>
                <a:lnTo>
                  <a:pt x="13663" y="9321"/>
                </a:lnTo>
                <a:lnTo>
                  <a:pt x="13675" y="9322"/>
                </a:lnTo>
                <a:lnTo>
                  <a:pt x="13685" y="9323"/>
                </a:lnTo>
                <a:lnTo>
                  <a:pt x="13696" y="9326"/>
                </a:lnTo>
                <a:lnTo>
                  <a:pt x="13705" y="9329"/>
                </a:lnTo>
                <a:lnTo>
                  <a:pt x="13715" y="9335"/>
                </a:lnTo>
                <a:lnTo>
                  <a:pt x="13725" y="9340"/>
                </a:lnTo>
                <a:lnTo>
                  <a:pt x="13733" y="9346"/>
                </a:lnTo>
                <a:lnTo>
                  <a:pt x="13741" y="9353"/>
                </a:lnTo>
                <a:lnTo>
                  <a:pt x="13748" y="9360"/>
                </a:lnTo>
                <a:lnTo>
                  <a:pt x="13754" y="9368"/>
                </a:lnTo>
                <a:lnTo>
                  <a:pt x="13759" y="9378"/>
                </a:lnTo>
                <a:lnTo>
                  <a:pt x="13764" y="9387"/>
                </a:lnTo>
                <a:lnTo>
                  <a:pt x="13769" y="9397"/>
                </a:lnTo>
                <a:lnTo>
                  <a:pt x="13771" y="9407"/>
                </a:lnTo>
                <a:lnTo>
                  <a:pt x="13773" y="9417"/>
                </a:lnTo>
                <a:lnTo>
                  <a:pt x="13774" y="9429"/>
                </a:lnTo>
                <a:lnTo>
                  <a:pt x="13774" y="9718"/>
                </a:lnTo>
                <a:lnTo>
                  <a:pt x="13773" y="9730"/>
                </a:lnTo>
                <a:lnTo>
                  <a:pt x="13771" y="9740"/>
                </a:lnTo>
                <a:lnTo>
                  <a:pt x="13769" y="9750"/>
                </a:lnTo>
                <a:lnTo>
                  <a:pt x="13764" y="9760"/>
                </a:lnTo>
                <a:lnTo>
                  <a:pt x="13759" y="9770"/>
                </a:lnTo>
                <a:lnTo>
                  <a:pt x="13754" y="9778"/>
                </a:lnTo>
                <a:lnTo>
                  <a:pt x="13748" y="9786"/>
                </a:lnTo>
                <a:lnTo>
                  <a:pt x="13741" y="9793"/>
                </a:lnTo>
                <a:lnTo>
                  <a:pt x="13733" y="9800"/>
                </a:lnTo>
                <a:lnTo>
                  <a:pt x="13725" y="9805"/>
                </a:lnTo>
                <a:lnTo>
                  <a:pt x="13715" y="9811"/>
                </a:lnTo>
                <a:lnTo>
                  <a:pt x="13705" y="9816"/>
                </a:lnTo>
                <a:lnTo>
                  <a:pt x="13696" y="9819"/>
                </a:lnTo>
                <a:lnTo>
                  <a:pt x="13685" y="9821"/>
                </a:lnTo>
                <a:lnTo>
                  <a:pt x="13675" y="9823"/>
                </a:lnTo>
                <a:lnTo>
                  <a:pt x="13663" y="9823"/>
                </a:lnTo>
                <a:lnTo>
                  <a:pt x="13223" y="9823"/>
                </a:lnTo>
                <a:lnTo>
                  <a:pt x="13210" y="9824"/>
                </a:lnTo>
                <a:lnTo>
                  <a:pt x="13195" y="9825"/>
                </a:lnTo>
                <a:lnTo>
                  <a:pt x="13182" y="9826"/>
                </a:lnTo>
                <a:lnTo>
                  <a:pt x="13169" y="9829"/>
                </a:lnTo>
                <a:lnTo>
                  <a:pt x="13155" y="9832"/>
                </a:lnTo>
                <a:lnTo>
                  <a:pt x="13142" y="9836"/>
                </a:lnTo>
                <a:lnTo>
                  <a:pt x="13130" y="9840"/>
                </a:lnTo>
                <a:lnTo>
                  <a:pt x="13118" y="9845"/>
                </a:lnTo>
                <a:lnTo>
                  <a:pt x="13105" y="9851"/>
                </a:lnTo>
                <a:lnTo>
                  <a:pt x="13093" y="9857"/>
                </a:lnTo>
                <a:lnTo>
                  <a:pt x="13082" y="9864"/>
                </a:lnTo>
                <a:lnTo>
                  <a:pt x="13071" y="9871"/>
                </a:lnTo>
                <a:lnTo>
                  <a:pt x="13060" y="9878"/>
                </a:lnTo>
                <a:lnTo>
                  <a:pt x="13049" y="9886"/>
                </a:lnTo>
                <a:lnTo>
                  <a:pt x="13040" y="9896"/>
                </a:lnTo>
                <a:lnTo>
                  <a:pt x="13030" y="9905"/>
                </a:lnTo>
                <a:lnTo>
                  <a:pt x="13022" y="9914"/>
                </a:lnTo>
                <a:lnTo>
                  <a:pt x="13012" y="9924"/>
                </a:lnTo>
                <a:lnTo>
                  <a:pt x="13004" y="9934"/>
                </a:lnTo>
                <a:lnTo>
                  <a:pt x="12997" y="9946"/>
                </a:lnTo>
                <a:lnTo>
                  <a:pt x="12990" y="9957"/>
                </a:lnTo>
                <a:lnTo>
                  <a:pt x="12983" y="9968"/>
                </a:lnTo>
                <a:lnTo>
                  <a:pt x="12977" y="9981"/>
                </a:lnTo>
                <a:lnTo>
                  <a:pt x="12972" y="9992"/>
                </a:lnTo>
                <a:lnTo>
                  <a:pt x="12966" y="10005"/>
                </a:lnTo>
                <a:lnTo>
                  <a:pt x="12962" y="10017"/>
                </a:lnTo>
                <a:lnTo>
                  <a:pt x="12958" y="10031"/>
                </a:lnTo>
                <a:lnTo>
                  <a:pt x="12955" y="10044"/>
                </a:lnTo>
                <a:lnTo>
                  <a:pt x="12953" y="10057"/>
                </a:lnTo>
                <a:lnTo>
                  <a:pt x="12951" y="10071"/>
                </a:lnTo>
                <a:lnTo>
                  <a:pt x="12950" y="10084"/>
                </a:lnTo>
                <a:lnTo>
                  <a:pt x="12950" y="10098"/>
                </a:lnTo>
                <a:lnTo>
                  <a:pt x="12950" y="11244"/>
                </a:lnTo>
                <a:lnTo>
                  <a:pt x="12951" y="11269"/>
                </a:lnTo>
                <a:lnTo>
                  <a:pt x="12954" y="11295"/>
                </a:lnTo>
                <a:lnTo>
                  <a:pt x="12959" y="11320"/>
                </a:lnTo>
                <a:lnTo>
                  <a:pt x="12965" y="11344"/>
                </a:lnTo>
                <a:lnTo>
                  <a:pt x="12975" y="11368"/>
                </a:lnTo>
                <a:lnTo>
                  <a:pt x="12985" y="11390"/>
                </a:lnTo>
                <a:lnTo>
                  <a:pt x="12997" y="11412"/>
                </a:lnTo>
                <a:lnTo>
                  <a:pt x="13010" y="11433"/>
                </a:lnTo>
                <a:lnTo>
                  <a:pt x="13026" y="11453"/>
                </a:lnTo>
                <a:lnTo>
                  <a:pt x="13042" y="11471"/>
                </a:lnTo>
                <a:lnTo>
                  <a:pt x="13060" y="11489"/>
                </a:lnTo>
                <a:lnTo>
                  <a:pt x="13080" y="11504"/>
                </a:lnTo>
                <a:lnTo>
                  <a:pt x="13100" y="11518"/>
                </a:lnTo>
                <a:lnTo>
                  <a:pt x="13123" y="11532"/>
                </a:lnTo>
                <a:lnTo>
                  <a:pt x="13145" y="11543"/>
                </a:lnTo>
                <a:lnTo>
                  <a:pt x="13170" y="11552"/>
                </a:lnTo>
                <a:lnTo>
                  <a:pt x="13249" y="11582"/>
                </a:lnTo>
                <a:lnTo>
                  <a:pt x="13328" y="11614"/>
                </a:lnTo>
                <a:lnTo>
                  <a:pt x="13405" y="11649"/>
                </a:lnTo>
                <a:lnTo>
                  <a:pt x="13479" y="11688"/>
                </a:lnTo>
                <a:lnTo>
                  <a:pt x="13552" y="11728"/>
                </a:lnTo>
                <a:lnTo>
                  <a:pt x="13623" y="11771"/>
                </a:lnTo>
                <a:lnTo>
                  <a:pt x="13692" y="11817"/>
                </a:lnTo>
                <a:lnTo>
                  <a:pt x="13758" y="11865"/>
                </a:lnTo>
                <a:lnTo>
                  <a:pt x="13823" y="11915"/>
                </a:lnTo>
                <a:lnTo>
                  <a:pt x="13884" y="11969"/>
                </a:lnTo>
                <a:lnTo>
                  <a:pt x="13944" y="12024"/>
                </a:lnTo>
                <a:lnTo>
                  <a:pt x="14001" y="12080"/>
                </a:lnTo>
                <a:lnTo>
                  <a:pt x="14057" y="12140"/>
                </a:lnTo>
                <a:lnTo>
                  <a:pt x="14110" y="12201"/>
                </a:lnTo>
                <a:lnTo>
                  <a:pt x="14160" y="12265"/>
                </a:lnTo>
                <a:lnTo>
                  <a:pt x="14208" y="12330"/>
                </a:lnTo>
                <a:lnTo>
                  <a:pt x="14253" y="12397"/>
                </a:lnTo>
                <a:lnTo>
                  <a:pt x="14296" y="12465"/>
                </a:lnTo>
                <a:lnTo>
                  <a:pt x="14336" y="12536"/>
                </a:lnTo>
                <a:lnTo>
                  <a:pt x="14373" y="12609"/>
                </a:lnTo>
                <a:lnTo>
                  <a:pt x="14408" y="12682"/>
                </a:lnTo>
                <a:lnTo>
                  <a:pt x="14440" y="12757"/>
                </a:lnTo>
                <a:lnTo>
                  <a:pt x="14468" y="12834"/>
                </a:lnTo>
                <a:lnTo>
                  <a:pt x="14495" y="12912"/>
                </a:lnTo>
                <a:lnTo>
                  <a:pt x="14518" y="12991"/>
                </a:lnTo>
                <a:lnTo>
                  <a:pt x="14539" y="13071"/>
                </a:lnTo>
                <a:lnTo>
                  <a:pt x="14556" y="13153"/>
                </a:lnTo>
                <a:lnTo>
                  <a:pt x="14571" y="13236"/>
                </a:lnTo>
                <a:lnTo>
                  <a:pt x="14582" y="13320"/>
                </a:lnTo>
                <a:lnTo>
                  <a:pt x="14590" y="13405"/>
                </a:lnTo>
                <a:lnTo>
                  <a:pt x="14594" y="13491"/>
                </a:lnTo>
                <a:lnTo>
                  <a:pt x="14596" y="13578"/>
                </a:lnTo>
                <a:lnTo>
                  <a:pt x="14593" y="13689"/>
                </a:lnTo>
                <a:lnTo>
                  <a:pt x="14585" y="13797"/>
                </a:lnTo>
                <a:lnTo>
                  <a:pt x="14572" y="13905"/>
                </a:lnTo>
                <a:lnTo>
                  <a:pt x="14552" y="14010"/>
                </a:lnTo>
                <a:lnTo>
                  <a:pt x="14529" y="14114"/>
                </a:lnTo>
                <a:lnTo>
                  <a:pt x="14499" y="14217"/>
                </a:lnTo>
                <a:lnTo>
                  <a:pt x="14465" y="14316"/>
                </a:lnTo>
                <a:lnTo>
                  <a:pt x="14428" y="14414"/>
                </a:lnTo>
                <a:lnTo>
                  <a:pt x="14385" y="14509"/>
                </a:lnTo>
                <a:lnTo>
                  <a:pt x="14337" y="14602"/>
                </a:lnTo>
                <a:lnTo>
                  <a:pt x="14286" y="14692"/>
                </a:lnTo>
                <a:lnTo>
                  <a:pt x="14229" y="14779"/>
                </a:lnTo>
                <a:lnTo>
                  <a:pt x="14169" y="14864"/>
                </a:lnTo>
                <a:lnTo>
                  <a:pt x="14106" y="14945"/>
                </a:lnTo>
                <a:lnTo>
                  <a:pt x="14038" y="15023"/>
                </a:lnTo>
                <a:lnTo>
                  <a:pt x="13967" y="15097"/>
                </a:lnTo>
                <a:lnTo>
                  <a:pt x="13892" y="15169"/>
                </a:lnTo>
                <a:lnTo>
                  <a:pt x="13814" y="15236"/>
                </a:lnTo>
                <a:lnTo>
                  <a:pt x="13734" y="15300"/>
                </a:lnTo>
                <a:lnTo>
                  <a:pt x="13650" y="15360"/>
                </a:lnTo>
                <a:lnTo>
                  <a:pt x="13562" y="15417"/>
                </a:lnTo>
                <a:lnTo>
                  <a:pt x="13472" y="15468"/>
                </a:lnTo>
                <a:lnTo>
                  <a:pt x="13380" y="15516"/>
                </a:lnTo>
                <a:lnTo>
                  <a:pt x="13285" y="15559"/>
                </a:lnTo>
                <a:lnTo>
                  <a:pt x="13188" y="15597"/>
                </a:lnTo>
                <a:lnTo>
                  <a:pt x="13088" y="15631"/>
                </a:lnTo>
                <a:lnTo>
                  <a:pt x="12986" y="15660"/>
                </a:lnTo>
                <a:lnTo>
                  <a:pt x="12883" y="15684"/>
                </a:lnTo>
                <a:lnTo>
                  <a:pt x="12777" y="15703"/>
                </a:lnTo>
                <a:lnTo>
                  <a:pt x="12670" y="15717"/>
                </a:lnTo>
                <a:lnTo>
                  <a:pt x="12561" y="15725"/>
                </a:lnTo>
                <a:lnTo>
                  <a:pt x="12450" y="15728"/>
                </a:lnTo>
                <a:close/>
                <a:moveTo>
                  <a:pt x="5283" y="2845"/>
                </a:moveTo>
                <a:lnTo>
                  <a:pt x="5316" y="2846"/>
                </a:lnTo>
                <a:lnTo>
                  <a:pt x="5349" y="2847"/>
                </a:lnTo>
                <a:lnTo>
                  <a:pt x="5382" y="2850"/>
                </a:lnTo>
                <a:lnTo>
                  <a:pt x="5413" y="2854"/>
                </a:lnTo>
                <a:lnTo>
                  <a:pt x="5445" y="2859"/>
                </a:lnTo>
                <a:lnTo>
                  <a:pt x="5477" y="2865"/>
                </a:lnTo>
                <a:lnTo>
                  <a:pt x="5508" y="2874"/>
                </a:lnTo>
                <a:lnTo>
                  <a:pt x="5539" y="2882"/>
                </a:lnTo>
                <a:lnTo>
                  <a:pt x="5570" y="2891"/>
                </a:lnTo>
                <a:lnTo>
                  <a:pt x="5600" y="2901"/>
                </a:lnTo>
                <a:lnTo>
                  <a:pt x="5630" y="2913"/>
                </a:lnTo>
                <a:lnTo>
                  <a:pt x="5659" y="2925"/>
                </a:lnTo>
                <a:lnTo>
                  <a:pt x="5688" y="2937"/>
                </a:lnTo>
                <a:lnTo>
                  <a:pt x="5717" y="2950"/>
                </a:lnTo>
                <a:lnTo>
                  <a:pt x="5744" y="2966"/>
                </a:lnTo>
                <a:lnTo>
                  <a:pt x="5772" y="2980"/>
                </a:lnTo>
                <a:lnTo>
                  <a:pt x="5799" y="2997"/>
                </a:lnTo>
                <a:lnTo>
                  <a:pt x="5825" y="3013"/>
                </a:lnTo>
                <a:lnTo>
                  <a:pt x="5852" y="3030"/>
                </a:lnTo>
                <a:lnTo>
                  <a:pt x="5877" y="3048"/>
                </a:lnTo>
                <a:lnTo>
                  <a:pt x="5902" y="3066"/>
                </a:lnTo>
                <a:lnTo>
                  <a:pt x="5926" y="3086"/>
                </a:lnTo>
                <a:lnTo>
                  <a:pt x="5951" y="3105"/>
                </a:lnTo>
                <a:lnTo>
                  <a:pt x="5973" y="3124"/>
                </a:lnTo>
                <a:lnTo>
                  <a:pt x="5996" y="3145"/>
                </a:lnTo>
                <a:lnTo>
                  <a:pt x="6018" y="3165"/>
                </a:lnTo>
                <a:lnTo>
                  <a:pt x="6040" y="3187"/>
                </a:lnTo>
                <a:lnTo>
                  <a:pt x="6060" y="3208"/>
                </a:lnTo>
                <a:lnTo>
                  <a:pt x="6080" y="3230"/>
                </a:lnTo>
                <a:lnTo>
                  <a:pt x="6099" y="3252"/>
                </a:lnTo>
                <a:lnTo>
                  <a:pt x="6117" y="3275"/>
                </a:lnTo>
                <a:lnTo>
                  <a:pt x="6136" y="3297"/>
                </a:lnTo>
                <a:lnTo>
                  <a:pt x="6987" y="3297"/>
                </a:lnTo>
                <a:lnTo>
                  <a:pt x="7004" y="3275"/>
                </a:lnTo>
                <a:lnTo>
                  <a:pt x="7023" y="3252"/>
                </a:lnTo>
                <a:lnTo>
                  <a:pt x="7042" y="3230"/>
                </a:lnTo>
                <a:lnTo>
                  <a:pt x="7063" y="3208"/>
                </a:lnTo>
                <a:lnTo>
                  <a:pt x="7083" y="3187"/>
                </a:lnTo>
                <a:lnTo>
                  <a:pt x="7104" y="3165"/>
                </a:lnTo>
                <a:lnTo>
                  <a:pt x="7126" y="3145"/>
                </a:lnTo>
                <a:lnTo>
                  <a:pt x="7148" y="3124"/>
                </a:lnTo>
                <a:lnTo>
                  <a:pt x="7172" y="3105"/>
                </a:lnTo>
                <a:lnTo>
                  <a:pt x="7195" y="3086"/>
                </a:lnTo>
                <a:lnTo>
                  <a:pt x="7220" y="3066"/>
                </a:lnTo>
                <a:lnTo>
                  <a:pt x="7245" y="3048"/>
                </a:lnTo>
                <a:lnTo>
                  <a:pt x="7271" y="3030"/>
                </a:lnTo>
                <a:lnTo>
                  <a:pt x="7297" y="3013"/>
                </a:lnTo>
                <a:lnTo>
                  <a:pt x="7323" y="2997"/>
                </a:lnTo>
                <a:lnTo>
                  <a:pt x="7351" y="2980"/>
                </a:lnTo>
                <a:lnTo>
                  <a:pt x="7378" y="2966"/>
                </a:lnTo>
                <a:lnTo>
                  <a:pt x="7406" y="2950"/>
                </a:lnTo>
                <a:lnTo>
                  <a:pt x="7434" y="2937"/>
                </a:lnTo>
                <a:lnTo>
                  <a:pt x="7463" y="2925"/>
                </a:lnTo>
                <a:lnTo>
                  <a:pt x="7493" y="2913"/>
                </a:lnTo>
                <a:lnTo>
                  <a:pt x="7522" y="2901"/>
                </a:lnTo>
                <a:lnTo>
                  <a:pt x="7553" y="2891"/>
                </a:lnTo>
                <a:lnTo>
                  <a:pt x="7584" y="2882"/>
                </a:lnTo>
                <a:lnTo>
                  <a:pt x="7614" y="2874"/>
                </a:lnTo>
                <a:lnTo>
                  <a:pt x="7646" y="2865"/>
                </a:lnTo>
                <a:lnTo>
                  <a:pt x="7677" y="2859"/>
                </a:lnTo>
                <a:lnTo>
                  <a:pt x="7709" y="2854"/>
                </a:lnTo>
                <a:lnTo>
                  <a:pt x="7741" y="2850"/>
                </a:lnTo>
                <a:lnTo>
                  <a:pt x="7774" y="2847"/>
                </a:lnTo>
                <a:lnTo>
                  <a:pt x="7806" y="2846"/>
                </a:lnTo>
                <a:lnTo>
                  <a:pt x="7839" y="2845"/>
                </a:lnTo>
                <a:lnTo>
                  <a:pt x="7873" y="2846"/>
                </a:lnTo>
                <a:lnTo>
                  <a:pt x="7906" y="2847"/>
                </a:lnTo>
                <a:lnTo>
                  <a:pt x="7938" y="2850"/>
                </a:lnTo>
                <a:lnTo>
                  <a:pt x="7970" y="2854"/>
                </a:lnTo>
                <a:lnTo>
                  <a:pt x="8003" y="2859"/>
                </a:lnTo>
                <a:lnTo>
                  <a:pt x="8034" y="2865"/>
                </a:lnTo>
                <a:lnTo>
                  <a:pt x="8065" y="2874"/>
                </a:lnTo>
                <a:lnTo>
                  <a:pt x="8097" y="2882"/>
                </a:lnTo>
                <a:lnTo>
                  <a:pt x="8126" y="2891"/>
                </a:lnTo>
                <a:lnTo>
                  <a:pt x="8157" y="2901"/>
                </a:lnTo>
                <a:lnTo>
                  <a:pt x="8187" y="2913"/>
                </a:lnTo>
                <a:lnTo>
                  <a:pt x="8216" y="2925"/>
                </a:lnTo>
                <a:lnTo>
                  <a:pt x="8245" y="2937"/>
                </a:lnTo>
                <a:lnTo>
                  <a:pt x="8273" y="2950"/>
                </a:lnTo>
                <a:lnTo>
                  <a:pt x="8302" y="2966"/>
                </a:lnTo>
                <a:lnTo>
                  <a:pt x="8330" y="2980"/>
                </a:lnTo>
                <a:lnTo>
                  <a:pt x="8356" y="2997"/>
                </a:lnTo>
                <a:lnTo>
                  <a:pt x="8383" y="3013"/>
                </a:lnTo>
                <a:lnTo>
                  <a:pt x="8409" y="3030"/>
                </a:lnTo>
                <a:lnTo>
                  <a:pt x="8435" y="3048"/>
                </a:lnTo>
                <a:lnTo>
                  <a:pt x="8459" y="3066"/>
                </a:lnTo>
                <a:lnTo>
                  <a:pt x="8484" y="3086"/>
                </a:lnTo>
                <a:lnTo>
                  <a:pt x="8507" y="3105"/>
                </a:lnTo>
                <a:lnTo>
                  <a:pt x="8531" y="3124"/>
                </a:lnTo>
                <a:lnTo>
                  <a:pt x="8553" y="3145"/>
                </a:lnTo>
                <a:lnTo>
                  <a:pt x="8575" y="3165"/>
                </a:lnTo>
                <a:lnTo>
                  <a:pt x="8596" y="3187"/>
                </a:lnTo>
                <a:lnTo>
                  <a:pt x="8617" y="3208"/>
                </a:lnTo>
                <a:lnTo>
                  <a:pt x="8637" y="3230"/>
                </a:lnTo>
                <a:lnTo>
                  <a:pt x="8657" y="3252"/>
                </a:lnTo>
                <a:lnTo>
                  <a:pt x="8675" y="3275"/>
                </a:lnTo>
                <a:lnTo>
                  <a:pt x="8692" y="3297"/>
                </a:lnTo>
                <a:lnTo>
                  <a:pt x="9011" y="3297"/>
                </a:lnTo>
                <a:lnTo>
                  <a:pt x="9025" y="3297"/>
                </a:lnTo>
                <a:lnTo>
                  <a:pt x="9039" y="3300"/>
                </a:lnTo>
                <a:lnTo>
                  <a:pt x="9052" y="3303"/>
                </a:lnTo>
                <a:lnTo>
                  <a:pt x="9065" y="3307"/>
                </a:lnTo>
                <a:lnTo>
                  <a:pt x="9078" y="3313"/>
                </a:lnTo>
                <a:lnTo>
                  <a:pt x="9089" y="3319"/>
                </a:lnTo>
                <a:lnTo>
                  <a:pt x="9101" y="3326"/>
                </a:lnTo>
                <a:lnTo>
                  <a:pt x="9112" y="3334"/>
                </a:lnTo>
                <a:lnTo>
                  <a:pt x="9122" y="3344"/>
                </a:lnTo>
                <a:lnTo>
                  <a:pt x="9132" y="3353"/>
                </a:lnTo>
                <a:lnTo>
                  <a:pt x="9142" y="3363"/>
                </a:lnTo>
                <a:lnTo>
                  <a:pt x="9150" y="3374"/>
                </a:lnTo>
                <a:lnTo>
                  <a:pt x="9158" y="3386"/>
                </a:lnTo>
                <a:lnTo>
                  <a:pt x="9165" y="3398"/>
                </a:lnTo>
                <a:lnTo>
                  <a:pt x="9172" y="3410"/>
                </a:lnTo>
                <a:lnTo>
                  <a:pt x="9177" y="3423"/>
                </a:lnTo>
                <a:lnTo>
                  <a:pt x="9189" y="3380"/>
                </a:lnTo>
                <a:lnTo>
                  <a:pt x="9200" y="3336"/>
                </a:lnTo>
                <a:lnTo>
                  <a:pt x="9210" y="3292"/>
                </a:lnTo>
                <a:lnTo>
                  <a:pt x="9220" y="3248"/>
                </a:lnTo>
                <a:lnTo>
                  <a:pt x="9228" y="3204"/>
                </a:lnTo>
                <a:lnTo>
                  <a:pt x="9236" y="3159"/>
                </a:lnTo>
                <a:lnTo>
                  <a:pt x="9243" y="3114"/>
                </a:lnTo>
                <a:lnTo>
                  <a:pt x="9250" y="3069"/>
                </a:lnTo>
                <a:lnTo>
                  <a:pt x="9256" y="3024"/>
                </a:lnTo>
                <a:lnTo>
                  <a:pt x="9261" y="2978"/>
                </a:lnTo>
                <a:lnTo>
                  <a:pt x="9266" y="2932"/>
                </a:lnTo>
                <a:lnTo>
                  <a:pt x="9269" y="2886"/>
                </a:lnTo>
                <a:lnTo>
                  <a:pt x="9272" y="2840"/>
                </a:lnTo>
                <a:lnTo>
                  <a:pt x="9274" y="2794"/>
                </a:lnTo>
                <a:lnTo>
                  <a:pt x="9275" y="2747"/>
                </a:lnTo>
                <a:lnTo>
                  <a:pt x="9275" y="2701"/>
                </a:lnTo>
                <a:lnTo>
                  <a:pt x="9272" y="2561"/>
                </a:lnTo>
                <a:lnTo>
                  <a:pt x="9261" y="2424"/>
                </a:lnTo>
                <a:lnTo>
                  <a:pt x="9244" y="2289"/>
                </a:lnTo>
                <a:lnTo>
                  <a:pt x="9221" y="2156"/>
                </a:lnTo>
                <a:lnTo>
                  <a:pt x="9190" y="2025"/>
                </a:lnTo>
                <a:lnTo>
                  <a:pt x="9154" y="1897"/>
                </a:lnTo>
                <a:lnTo>
                  <a:pt x="9111" y="1772"/>
                </a:lnTo>
                <a:lnTo>
                  <a:pt x="9063" y="1649"/>
                </a:lnTo>
                <a:lnTo>
                  <a:pt x="9009" y="1529"/>
                </a:lnTo>
                <a:lnTo>
                  <a:pt x="8950" y="1413"/>
                </a:lnTo>
                <a:lnTo>
                  <a:pt x="8885" y="1300"/>
                </a:lnTo>
                <a:lnTo>
                  <a:pt x="8815" y="1191"/>
                </a:lnTo>
                <a:lnTo>
                  <a:pt x="8739" y="1084"/>
                </a:lnTo>
                <a:lnTo>
                  <a:pt x="8660" y="983"/>
                </a:lnTo>
                <a:lnTo>
                  <a:pt x="8575" y="885"/>
                </a:lnTo>
                <a:lnTo>
                  <a:pt x="8486" y="790"/>
                </a:lnTo>
                <a:lnTo>
                  <a:pt x="8392" y="701"/>
                </a:lnTo>
                <a:lnTo>
                  <a:pt x="8295" y="616"/>
                </a:lnTo>
                <a:lnTo>
                  <a:pt x="8193" y="536"/>
                </a:lnTo>
                <a:lnTo>
                  <a:pt x="8087" y="461"/>
                </a:lnTo>
                <a:lnTo>
                  <a:pt x="7978" y="391"/>
                </a:lnTo>
                <a:lnTo>
                  <a:pt x="7865" y="326"/>
                </a:lnTo>
                <a:lnTo>
                  <a:pt x="7748" y="266"/>
                </a:lnTo>
                <a:lnTo>
                  <a:pt x="7630" y="212"/>
                </a:lnTo>
                <a:lnTo>
                  <a:pt x="7507" y="164"/>
                </a:lnTo>
                <a:lnTo>
                  <a:pt x="7381" y="122"/>
                </a:lnTo>
                <a:lnTo>
                  <a:pt x="7254" y="85"/>
                </a:lnTo>
                <a:lnTo>
                  <a:pt x="7124" y="55"/>
                </a:lnTo>
                <a:lnTo>
                  <a:pt x="6991" y="31"/>
                </a:lnTo>
                <a:lnTo>
                  <a:pt x="6856" y="14"/>
                </a:lnTo>
                <a:lnTo>
                  <a:pt x="6719" y="3"/>
                </a:lnTo>
                <a:lnTo>
                  <a:pt x="6580" y="0"/>
                </a:lnTo>
                <a:lnTo>
                  <a:pt x="6439" y="3"/>
                </a:lnTo>
                <a:lnTo>
                  <a:pt x="6300" y="13"/>
                </a:lnTo>
                <a:lnTo>
                  <a:pt x="6164" y="31"/>
                </a:lnTo>
                <a:lnTo>
                  <a:pt x="6030" y="54"/>
                </a:lnTo>
                <a:lnTo>
                  <a:pt x="5899" y="84"/>
                </a:lnTo>
                <a:lnTo>
                  <a:pt x="5769" y="120"/>
                </a:lnTo>
                <a:lnTo>
                  <a:pt x="5643" y="162"/>
                </a:lnTo>
                <a:lnTo>
                  <a:pt x="5521" y="210"/>
                </a:lnTo>
                <a:lnTo>
                  <a:pt x="5401" y="263"/>
                </a:lnTo>
                <a:lnTo>
                  <a:pt x="5285" y="322"/>
                </a:lnTo>
                <a:lnTo>
                  <a:pt x="5171" y="387"/>
                </a:lnTo>
                <a:lnTo>
                  <a:pt x="5062" y="457"/>
                </a:lnTo>
                <a:lnTo>
                  <a:pt x="4957" y="531"/>
                </a:lnTo>
                <a:lnTo>
                  <a:pt x="4856" y="611"/>
                </a:lnTo>
                <a:lnTo>
                  <a:pt x="4758" y="695"/>
                </a:lnTo>
                <a:lnTo>
                  <a:pt x="4665" y="784"/>
                </a:lnTo>
                <a:lnTo>
                  <a:pt x="4577" y="878"/>
                </a:lnTo>
                <a:lnTo>
                  <a:pt x="4493" y="976"/>
                </a:lnTo>
                <a:lnTo>
                  <a:pt x="4413" y="1077"/>
                </a:lnTo>
                <a:lnTo>
                  <a:pt x="4338" y="1183"/>
                </a:lnTo>
                <a:lnTo>
                  <a:pt x="4270" y="1293"/>
                </a:lnTo>
                <a:lnTo>
                  <a:pt x="4206" y="1406"/>
                </a:lnTo>
                <a:lnTo>
                  <a:pt x="4146" y="1522"/>
                </a:lnTo>
                <a:lnTo>
                  <a:pt x="4093" y="1642"/>
                </a:lnTo>
                <a:lnTo>
                  <a:pt x="4046" y="1765"/>
                </a:lnTo>
                <a:lnTo>
                  <a:pt x="4004" y="1891"/>
                </a:lnTo>
                <a:lnTo>
                  <a:pt x="3969" y="2020"/>
                </a:lnTo>
                <a:lnTo>
                  <a:pt x="3939" y="2151"/>
                </a:lnTo>
                <a:lnTo>
                  <a:pt x="3915" y="2285"/>
                </a:lnTo>
                <a:lnTo>
                  <a:pt x="3899" y="2421"/>
                </a:lnTo>
                <a:lnTo>
                  <a:pt x="3889" y="2559"/>
                </a:lnTo>
                <a:lnTo>
                  <a:pt x="3886" y="2701"/>
                </a:lnTo>
                <a:lnTo>
                  <a:pt x="3886" y="2741"/>
                </a:lnTo>
                <a:lnTo>
                  <a:pt x="3887" y="2781"/>
                </a:lnTo>
                <a:lnTo>
                  <a:pt x="3888" y="2819"/>
                </a:lnTo>
                <a:lnTo>
                  <a:pt x="3890" y="2859"/>
                </a:lnTo>
                <a:lnTo>
                  <a:pt x="3893" y="2899"/>
                </a:lnTo>
                <a:lnTo>
                  <a:pt x="3896" y="2938"/>
                </a:lnTo>
                <a:lnTo>
                  <a:pt x="3899" y="2977"/>
                </a:lnTo>
                <a:lnTo>
                  <a:pt x="3903" y="3016"/>
                </a:lnTo>
                <a:lnTo>
                  <a:pt x="3908" y="3055"/>
                </a:lnTo>
                <a:lnTo>
                  <a:pt x="3913" y="3094"/>
                </a:lnTo>
                <a:lnTo>
                  <a:pt x="3920" y="3132"/>
                </a:lnTo>
                <a:lnTo>
                  <a:pt x="3926" y="3171"/>
                </a:lnTo>
                <a:lnTo>
                  <a:pt x="3933" y="3208"/>
                </a:lnTo>
                <a:lnTo>
                  <a:pt x="3941" y="3246"/>
                </a:lnTo>
                <a:lnTo>
                  <a:pt x="3948" y="3284"/>
                </a:lnTo>
                <a:lnTo>
                  <a:pt x="3957" y="3321"/>
                </a:lnTo>
                <a:lnTo>
                  <a:pt x="3967" y="3316"/>
                </a:lnTo>
                <a:lnTo>
                  <a:pt x="3976" y="3311"/>
                </a:lnTo>
                <a:lnTo>
                  <a:pt x="3986" y="3307"/>
                </a:lnTo>
                <a:lnTo>
                  <a:pt x="3996" y="3304"/>
                </a:lnTo>
                <a:lnTo>
                  <a:pt x="4006" y="3301"/>
                </a:lnTo>
                <a:lnTo>
                  <a:pt x="4018" y="3299"/>
                </a:lnTo>
                <a:lnTo>
                  <a:pt x="4028" y="3297"/>
                </a:lnTo>
                <a:lnTo>
                  <a:pt x="4039" y="3297"/>
                </a:lnTo>
                <a:lnTo>
                  <a:pt x="4429" y="3297"/>
                </a:lnTo>
                <a:lnTo>
                  <a:pt x="4447" y="3275"/>
                </a:lnTo>
                <a:lnTo>
                  <a:pt x="4466" y="3252"/>
                </a:lnTo>
                <a:lnTo>
                  <a:pt x="4486" y="3230"/>
                </a:lnTo>
                <a:lnTo>
                  <a:pt x="4505" y="3208"/>
                </a:lnTo>
                <a:lnTo>
                  <a:pt x="4525" y="3187"/>
                </a:lnTo>
                <a:lnTo>
                  <a:pt x="4547" y="3165"/>
                </a:lnTo>
                <a:lnTo>
                  <a:pt x="4569" y="3145"/>
                </a:lnTo>
                <a:lnTo>
                  <a:pt x="4592" y="3124"/>
                </a:lnTo>
                <a:lnTo>
                  <a:pt x="4614" y="3105"/>
                </a:lnTo>
                <a:lnTo>
                  <a:pt x="4639" y="3086"/>
                </a:lnTo>
                <a:lnTo>
                  <a:pt x="4663" y="3066"/>
                </a:lnTo>
                <a:lnTo>
                  <a:pt x="4688" y="3048"/>
                </a:lnTo>
                <a:lnTo>
                  <a:pt x="4713" y="3030"/>
                </a:lnTo>
                <a:lnTo>
                  <a:pt x="4739" y="3013"/>
                </a:lnTo>
                <a:lnTo>
                  <a:pt x="4766" y="2997"/>
                </a:lnTo>
                <a:lnTo>
                  <a:pt x="4793" y="2980"/>
                </a:lnTo>
                <a:lnTo>
                  <a:pt x="4821" y="2966"/>
                </a:lnTo>
                <a:lnTo>
                  <a:pt x="4848" y="2950"/>
                </a:lnTo>
                <a:lnTo>
                  <a:pt x="4877" y="2937"/>
                </a:lnTo>
                <a:lnTo>
                  <a:pt x="4907" y="2925"/>
                </a:lnTo>
                <a:lnTo>
                  <a:pt x="4935" y="2913"/>
                </a:lnTo>
                <a:lnTo>
                  <a:pt x="4966" y="2901"/>
                </a:lnTo>
                <a:lnTo>
                  <a:pt x="4995" y="2891"/>
                </a:lnTo>
                <a:lnTo>
                  <a:pt x="5026" y="2882"/>
                </a:lnTo>
                <a:lnTo>
                  <a:pt x="5057" y="2874"/>
                </a:lnTo>
                <a:lnTo>
                  <a:pt x="5088" y="2865"/>
                </a:lnTo>
                <a:lnTo>
                  <a:pt x="5120" y="2859"/>
                </a:lnTo>
                <a:lnTo>
                  <a:pt x="5152" y="2854"/>
                </a:lnTo>
                <a:lnTo>
                  <a:pt x="5185" y="2850"/>
                </a:lnTo>
                <a:lnTo>
                  <a:pt x="5217" y="2847"/>
                </a:lnTo>
                <a:lnTo>
                  <a:pt x="5250" y="2846"/>
                </a:lnTo>
                <a:lnTo>
                  <a:pt x="5283" y="2845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gost"/>
          <p:cNvSpPr>
            <a:spLocks noEditPoints="1"/>
          </p:cNvSpPr>
          <p:nvPr>
            <p:custDataLst>
              <p:tags r:id="rId8"/>
            </p:custDataLst>
          </p:nvPr>
        </p:nvSpPr>
        <p:spPr bwMode="auto">
          <a:xfrm>
            <a:off x="4247964" y="3032956"/>
            <a:ext cx="577850" cy="323850"/>
          </a:xfrm>
          <a:custGeom>
            <a:avLst/>
            <a:gdLst>
              <a:gd name="T0" fmla="*/ 13459 w 16016"/>
              <a:gd name="T1" fmla="*/ 2788 h 8976"/>
              <a:gd name="T2" fmla="*/ 6702 w 16016"/>
              <a:gd name="T3" fmla="*/ 3359 h 8976"/>
              <a:gd name="T4" fmla="*/ 6490 w 16016"/>
              <a:gd name="T5" fmla="*/ 2962 h 8976"/>
              <a:gd name="T6" fmla="*/ 6186 w 16016"/>
              <a:gd name="T7" fmla="*/ 2806 h 8976"/>
              <a:gd name="T8" fmla="*/ 5860 w 16016"/>
              <a:gd name="T9" fmla="*/ 2813 h 8976"/>
              <a:gd name="T10" fmla="*/ 5536 w 16016"/>
              <a:gd name="T11" fmla="*/ 2997 h 8976"/>
              <a:gd name="T12" fmla="*/ 5362 w 16016"/>
              <a:gd name="T13" fmla="*/ 3345 h 8976"/>
              <a:gd name="T14" fmla="*/ 5380 w 16016"/>
              <a:gd name="T15" fmla="*/ 5656 h 8976"/>
              <a:gd name="T16" fmla="*/ 5566 w 16016"/>
              <a:gd name="T17" fmla="*/ 6027 h 8976"/>
              <a:gd name="T18" fmla="*/ 5778 w 16016"/>
              <a:gd name="T19" fmla="*/ 6156 h 8976"/>
              <a:gd name="T20" fmla="*/ 6151 w 16016"/>
              <a:gd name="T21" fmla="*/ 6189 h 8976"/>
              <a:gd name="T22" fmla="*/ 6546 w 16016"/>
              <a:gd name="T23" fmla="*/ 5987 h 8976"/>
              <a:gd name="T24" fmla="*/ 6719 w 16016"/>
              <a:gd name="T25" fmla="*/ 5545 h 8976"/>
              <a:gd name="T26" fmla="*/ 7474 w 16016"/>
              <a:gd name="T27" fmla="*/ 5883 h 8976"/>
              <a:gd name="T28" fmla="*/ 7268 w 16016"/>
              <a:gd name="T29" fmla="*/ 6351 h 8976"/>
              <a:gd name="T30" fmla="*/ 6925 w 16016"/>
              <a:gd name="T31" fmla="*/ 6695 h 8976"/>
              <a:gd name="T32" fmla="*/ 6467 w 16016"/>
              <a:gd name="T33" fmla="*/ 6898 h 8976"/>
              <a:gd name="T34" fmla="*/ 5900 w 16016"/>
              <a:gd name="T35" fmla="*/ 6942 h 8976"/>
              <a:gd name="T36" fmla="*/ 5329 w 16016"/>
              <a:gd name="T37" fmla="*/ 6801 h 8976"/>
              <a:gd name="T38" fmla="*/ 4924 w 16016"/>
              <a:gd name="T39" fmla="*/ 6497 h 8976"/>
              <a:gd name="T40" fmla="*/ 4676 w 16016"/>
              <a:gd name="T41" fmla="*/ 6068 h 8976"/>
              <a:gd name="T42" fmla="*/ 4566 w 16016"/>
              <a:gd name="T43" fmla="*/ 5551 h 8976"/>
              <a:gd name="T44" fmla="*/ 4578 w 16016"/>
              <a:gd name="T45" fmla="*/ 3265 h 8976"/>
              <a:gd name="T46" fmla="*/ 4712 w 16016"/>
              <a:gd name="T47" fmla="*/ 2812 h 8976"/>
              <a:gd name="T48" fmla="*/ 4990 w 16016"/>
              <a:gd name="T49" fmla="*/ 2420 h 8976"/>
              <a:gd name="T50" fmla="*/ 5425 w 16016"/>
              <a:gd name="T51" fmla="*/ 2136 h 8976"/>
              <a:gd name="T52" fmla="*/ 6045 w 16016"/>
              <a:gd name="T53" fmla="*/ 2029 h 8976"/>
              <a:gd name="T54" fmla="*/ 6634 w 16016"/>
              <a:gd name="T55" fmla="*/ 2131 h 8976"/>
              <a:gd name="T56" fmla="*/ 7069 w 16016"/>
              <a:gd name="T57" fmla="*/ 2405 h 8976"/>
              <a:gd name="T58" fmla="*/ 7359 w 16016"/>
              <a:gd name="T59" fmla="*/ 2793 h 8976"/>
              <a:gd name="T60" fmla="*/ 7503 w 16016"/>
              <a:gd name="T61" fmla="*/ 3254 h 8976"/>
              <a:gd name="T62" fmla="*/ 11202 w 16016"/>
              <a:gd name="T63" fmla="*/ 5999 h 8976"/>
              <a:gd name="T64" fmla="*/ 11020 w 16016"/>
              <a:gd name="T65" fmla="*/ 6376 h 8976"/>
              <a:gd name="T66" fmla="*/ 10736 w 16016"/>
              <a:gd name="T67" fmla="*/ 6665 h 8976"/>
              <a:gd name="T68" fmla="*/ 10370 w 16016"/>
              <a:gd name="T69" fmla="*/ 6857 h 8976"/>
              <a:gd name="T70" fmla="*/ 9944 w 16016"/>
              <a:gd name="T71" fmla="*/ 6942 h 8976"/>
              <a:gd name="T72" fmla="*/ 9380 w 16016"/>
              <a:gd name="T73" fmla="*/ 6901 h 8976"/>
              <a:gd name="T74" fmla="*/ 8903 w 16016"/>
              <a:gd name="T75" fmla="*/ 6687 h 8976"/>
              <a:gd name="T76" fmla="*/ 8566 w 16016"/>
              <a:gd name="T77" fmla="*/ 6335 h 8976"/>
              <a:gd name="T78" fmla="*/ 8375 w 16016"/>
              <a:gd name="T79" fmla="*/ 5868 h 8976"/>
              <a:gd name="T80" fmla="*/ 8324 w 16016"/>
              <a:gd name="T81" fmla="*/ 3489 h 8976"/>
              <a:gd name="T82" fmla="*/ 8403 w 16016"/>
              <a:gd name="T83" fmla="*/ 3002 h 8976"/>
              <a:gd name="T84" fmla="*/ 8624 w 16016"/>
              <a:gd name="T85" fmla="*/ 2569 h 8976"/>
              <a:gd name="T86" fmla="*/ 8987 w 16016"/>
              <a:gd name="T87" fmla="*/ 2241 h 8976"/>
              <a:gd name="T88" fmla="*/ 9496 w 16016"/>
              <a:gd name="T89" fmla="*/ 2053 h 8976"/>
              <a:gd name="T90" fmla="*/ 10056 w 16016"/>
              <a:gd name="T91" fmla="*/ 2044 h 8976"/>
              <a:gd name="T92" fmla="*/ 10483 w 16016"/>
              <a:gd name="T93" fmla="*/ 2162 h 8976"/>
              <a:gd name="T94" fmla="*/ 10827 w 16016"/>
              <a:gd name="T95" fmla="*/ 2394 h 8976"/>
              <a:gd name="T96" fmla="*/ 11078 w 16016"/>
              <a:gd name="T97" fmla="*/ 2704 h 8976"/>
              <a:gd name="T98" fmla="*/ 11235 w 16016"/>
              <a:gd name="T99" fmla="*/ 3072 h 8976"/>
              <a:gd name="T100" fmla="*/ 10358 w 16016"/>
              <a:gd name="T101" fmla="*/ 3056 h 8976"/>
              <a:gd name="T102" fmla="*/ 10021 w 16016"/>
              <a:gd name="T103" fmla="*/ 2822 h 8976"/>
              <a:gd name="T104" fmla="*/ 9644 w 16016"/>
              <a:gd name="T105" fmla="*/ 2811 h 8976"/>
              <a:gd name="T106" fmla="*/ 9334 w 16016"/>
              <a:gd name="T107" fmla="*/ 2973 h 8976"/>
              <a:gd name="T108" fmla="*/ 9134 w 16016"/>
              <a:gd name="T109" fmla="*/ 3372 h 8976"/>
              <a:gd name="T110" fmla="*/ 9176 w 16016"/>
              <a:gd name="T111" fmla="*/ 5750 h 8976"/>
              <a:gd name="T112" fmla="*/ 9477 w 16016"/>
              <a:gd name="T113" fmla="*/ 6107 h 8976"/>
              <a:gd name="T114" fmla="*/ 9769 w 16016"/>
              <a:gd name="T115" fmla="*/ 6180 h 8976"/>
              <a:gd name="T116" fmla="*/ 10179 w 16016"/>
              <a:gd name="T117" fmla="*/ 6085 h 8976"/>
              <a:gd name="T118" fmla="*/ 10435 w 16016"/>
              <a:gd name="T119" fmla="*/ 5782 h 8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016" h="8976">
                <a:moveTo>
                  <a:pt x="0" y="0"/>
                </a:moveTo>
                <a:lnTo>
                  <a:pt x="16016" y="0"/>
                </a:lnTo>
                <a:lnTo>
                  <a:pt x="16016" y="8976"/>
                </a:lnTo>
                <a:lnTo>
                  <a:pt x="0" y="8976"/>
                </a:lnTo>
                <a:lnTo>
                  <a:pt x="0" y="0"/>
                </a:lnTo>
                <a:close/>
                <a:moveTo>
                  <a:pt x="13459" y="2788"/>
                </a:moveTo>
                <a:lnTo>
                  <a:pt x="13459" y="6905"/>
                </a:lnTo>
                <a:lnTo>
                  <a:pt x="12668" y="6905"/>
                </a:lnTo>
                <a:lnTo>
                  <a:pt x="12668" y="2788"/>
                </a:lnTo>
                <a:lnTo>
                  <a:pt x="11605" y="2788"/>
                </a:lnTo>
                <a:lnTo>
                  <a:pt x="11605" y="2064"/>
                </a:lnTo>
                <a:lnTo>
                  <a:pt x="14531" y="2064"/>
                </a:lnTo>
                <a:lnTo>
                  <a:pt x="14531" y="2788"/>
                </a:lnTo>
                <a:lnTo>
                  <a:pt x="13459" y="2788"/>
                </a:lnTo>
                <a:close/>
                <a:moveTo>
                  <a:pt x="2437" y="2802"/>
                </a:moveTo>
                <a:lnTo>
                  <a:pt x="2437" y="6905"/>
                </a:lnTo>
                <a:lnTo>
                  <a:pt x="1646" y="6905"/>
                </a:lnTo>
                <a:lnTo>
                  <a:pt x="1646" y="2064"/>
                </a:lnTo>
                <a:lnTo>
                  <a:pt x="4307" y="2064"/>
                </a:lnTo>
                <a:lnTo>
                  <a:pt x="4307" y="2802"/>
                </a:lnTo>
                <a:lnTo>
                  <a:pt x="2437" y="2802"/>
                </a:lnTo>
                <a:close/>
                <a:moveTo>
                  <a:pt x="6719" y="3512"/>
                </a:moveTo>
                <a:lnTo>
                  <a:pt x="6719" y="3489"/>
                </a:lnTo>
                <a:lnTo>
                  <a:pt x="6717" y="3465"/>
                </a:lnTo>
                <a:lnTo>
                  <a:pt x="6715" y="3440"/>
                </a:lnTo>
                <a:lnTo>
                  <a:pt x="6712" y="3414"/>
                </a:lnTo>
                <a:lnTo>
                  <a:pt x="6707" y="3387"/>
                </a:lnTo>
                <a:lnTo>
                  <a:pt x="6702" y="3359"/>
                </a:lnTo>
                <a:lnTo>
                  <a:pt x="6696" y="3330"/>
                </a:lnTo>
                <a:lnTo>
                  <a:pt x="6688" y="3301"/>
                </a:lnTo>
                <a:lnTo>
                  <a:pt x="6680" y="3269"/>
                </a:lnTo>
                <a:lnTo>
                  <a:pt x="6670" y="3239"/>
                </a:lnTo>
                <a:lnTo>
                  <a:pt x="6659" y="3210"/>
                </a:lnTo>
                <a:lnTo>
                  <a:pt x="6646" y="3180"/>
                </a:lnTo>
                <a:lnTo>
                  <a:pt x="6632" y="3151"/>
                </a:lnTo>
                <a:lnTo>
                  <a:pt x="6616" y="3122"/>
                </a:lnTo>
                <a:lnTo>
                  <a:pt x="6599" y="3094"/>
                </a:lnTo>
                <a:lnTo>
                  <a:pt x="6581" y="3066"/>
                </a:lnTo>
                <a:lnTo>
                  <a:pt x="6561" y="3038"/>
                </a:lnTo>
                <a:lnTo>
                  <a:pt x="6539" y="3012"/>
                </a:lnTo>
                <a:lnTo>
                  <a:pt x="6516" y="2987"/>
                </a:lnTo>
                <a:lnTo>
                  <a:pt x="6490" y="2962"/>
                </a:lnTo>
                <a:lnTo>
                  <a:pt x="6464" y="2939"/>
                </a:lnTo>
                <a:lnTo>
                  <a:pt x="6436" y="2917"/>
                </a:lnTo>
                <a:lnTo>
                  <a:pt x="6406" y="2895"/>
                </a:lnTo>
                <a:lnTo>
                  <a:pt x="6375" y="2875"/>
                </a:lnTo>
                <a:lnTo>
                  <a:pt x="6358" y="2865"/>
                </a:lnTo>
                <a:lnTo>
                  <a:pt x="6341" y="2856"/>
                </a:lnTo>
                <a:lnTo>
                  <a:pt x="6324" y="2848"/>
                </a:lnTo>
                <a:lnTo>
                  <a:pt x="6306" y="2840"/>
                </a:lnTo>
                <a:lnTo>
                  <a:pt x="6287" y="2833"/>
                </a:lnTo>
                <a:lnTo>
                  <a:pt x="6268" y="2826"/>
                </a:lnTo>
                <a:lnTo>
                  <a:pt x="6248" y="2820"/>
                </a:lnTo>
                <a:lnTo>
                  <a:pt x="6228" y="2815"/>
                </a:lnTo>
                <a:lnTo>
                  <a:pt x="6207" y="2810"/>
                </a:lnTo>
                <a:lnTo>
                  <a:pt x="6186" y="2806"/>
                </a:lnTo>
                <a:lnTo>
                  <a:pt x="6164" y="2803"/>
                </a:lnTo>
                <a:lnTo>
                  <a:pt x="6141" y="2800"/>
                </a:lnTo>
                <a:lnTo>
                  <a:pt x="6118" y="2798"/>
                </a:lnTo>
                <a:lnTo>
                  <a:pt x="6094" y="2796"/>
                </a:lnTo>
                <a:lnTo>
                  <a:pt x="6070" y="2795"/>
                </a:lnTo>
                <a:lnTo>
                  <a:pt x="6045" y="2795"/>
                </a:lnTo>
                <a:lnTo>
                  <a:pt x="6020" y="2795"/>
                </a:lnTo>
                <a:lnTo>
                  <a:pt x="5996" y="2796"/>
                </a:lnTo>
                <a:lnTo>
                  <a:pt x="5972" y="2797"/>
                </a:lnTo>
                <a:lnTo>
                  <a:pt x="5948" y="2799"/>
                </a:lnTo>
                <a:lnTo>
                  <a:pt x="5926" y="2802"/>
                </a:lnTo>
                <a:lnTo>
                  <a:pt x="5903" y="2805"/>
                </a:lnTo>
                <a:lnTo>
                  <a:pt x="5881" y="2809"/>
                </a:lnTo>
                <a:lnTo>
                  <a:pt x="5860" y="2813"/>
                </a:lnTo>
                <a:lnTo>
                  <a:pt x="5839" y="2818"/>
                </a:lnTo>
                <a:lnTo>
                  <a:pt x="5819" y="2823"/>
                </a:lnTo>
                <a:lnTo>
                  <a:pt x="5799" y="2829"/>
                </a:lnTo>
                <a:lnTo>
                  <a:pt x="5780" y="2836"/>
                </a:lnTo>
                <a:lnTo>
                  <a:pt x="5761" y="2843"/>
                </a:lnTo>
                <a:lnTo>
                  <a:pt x="5743" y="2851"/>
                </a:lnTo>
                <a:lnTo>
                  <a:pt x="5725" y="2859"/>
                </a:lnTo>
                <a:lnTo>
                  <a:pt x="5708" y="2868"/>
                </a:lnTo>
                <a:lnTo>
                  <a:pt x="5675" y="2887"/>
                </a:lnTo>
                <a:lnTo>
                  <a:pt x="5644" y="2906"/>
                </a:lnTo>
                <a:lnTo>
                  <a:pt x="5615" y="2927"/>
                </a:lnTo>
                <a:lnTo>
                  <a:pt x="5587" y="2949"/>
                </a:lnTo>
                <a:lnTo>
                  <a:pt x="5561" y="2973"/>
                </a:lnTo>
                <a:lnTo>
                  <a:pt x="5536" y="2997"/>
                </a:lnTo>
                <a:lnTo>
                  <a:pt x="5525" y="3009"/>
                </a:lnTo>
                <a:lnTo>
                  <a:pt x="5514" y="3022"/>
                </a:lnTo>
                <a:lnTo>
                  <a:pt x="5502" y="3035"/>
                </a:lnTo>
                <a:lnTo>
                  <a:pt x="5492" y="3048"/>
                </a:lnTo>
                <a:lnTo>
                  <a:pt x="5473" y="3076"/>
                </a:lnTo>
                <a:lnTo>
                  <a:pt x="5455" y="3104"/>
                </a:lnTo>
                <a:lnTo>
                  <a:pt x="5438" y="3132"/>
                </a:lnTo>
                <a:lnTo>
                  <a:pt x="5423" y="3161"/>
                </a:lnTo>
                <a:lnTo>
                  <a:pt x="5410" y="3191"/>
                </a:lnTo>
                <a:lnTo>
                  <a:pt x="5398" y="3221"/>
                </a:lnTo>
                <a:lnTo>
                  <a:pt x="5387" y="3251"/>
                </a:lnTo>
                <a:lnTo>
                  <a:pt x="5378" y="3282"/>
                </a:lnTo>
                <a:lnTo>
                  <a:pt x="5369" y="3314"/>
                </a:lnTo>
                <a:lnTo>
                  <a:pt x="5362" y="3345"/>
                </a:lnTo>
                <a:lnTo>
                  <a:pt x="5356" y="3375"/>
                </a:lnTo>
                <a:lnTo>
                  <a:pt x="5351" y="3405"/>
                </a:lnTo>
                <a:lnTo>
                  <a:pt x="5348" y="3434"/>
                </a:lnTo>
                <a:lnTo>
                  <a:pt x="5345" y="3463"/>
                </a:lnTo>
                <a:lnTo>
                  <a:pt x="5343" y="3491"/>
                </a:lnTo>
                <a:lnTo>
                  <a:pt x="5343" y="3519"/>
                </a:lnTo>
                <a:lnTo>
                  <a:pt x="5350" y="5374"/>
                </a:lnTo>
                <a:lnTo>
                  <a:pt x="5350" y="5417"/>
                </a:lnTo>
                <a:lnTo>
                  <a:pt x="5352" y="5459"/>
                </a:lnTo>
                <a:lnTo>
                  <a:pt x="5355" y="5500"/>
                </a:lnTo>
                <a:lnTo>
                  <a:pt x="5360" y="5540"/>
                </a:lnTo>
                <a:lnTo>
                  <a:pt x="5365" y="5580"/>
                </a:lnTo>
                <a:lnTo>
                  <a:pt x="5372" y="5618"/>
                </a:lnTo>
                <a:lnTo>
                  <a:pt x="5380" y="5656"/>
                </a:lnTo>
                <a:lnTo>
                  <a:pt x="5390" y="5694"/>
                </a:lnTo>
                <a:lnTo>
                  <a:pt x="5400" y="5730"/>
                </a:lnTo>
                <a:lnTo>
                  <a:pt x="5412" y="5765"/>
                </a:lnTo>
                <a:lnTo>
                  <a:pt x="5425" y="5800"/>
                </a:lnTo>
                <a:lnTo>
                  <a:pt x="5440" y="5833"/>
                </a:lnTo>
                <a:lnTo>
                  <a:pt x="5455" y="5866"/>
                </a:lnTo>
                <a:lnTo>
                  <a:pt x="5472" y="5898"/>
                </a:lnTo>
                <a:lnTo>
                  <a:pt x="5490" y="5929"/>
                </a:lnTo>
                <a:lnTo>
                  <a:pt x="5510" y="5959"/>
                </a:lnTo>
                <a:lnTo>
                  <a:pt x="5521" y="5974"/>
                </a:lnTo>
                <a:lnTo>
                  <a:pt x="5531" y="5988"/>
                </a:lnTo>
                <a:lnTo>
                  <a:pt x="5542" y="6001"/>
                </a:lnTo>
                <a:lnTo>
                  <a:pt x="5554" y="6014"/>
                </a:lnTo>
                <a:lnTo>
                  <a:pt x="5566" y="6027"/>
                </a:lnTo>
                <a:lnTo>
                  <a:pt x="5578" y="6039"/>
                </a:lnTo>
                <a:lnTo>
                  <a:pt x="5591" y="6051"/>
                </a:lnTo>
                <a:lnTo>
                  <a:pt x="5604" y="6062"/>
                </a:lnTo>
                <a:lnTo>
                  <a:pt x="5618" y="6073"/>
                </a:lnTo>
                <a:lnTo>
                  <a:pt x="5632" y="6084"/>
                </a:lnTo>
                <a:lnTo>
                  <a:pt x="5646" y="6093"/>
                </a:lnTo>
                <a:lnTo>
                  <a:pt x="5661" y="6103"/>
                </a:lnTo>
                <a:lnTo>
                  <a:pt x="5677" y="6112"/>
                </a:lnTo>
                <a:lnTo>
                  <a:pt x="5693" y="6120"/>
                </a:lnTo>
                <a:lnTo>
                  <a:pt x="5709" y="6128"/>
                </a:lnTo>
                <a:lnTo>
                  <a:pt x="5726" y="6136"/>
                </a:lnTo>
                <a:lnTo>
                  <a:pt x="5743" y="6143"/>
                </a:lnTo>
                <a:lnTo>
                  <a:pt x="5760" y="6150"/>
                </a:lnTo>
                <a:lnTo>
                  <a:pt x="5778" y="6156"/>
                </a:lnTo>
                <a:lnTo>
                  <a:pt x="5797" y="6162"/>
                </a:lnTo>
                <a:lnTo>
                  <a:pt x="5816" y="6167"/>
                </a:lnTo>
                <a:lnTo>
                  <a:pt x="5835" y="6172"/>
                </a:lnTo>
                <a:lnTo>
                  <a:pt x="5855" y="6176"/>
                </a:lnTo>
                <a:lnTo>
                  <a:pt x="5875" y="6180"/>
                </a:lnTo>
                <a:lnTo>
                  <a:pt x="5895" y="6184"/>
                </a:lnTo>
                <a:lnTo>
                  <a:pt x="5917" y="6187"/>
                </a:lnTo>
                <a:lnTo>
                  <a:pt x="5938" y="6189"/>
                </a:lnTo>
                <a:lnTo>
                  <a:pt x="5960" y="6191"/>
                </a:lnTo>
                <a:lnTo>
                  <a:pt x="6005" y="6194"/>
                </a:lnTo>
                <a:lnTo>
                  <a:pt x="6052" y="6195"/>
                </a:lnTo>
                <a:lnTo>
                  <a:pt x="6085" y="6194"/>
                </a:lnTo>
                <a:lnTo>
                  <a:pt x="6118" y="6192"/>
                </a:lnTo>
                <a:lnTo>
                  <a:pt x="6151" y="6189"/>
                </a:lnTo>
                <a:lnTo>
                  <a:pt x="6183" y="6184"/>
                </a:lnTo>
                <a:lnTo>
                  <a:pt x="6214" y="6177"/>
                </a:lnTo>
                <a:lnTo>
                  <a:pt x="6245" y="6169"/>
                </a:lnTo>
                <a:lnTo>
                  <a:pt x="6275" y="6160"/>
                </a:lnTo>
                <a:lnTo>
                  <a:pt x="6304" y="6149"/>
                </a:lnTo>
                <a:lnTo>
                  <a:pt x="6334" y="6137"/>
                </a:lnTo>
                <a:lnTo>
                  <a:pt x="6362" y="6123"/>
                </a:lnTo>
                <a:lnTo>
                  <a:pt x="6390" y="6108"/>
                </a:lnTo>
                <a:lnTo>
                  <a:pt x="6417" y="6092"/>
                </a:lnTo>
                <a:lnTo>
                  <a:pt x="6444" y="6074"/>
                </a:lnTo>
                <a:lnTo>
                  <a:pt x="6470" y="6054"/>
                </a:lnTo>
                <a:lnTo>
                  <a:pt x="6496" y="6033"/>
                </a:lnTo>
                <a:lnTo>
                  <a:pt x="6522" y="6011"/>
                </a:lnTo>
                <a:lnTo>
                  <a:pt x="6546" y="5987"/>
                </a:lnTo>
                <a:lnTo>
                  <a:pt x="6568" y="5963"/>
                </a:lnTo>
                <a:lnTo>
                  <a:pt x="6589" y="5937"/>
                </a:lnTo>
                <a:lnTo>
                  <a:pt x="6608" y="5910"/>
                </a:lnTo>
                <a:lnTo>
                  <a:pt x="6626" y="5882"/>
                </a:lnTo>
                <a:lnTo>
                  <a:pt x="6642" y="5853"/>
                </a:lnTo>
                <a:lnTo>
                  <a:pt x="6657" y="5823"/>
                </a:lnTo>
                <a:lnTo>
                  <a:pt x="6670" y="5792"/>
                </a:lnTo>
                <a:lnTo>
                  <a:pt x="6682" y="5760"/>
                </a:lnTo>
                <a:lnTo>
                  <a:pt x="6692" y="5727"/>
                </a:lnTo>
                <a:lnTo>
                  <a:pt x="6700" y="5693"/>
                </a:lnTo>
                <a:lnTo>
                  <a:pt x="6707" y="5657"/>
                </a:lnTo>
                <a:lnTo>
                  <a:pt x="6712" y="5621"/>
                </a:lnTo>
                <a:lnTo>
                  <a:pt x="6716" y="5583"/>
                </a:lnTo>
                <a:lnTo>
                  <a:pt x="6719" y="5545"/>
                </a:lnTo>
                <a:lnTo>
                  <a:pt x="6719" y="5506"/>
                </a:lnTo>
                <a:lnTo>
                  <a:pt x="6719" y="3512"/>
                </a:lnTo>
                <a:close/>
                <a:moveTo>
                  <a:pt x="7526" y="5437"/>
                </a:moveTo>
                <a:lnTo>
                  <a:pt x="7526" y="5480"/>
                </a:lnTo>
                <a:lnTo>
                  <a:pt x="7524" y="5523"/>
                </a:lnTo>
                <a:lnTo>
                  <a:pt x="7522" y="5565"/>
                </a:lnTo>
                <a:lnTo>
                  <a:pt x="7519" y="5606"/>
                </a:lnTo>
                <a:lnTo>
                  <a:pt x="7515" y="5647"/>
                </a:lnTo>
                <a:lnTo>
                  <a:pt x="7511" y="5689"/>
                </a:lnTo>
                <a:lnTo>
                  <a:pt x="7504" y="5729"/>
                </a:lnTo>
                <a:lnTo>
                  <a:pt x="7498" y="5768"/>
                </a:lnTo>
                <a:lnTo>
                  <a:pt x="7491" y="5807"/>
                </a:lnTo>
                <a:lnTo>
                  <a:pt x="7483" y="5845"/>
                </a:lnTo>
                <a:lnTo>
                  <a:pt x="7474" y="5883"/>
                </a:lnTo>
                <a:lnTo>
                  <a:pt x="7464" y="5920"/>
                </a:lnTo>
                <a:lnTo>
                  <a:pt x="7454" y="5957"/>
                </a:lnTo>
                <a:lnTo>
                  <a:pt x="7443" y="5993"/>
                </a:lnTo>
                <a:lnTo>
                  <a:pt x="7430" y="6028"/>
                </a:lnTo>
                <a:lnTo>
                  <a:pt x="7417" y="6063"/>
                </a:lnTo>
                <a:lnTo>
                  <a:pt x="7403" y="6098"/>
                </a:lnTo>
                <a:lnTo>
                  <a:pt x="7389" y="6131"/>
                </a:lnTo>
                <a:lnTo>
                  <a:pt x="7374" y="6165"/>
                </a:lnTo>
                <a:lnTo>
                  <a:pt x="7358" y="6197"/>
                </a:lnTo>
                <a:lnTo>
                  <a:pt x="7341" y="6229"/>
                </a:lnTo>
                <a:lnTo>
                  <a:pt x="7324" y="6260"/>
                </a:lnTo>
                <a:lnTo>
                  <a:pt x="7306" y="6292"/>
                </a:lnTo>
                <a:lnTo>
                  <a:pt x="7287" y="6322"/>
                </a:lnTo>
                <a:lnTo>
                  <a:pt x="7268" y="6351"/>
                </a:lnTo>
                <a:lnTo>
                  <a:pt x="7247" y="6380"/>
                </a:lnTo>
                <a:lnTo>
                  <a:pt x="7227" y="6408"/>
                </a:lnTo>
                <a:lnTo>
                  <a:pt x="7205" y="6436"/>
                </a:lnTo>
                <a:lnTo>
                  <a:pt x="7183" y="6463"/>
                </a:lnTo>
                <a:lnTo>
                  <a:pt x="7160" y="6489"/>
                </a:lnTo>
                <a:lnTo>
                  <a:pt x="7136" y="6515"/>
                </a:lnTo>
                <a:lnTo>
                  <a:pt x="7112" y="6540"/>
                </a:lnTo>
                <a:lnTo>
                  <a:pt x="7087" y="6564"/>
                </a:lnTo>
                <a:lnTo>
                  <a:pt x="7061" y="6588"/>
                </a:lnTo>
                <a:lnTo>
                  <a:pt x="7035" y="6611"/>
                </a:lnTo>
                <a:lnTo>
                  <a:pt x="7008" y="6633"/>
                </a:lnTo>
                <a:lnTo>
                  <a:pt x="6981" y="6654"/>
                </a:lnTo>
                <a:lnTo>
                  <a:pt x="6953" y="6675"/>
                </a:lnTo>
                <a:lnTo>
                  <a:pt x="6925" y="6695"/>
                </a:lnTo>
                <a:lnTo>
                  <a:pt x="6896" y="6714"/>
                </a:lnTo>
                <a:lnTo>
                  <a:pt x="6866" y="6733"/>
                </a:lnTo>
                <a:lnTo>
                  <a:pt x="6836" y="6751"/>
                </a:lnTo>
                <a:lnTo>
                  <a:pt x="6805" y="6768"/>
                </a:lnTo>
                <a:lnTo>
                  <a:pt x="6774" y="6784"/>
                </a:lnTo>
                <a:lnTo>
                  <a:pt x="6742" y="6799"/>
                </a:lnTo>
                <a:lnTo>
                  <a:pt x="6710" y="6814"/>
                </a:lnTo>
                <a:lnTo>
                  <a:pt x="6677" y="6828"/>
                </a:lnTo>
                <a:lnTo>
                  <a:pt x="6643" y="6842"/>
                </a:lnTo>
                <a:lnTo>
                  <a:pt x="6609" y="6854"/>
                </a:lnTo>
                <a:lnTo>
                  <a:pt x="6575" y="6866"/>
                </a:lnTo>
                <a:lnTo>
                  <a:pt x="6540" y="6877"/>
                </a:lnTo>
                <a:lnTo>
                  <a:pt x="6503" y="6888"/>
                </a:lnTo>
                <a:lnTo>
                  <a:pt x="6467" y="6898"/>
                </a:lnTo>
                <a:lnTo>
                  <a:pt x="6431" y="6906"/>
                </a:lnTo>
                <a:lnTo>
                  <a:pt x="6395" y="6914"/>
                </a:lnTo>
                <a:lnTo>
                  <a:pt x="6357" y="6921"/>
                </a:lnTo>
                <a:lnTo>
                  <a:pt x="6320" y="6927"/>
                </a:lnTo>
                <a:lnTo>
                  <a:pt x="6282" y="6932"/>
                </a:lnTo>
                <a:lnTo>
                  <a:pt x="6244" y="6937"/>
                </a:lnTo>
                <a:lnTo>
                  <a:pt x="6205" y="6940"/>
                </a:lnTo>
                <a:lnTo>
                  <a:pt x="6165" y="6943"/>
                </a:lnTo>
                <a:lnTo>
                  <a:pt x="6126" y="6945"/>
                </a:lnTo>
                <a:lnTo>
                  <a:pt x="6086" y="6946"/>
                </a:lnTo>
                <a:lnTo>
                  <a:pt x="6045" y="6947"/>
                </a:lnTo>
                <a:lnTo>
                  <a:pt x="5996" y="6946"/>
                </a:lnTo>
                <a:lnTo>
                  <a:pt x="5948" y="6945"/>
                </a:lnTo>
                <a:lnTo>
                  <a:pt x="5900" y="6942"/>
                </a:lnTo>
                <a:lnTo>
                  <a:pt x="5854" y="6939"/>
                </a:lnTo>
                <a:lnTo>
                  <a:pt x="5808" y="6934"/>
                </a:lnTo>
                <a:lnTo>
                  <a:pt x="5764" y="6929"/>
                </a:lnTo>
                <a:lnTo>
                  <a:pt x="5720" y="6922"/>
                </a:lnTo>
                <a:lnTo>
                  <a:pt x="5677" y="6915"/>
                </a:lnTo>
                <a:lnTo>
                  <a:pt x="5635" y="6906"/>
                </a:lnTo>
                <a:lnTo>
                  <a:pt x="5594" y="6897"/>
                </a:lnTo>
                <a:lnTo>
                  <a:pt x="5553" y="6886"/>
                </a:lnTo>
                <a:lnTo>
                  <a:pt x="5514" y="6874"/>
                </a:lnTo>
                <a:lnTo>
                  <a:pt x="5474" y="6861"/>
                </a:lnTo>
                <a:lnTo>
                  <a:pt x="5437" y="6848"/>
                </a:lnTo>
                <a:lnTo>
                  <a:pt x="5400" y="6833"/>
                </a:lnTo>
                <a:lnTo>
                  <a:pt x="5364" y="6818"/>
                </a:lnTo>
                <a:lnTo>
                  <a:pt x="5329" y="6801"/>
                </a:lnTo>
                <a:lnTo>
                  <a:pt x="5294" y="6784"/>
                </a:lnTo>
                <a:lnTo>
                  <a:pt x="5261" y="6766"/>
                </a:lnTo>
                <a:lnTo>
                  <a:pt x="5228" y="6748"/>
                </a:lnTo>
                <a:lnTo>
                  <a:pt x="5196" y="6729"/>
                </a:lnTo>
                <a:lnTo>
                  <a:pt x="5165" y="6709"/>
                </a:lnTo>
                <a:lnTo>
                  <a:pt x="5135" y="6688"/>
                </a:lnTo>
                <a:lnTo>
                  <a:pt x="5106" y="6667"/>
                </a:lnTo>
                <a:lnTo>
                  <a:pt x="5077" y="6644"/>
                </a:lnTo>
                <a:lnTo>
                  <a:pt x="5050" y="6622"/>
                </a:lnTo>
                <a:lnTo>
                  <a:pt x="5023" y="6598"/>
                </a:lnTo>
                <a:lnTo>
                  <a:pt x="4997" y="6574"/>
                </a:lnTo>
                <a:lnTo>
                  <a:pt x="4972" y="6549"/>
                </a:lnTo>
                <a:lnTo>
                  <a:pt x="4948" y="6524"/>
                </a:lnTo>
                <a:lnTo>
                  <a:pt x="4924" y="6497"/>
                </a:lnTo>
                <a:lnTo>
                  <a:pt x="4902" y="6470"/>
                </a:lnTo>
                <a:lnTo>
                  <a:pt x="4880" y="6443"/>
                </a:lnTo>
                <a:lnTo>
                  <a:pt x="4859" y="6415"/>
                </a:lnTo>
                <a:lnTo>
                  <a:pt x="4839" y="6386"/>
                </a:lnTo>
                <a:lnTo>
                  <a:pt x="4819" y="6357"/>
                </a:lnTo>
                <a:lnTo>
                  <a:pt x="4800" y="6327"/>
                </a:lnTo>
                <a:lnTo>
                  <a:pt x="4782" y="6297"/>
                </a:lnTo>
                <a:lnTo>
                  <a:pt x="4765" y="6265"/>
                </a:lnTo>
                <a:lnTo>
                  <a:pt x="4748" y="6233"/>
                </a:lnTo>
                <a:lnTo>
                  <a:pt x="4732" y="6201"/>
                </a:lnTo>
                <a:lnTo>
                  <a:pt x="4717" y="6169"/>
                </a:lnTo>
                <a:lnTo>
                  <a:pt x="4703" y="6136"/>
                </a:lnTo>
                <a:lnTo>
                  <a:pt x="4689" y="6102"/>
                </a:lnTo>
                <a:lnTo>
                  <a:pt x="4676" y="6068"/>
                </a:lnTo>
                <a:lnTo>
                  <a:pt x="4664" y="6033"/>
                </a:lnTo>
                <a:lnTo>
                  <a:pt x="4652" y="5998"/>
                </a:lnTo>
                <a:lnTo>
                  <a:pt x="4641" y="5962"/>
                </a:lnTo>
                <a:lnTo>
                  <a:pt x="4631" y="5926"/>
                </a:lnTo>
                <a:lnTo>
                  <a:pt x="4622" y="5890"/>
                </a:lnTo>
                <a:lnTo>
                  <a:pt x="4613" y="5853"/>
                </a:lnTo>
                <a:lnTo>
                  <a:pt x="4605" y="5816"/>
                </a:lnTo>
                <a:lnTo>
                  <a:pt x="4598" y="5779"/>
                </a:lnTo>
                <a:lnTo>
                  <a:pt x="4591" y="5742"/>
                </a:lnTo>
                <a:lnTo>
                  <a:pt x="4585" y="5704"/>
                </a:lnTo>
                <a:lnTo>
                  <a:pt x="4579" y="5666"/>
                </a:lnTo>
                <a:lnTo>
                  <a:pt x="4574" y="5628"/>
                </a:lnTo>
                <a:lnTo>
                  <a:pt x="4570" y="5589"/>
                </a:lnTo>
                <a:lnTo>
                  <a:pt x="4566" y="5551"/>
                </a:lnTo>
                <a:lnTo>
                  <a:pt x="4563" y="5512"/>
                </a:lnTo>
                <a:lnTo>
                  <a:pt x="4561" y="5473"/>
                </a:lnTo>
                <a:lnTo>
                  <a:pt x="4559" y="5433"/>
                </a:lnTo>
                <a:lnTo>
                  <a:pt x="4558" y="5394"/>
                </a:lnTo>
                <a:lnTo>
                  <a:pt x="4558" y="5354"/>
                </a:lnTo>
                <a:lnTo>
                  <a:pt x="4558" y="3525"/>
                </a:lnTo>
                <a:lnTo>
                  <a:pt x="4558" y="3493"/>
                </a:lnTo>
                <a:lnTo>
                  <a:pt x="4559" y="3461"/>
                </a:lnTo>
                <a:lnTo>
                  <a:pt x="4561" y="3428"/>
                </a:lnTo>
                <a:lnTo>
                  <a:pt x="4563" y="3396"/>
                </a:lnTo>
                <a:lnTo>
                  <a:pt x="4566" y="3364"/>
                </a:lnTo>
                <a:lnTo>
                  <a:pt x="4569" y="3331"/>
                </a:lnTo>
                <a:lnTo>
                  <a:pt x="4573" y="3299"/>
                </a:lnTo>
                <a:lnTo>
                  <a:pt x="4578" y="3265"/>
                </a:lnTo>
                <a:lnTo>
                  <a:pt x="4583" y="3233"/>
                </a:lnTo>
                <a:lnTo>
                  <a:pt x="4589" y="3200"/>
                </a:lnTo>
                <a:lnTo>
                  <a:pt x="4596" y="3167"/>
                </a:lnTo>
                <a:lnTo>
                  <a:pt x="4603" y="3135"/>
                </a:lnTo>
                <a:lnTo>
                  <a:pt x="4611" y="3102"/>
                </a:lnTo>
                <a:lnTo>
                  <a:pt x="4619" y="3069"/>
                </a:lnTo>
                <a:lnTo>
                  <a:pt x="4628" y="3036"/>
                </a:lnTo>
                <a:lnTo>
                  <a:pt x="4638" y="3003"/>
                </a:lnTo>
                <a:lnTo>
                  <a:pt x="4648" y="2970"/>
                </a:lnTo>
                <a:lnTo>
                  <a:pt x="4659" y="2938"/>
                </a:lnTo>
                <a:lnTo>
                  <a:pt x="4671" y="2906"/>
                </a:lnTo>
                <a:lnTo>
                  <a:pt x="4684" y="2874"/>
                </a:lnTo>
                <a:lnTo>
                  <a:pt x="4697" y="2843"/>
                </a:lnTo>
                <a:lnTo>
                  <a:pt x="4712" y="2812"/>
                </a:lnTo>
                <a:lnTo>
                  <a:pt x="4727" y="2782"/>
                </a:lnTo>
                <a:lnTo>
                  <a:pt x="4742" y="2752"/>
                </a:lnTo>
                <a:lnTo>
                  <a:pt x="4759" y="2722"/>
                </a:lnTo>
                <a:lnTo>
                  <a:pt x="4776" y="2691"/>
                </a:lnTo>
                <a:lnTo>
                  <a:pt x="4794" y="2662"/>
                </a:lnTo>
                <a:lnTo>
                  <a:pt x="4812" y="2634"/>
                </a:lnTo>
                <a:lnTo>
                  <a:pt x="4832" y="2606"/>
                </a:lnTo>
                <a:lnTo>
                  <a:pt x="4852" y="2578"/>
                </a:lnTo>
                <a:lnTo>
                  <a:pt x="4873" y="2550"/>
                </a:lnTo>
                <a:lnTo>
                  <a:pt x="4895" y="2523"/>
                </a:lnTo>
                <a:lnTo>
                  <a:pt x="4917" y="2497"/>
                </a:lnTo>
                <a:lnTo>
                  <a:pt x="4941" y="2470"/>
                </a:lnTo>
                <a:lnTo>
                  <a:pt x="4965" y="2445"/>
                </a:lnTo>
                <a:lnTo>
                  <a:pt x="4990" y="2420"/>
                </a:lnTo>
                <a:lnTo>
                  <a:pt x="5016" y="2396"/>
                </a:lnTo>
                <a:lnTo>
                  <a:pt x="5042" y="2372"/>
                </a:lnTo>
                <a:lnTo>
                  <a:pt x="5070" y="2349"/>
                </a:lnTo>
                <a:lnTo>
                  <a:pt x="5098" y="2327"/>
                </a:lnTo>
                <a:lnTo>
                  <a:pt x="5127" y="2305"/>
                </a:lnTo>
                <a:lnTo>
                  <a:pt x="5157" y="2284"/>
                </a:lnTo>
                <a:lnTo>
                  <a:pt x="5188" y="2263"/>
                </a:lnTo>
                <a:lnTo>
                  <a:pt x="5219" y="2243"/>
                </a:lnTo>
                <a:lnTo>
                  <a:pt x="5251" y="2224"/>
                </a:lnTo>
                <a:lnTo>
                  <a:pt x="5284" y="2205"/>
                </a:lnTo>
                <a:lnTo>
                  <a:pt x="5318" y="2187"/>
                </a:lnTo>
                <a:lnTo>
                  <a:pt x="5353" y="2169"/>
                </a:lnTo>
                <a:lnTo>
                  <a:pt x="5389" y="2152"/>
                </a:lnTo>
                <a:lnTo>
                  <a:pt x="5425" y="2136"/>
                </a:lnTo>
                <a:lnTo>
                  <a:pt x="5463" y="2122"/>
                </a:lnTo>
                <a:lnTo>
                  <a:pt x="5502" y="2108"/>
                </a:lnTo>
                <a:lnTo>
                  <a:pt x="5542" y="2096"/>
                </a:lnTo>
                <a:lnTo>
                  <a:pt x="5583" y="2083"/>
                </a:lnTo>
                <a:lnTo>
                  <a:pt x="5625" y="2073"/>
                </a:lnTo>
                <a:lnTo>
                  <a:pt x="5667" y="2064"/>
                </a:lnTo>
                <a:lnTo>
                  <a:pt x="5711" y="2056"/>
                </a:lnTo>
                <a:lnTo>
                  <a:pt x="5756" y="2049"/>
                </a:lnTo>
                <a:lnTo>
                  <a:pt x="5802" y="2043"/>
                </a:lnTo>
                <a:lnTo>
                  <a:pt x="5848" y="2038"/>
                </a:lnTo>
                <a:lnTo>
                  <a:pt x="5896" y="2034"/>
                </a:lnTo>
                <a:lnTo>
                  <a:pt x="5945" y="2031"/>
                </a:lnTo>
                <a:lnTo>
                  <a:pt x="5994" y="2030"/>
                </a:lnTo>
                <a:lnTo>
                  <a:pt x="6045" y="2029"/>
                </a:lnTo>
                <a:lnTo>
                  <a:pt x="6092" y="2029"/>
                </a:lnTo>
                <a:lnTo>
                  <a:pt x="6139" y="2031"/>
                </a:lnTo>
                <a:lnTo>
                  <a:pt x="6184" y="2034"/>
                </a:lnTo>
                <a:lnTo>
                  <a:pt x="6229" y="2037"/>
                </a:lnTo>
                <a:lnTo>
                  <a:pt x="6273" y="2042"/>
                </a:lnTo>
                <a:lnTo>
                  <a:pt x="6317" y="2048"/>
                </a:lnTo>
                <a:lnTo>
                  <a:pt x="6359" y="2054"/>
                </a:lnTo>
                <a:lnTo>
                  <a:pt x="6401" y="2062"/>
                </a:lnTo>
                <a:lnTo>
                  <a:pt x="6442" y="2071"/>
                </a:lnTo>
                <a:lnTo>
                  <a:pt x="6482" y="2081"/>
                </a:lnTo>
                <a:lnTo>
                  <a:pt x="6522" y="2091"/>
                </a:lnTo>
                <a:lnTo>
                  <a:pt x="6560" y="2104"/>
                </a:lnTo>
                <a:lnTo>
                  <a:pt x="6598" y="2117"/>
                </a:lnTo>
                <a:lnTo>
                  <a:pt x="6634" y="2131"/>
                </a:lnTo>
                <a:lnTo>
                  <a:pt x="6670" y="2146"/>
                </a:lnTo>
                <a:lnTo>
                  <a:pt x="6706" y="2162"/>
                </a:lnTo>
                <a:lnTo>
                  <a:pt x="6740" y="2179"/>
                </a:lnTo>
                <a:lnTo>
                  <a:pt x="6774" y="2196"/>
                </a:lnTo>
                <a:lnTo>
                  <a:pt x="6806" y="2214"/>
                </a:lnTo>
                <a:lnTo>
                  <a:pt x="6839" y="2233"/>
                </a:lnTo>
                <a:lnTo>
                  <a:pt x="6870" y="2252"/>
                </a:lnTo>
                <a:lnTo>
                  <a:pt x="6901" y="2272"/>
                </a:lnTo>
                <a:lnTo>
                  <a:pt x="6931" y="2293"/>
                </a:lnTo>
                <a:lnTo>
                  <a:pt x="6960" y="2314"/>
                </a:lnTo>
                <a:lnTo>
                  <a:pt x="6988" y="2336"/>
                </a:lnTo>
                <a:lnTo>
                  <a:pt x="7016" y="2358"/>
                </a:lnTo>
                <a:lnTo>
                  <a:pt x="7043" y="2381"/>
                </a:lnTo>
                <a:lnTo>
                  <a:pt x="7069" y="2405"/>
                </a:lnTo>
                <a:lnTo>
                  <a:pt x="7095" y="2429"/>
                </a:lnTo>
                <a:lnTo>
                  <a:pt x="7120" y="2454"/>
                </a:lnTo>
                <a:lnTo>
                  <a:pt x="7144" y="2480"/>
                </a:lnTo>
                <a:lnTo>
                  <a:pt x="7167" y="2506"/>
                </a:lnTo>
                <a:lnTo>
                  <a:pt x="7190" y="2532"/>
                </a:lnTo>
                <a:lnTo>
                  <a:pt x="7212" y="2560"/>
                </a:lnTo>
                <a:lnTo>
                  <a:pt x="7233" y="2587"/>
                </a:lnTo>
                <a:lnTo>
                  <a:pt x="7253" y="2615"/>
                </a:lnTo>
                <a:lnTo>
                  <a:pt x="7273" y="2644"/>
                </a:lnTo>
                <a:lnTo>
                  <a:pt x="7292" y="2672"/>
                </a:lnTo>
                <a:lnTo>
                  <a:pt x="7310" y="2703"/>
                </a:lnTo>
                <a:lnTo>
                  <a:pt x="7327" y="2732"/>
                </a:lnTo>
                <a:lnTo>
                  <a:pt x="7344" y="2763"/>
                </a:lnTo>
                <a:lnTo>
                  <a:pt x="7359" y="2793"/>
                </a:lnTo>
                <a:lnTo>
                  <a:pt x="7374" y="2824"/>
                </a:lnTo>
                <a:lnTo>
                  <a:pt x="7389" y="2856"/>
                </a:lnTo>
                <a:lnTo>
                  <a:pt x="7402" y="2888"/>
                </a:lnTo>
                <a:lnTo>
                  <a:pt x="7415" y="2920"/>
                </a:lnTo>
                <a:lnTo>
                  <a:pt x="7427" y="2953"/>
                </a:lnTo>
                <a:lnTo>
                  <a:pt x="7438" y="2986"/>
                </a:lnTo>
                <a:lnTo>
                  <a:pt x="7449" y="3019"/>
                </a:lnTo>
                <a:lnTo>
                  <a:pt x="7458" y="3053"/>
                </a:lnTo>
                <a:lnTo>
                  <a:pt x="7468" y="3086"/>
                </a:lnTo>
                <a:lnTo>
                  <a:pt x="7476" y="3120"/>
                </a:lnTo>
                <a:lnTo>
                  <a:pt x="7484" y="3153"/>
                </a:lnTo>
                <a:lnTo>
                  <a:pt x="7491" y="3187"/>
                </a:lnTo>
                <a:lnTo>
                  <a:pt x="7497" y="3220"/>
                </a:lnTo>
                <a:lnTo>
                  <a:pt x="7503" y="3254"/>
                </a:lnTo>
                <a:lnTo>
                  <a:pt x="7509" y="3288"/>
                </a:lnTo>
                <a:lnTo>
                  <a:pt x="7514" y="3322"/>
                </a:lnTo>
                <a:lnTo>
                  <a:pt x="7517" y="3356"/>
                </a:lnTo>
                <a:lnTo>
                  <a:pt x="7520" y="3390"/>
                </a:lnTo>
                <a:lnTo>
                  <a:pt x="7523" y="3424"/>
                </a:lnTo>
                <a:lnTo>
                  <a:pt x="7525" y="3457"/>
                </a:lnTo>
                <a:lnTo>
                  <a:pt x="7526" y="3491"/>
                </a:lnTo>
                <a:lnTo>
                  <a:pt x="7526" y="3525"/>
                </a:lnTo>
                <a:lnTo>
                  <a:pt x="7526" y="5437"/>
                </a:lnTo>
                <a:close/>
                <a:moveTo>
                  <a:pt x="11236" y="5876"/>
                </a:moveTo>
                <a:lnTo>
                  <a:pt x="11228" y="5907"/>
                </a:lnTo>
                <a:lnTo>
                  <a:pt x="11220" y="5938"/>
                </a:lnTo>
                <a:lnTo>
                  <a:pt x="11212" y="5969"/>
                </a:lnTo>
                <a:lnTo>
                  <a:pt x="11202" y="5999"/>
                </a:lnTo>
                <a:lnTo>
                  <a:pt x="11193" y="6029"/>
                </a:lnTo>
                <a:lnTo>
                  <a:pt x="11182" y="6058"/>
                </a:lnTo>
                <a:lnTo>
                  <a:pt x="11172" y="6087"/>
                </a:lnTo>
                <a:lnTo>
                  <a:pt x="11160" y="6115"/>
                </a:lnTo>
                <a:lnTo>
                  <a:pt x="11149" y="6143"/>
                </a:lnTo>
                <a:lnTo>
                  <a:pt x="11136" y="6170"/>
                </a:lnTo>
                <a:lnTo>
                  <a:pt x="11124" y="6198"/>
                </a:lnTo>
                <a:lnTo>
                  <a:pt x="11110" y="6224"/>
                </a:lnTo>
                <a:lnTo>
                  <a:pt x="11097" y="6250"/>
                </a:lnTo>
                <a:lnTo>
                  <a:pt x="11082" y="6276"/>
                </a:lnTo>
                <a:lnTo>
                  <a:pt x="11067" y="6302"/>
                </a:lnTo>
                <a:lnTo>
                  <a:pt x="11052" y="6327"/>
                </a:lnTo>
                <a:lnTo>
                  <a:pt x="11036" y="6352"/>
                </a:lnTo>
                <a:lnTo>
                  <a:pt x="11020" y="6376"/>
                </a:lnTo>
                <a:lnTo>
                  <a:pt x="11003" y="6399"/>
                </a:lnTo>
                <a:lnTo>
                  <a:pt x="10985" y="6422"/>
                </a:lnTo>
                <a:lnTo>
                  <a:pt x="10967" y="6445"/>
                </a:lnTo>
                <a:lnTo>
                  <a:pt x="10949" y="6467"/>
                </a:lnTo>
                <a:lnTo>
                  <a:pt x="10930" y="6489"/>
                </a:lnTo>
                <a:lnTo>
                  <a:pt x="10910" y="6510"/>
                </a:lnTo>
                <a:lnTo>
                  <a:pt x="10890" y="6531"/>
                </a:lnTo>
                <a:lnTo>
                  <a:pt x="10870" y="6551"/>
                </a:lnTo>
                <a:lnTo>
                  <a:pt x="10849" y="6571"/>
                </a:lnTo>
                <a:lnTo>
                  <a:pt x="10827" y="6591"/>
                </a:lnTo>
                <a:lnTo>
                  <a:pt x="10805" y="6610"/>
                </a:lnTo>
                <a:lnTo>
                  <a:pt x="10783" y="6629"/>
                </a:lnTo>
                <a:lnTo>
                  <a:pt x="10760" y="6647"/>
                </a:lnTo>
                <a:lnTo>
                  <a:pt x="10736" y="6665"/>
                </a:lnTo>
                <a:lnTo>
                  <a:pt x="10712" y="6682"/>
                </a:lnTo>
                <a:lnTo>
                  <a:pt x="10688" y="6699"/>
                </a:lnTo>
                <a:lnTo>
                  <a:pt x="10663" y="6715"/>
                </a:lnTo>
                <a:lnTo>
                  <a:pt x="10638" y="6731"/>
                </a:lnTo>
                <a:lnTo>
                  <a:pt x="10613" y="6746"/>
                </a:lnTo>
                <a:lnTo>
                  <a:pt x="10587" y="6760"/>
                </a:lnTo>
                <a:lnTo>
                  <a:pt x="10561" y="6774"/>
                </a:lnTo>
                <a:lnTo>
                  <a:pt x="10535" y="6788"/>
                </a:lnTo>
                <a:lnTo>
                  <a:pt x="10508" y="6801"/>
                </a:lnTo>
                <a:lnTo>
                  <a:pt x="10481" y="6813"/>
                </a:lnTo>
                <a:lnTo>
                  <a:pt x="10454" y="6825"/>
                </a:lnTo>
                <a:lnTo>
                  <a:pt x="10426" y="6836"/>
                </a:lnTo>
                <a:lnTo>
                  <a:pt x="10398" y="6847"/>
                </a:lnTo>
                <a:lnTo>
                  <a:pt x="10370" y="6857"/>
                </a:lnTo>
                <a:lnTo>
                  <a:pt x="10342" y="6867"/>
                </a:lnTo>
                <a:lnTo>
                  <a:pt x="10313" y="6876"/>
                </a:lnTo>
                <a:lnTo>
                  <a:pt x="10284" y="6885"/>
                </a:lnTo>
                <a:lnTo>
                  <a:pt x="10255" y="6893"/>
                </a:lnTo>
                <a:lnTo>
                  <a:pt x="10225" y="6900"/>
                </a:lnTo>
                <a:lnTo>
                  <a:pt x="10195" y="6907"/>
                </a:lnTo>
                <a:lnTo>
                  <a:pt x="10165" y="6914"/>
                </a:lnTo>
                <a:lnTo>
                  <a:pt x="10135" y="6919"/>
                </a:lnTo>
                <a:lnTo>
                  <a:pt x="10104" y="6925"/>
                </a:lnTo>
                <a:lnTo>
                  <a:pt x="10072" y="6929"/>
                </a:lnTo>
                <a:lnTo>
                  <a:pt x="10041" y="6933"/>
                </a:lnTo>
                <a:lnTo>
                  <a:pt x="10009" y="6937"/>
                </a:lnTo>
                <a:lnTo>
                  <a:pt x="9977" y="6940"/>
                </a:lnTo>
                <a:lnTo>
                  <a:pt x="9944" y="6942"/>
                </a:lnTo>
                <a:lnTo>
                  <a:pt x="9912" y="6944"/>
                </a:lnTo>
                <a:lnTo>
                  <a:pt x="9879" y="6946"/>
                </a:lnTo>
                <a:lnTo>
                  <a:pt x="9845" y="6947"/>
                </a:lnTo>
                <a:lnTo>
                  <a:pt x="9812" y="6947"/>
                </a:lnTo>
                <a:lnTo>
                  <a:pt x="9765" y="6946"/>
                </a:lnTo>
                <a:lnTo>
                  <a:pt x="9719" y="6945"/>
                </a:lnTo>
                <a:lnTo>
                  <a:pt x="9674" y="6943"/>
                </a:lnTo>
                <a:lnTo>
                  <a:pt x="9630" y="6940"/>
                </a:lnTo>
                <a:lnTo>
                  <a:pt x="9587" y="6935"/>
                </a:lnTo>
                <a:lnTo>
                  <a:pt x="9544" y="6930"/>
                </a:lnTo>
                <a:lnTo>
                  <a:pt x="9501" y="6924"/>
                </a:lnTo>
                <a:lnTo>
                  <a:pt x="9460" y="6917"/>
                </a:lnTo>
                <a:lnTo>
                  <a:pt x="9420" y="6910"/>
                </a:lnTo>
                <a:lnTo>
                  <a:pt x="9380" y="6901"/>
                </a:lnTo>
                <a:lnTo>
                  <a:pt x="9341" y="6891"/>
                </a:lnTo>
                <a:lnTo>
                  <a:pt x="9303" y="6880"/>
                </a:lnTo>
                <a:lnTo>
                  <a:pt x="9266" y="6868"/>
                </a:lnTo>
                <a:lnTo>
                  <a:pt x="9229" y="6856"/>
                </a:lnTo>
                <a:lnTo>
                  <a:pt x="9193" y="6842"/>
                </a:lnTo>
                <a:lnTo>
                  <a:pt x="9158" y="6828"/>
                </a:lnTo>
                <a:lnTo>
                  <a:pt x="9124" y="6813"/>
                </a:lnTo>
                <a:lnTo>
                  <a:pt x="9090" y="6797"/>
                </a:lnTo>
                <a:lnTo>
                  <a:pt x="9057" y="6781"/>
                </a:lnTo>
                <a:lnTo>
                  <a:pt x="9025" y="6763"/>
                </a:lnTo>
                <a:lnTo>
                  <a:pt x="8993" y="6745"/>
                </a:lnTo>
                <a:lnTo>
                  <a:pt x="8962" y="6727"/>
                </a:lnTo>
                <a:lnTo>
                  <a:pt x="8932" y="6707"/>
                </a:lnTo>
                <a:lnTo>
                  <a:pt x="8903" y="6687"/>
                </a:lnTo>
                <a:lnTo>
                  <a:pt x="8874" y="6667"/>
                </a:lnTo>
                <a:lnTo>
                  <a:pt x="8846" y="6645"/>
                </a:lnTo>
                <a:lnTo>
                  <a:pt x="8819" y="6623"/>
                </a:lnTo>
                <a:lnTo>
                  <a:pt x="8792" y="6600"/>
                </a:lnTo>
                <a:lnTo>
                  <a:pt x="8766" y="6577"/>
                </a:lnTo>
                <a:lnTo>
                  <a:pt x="8741" y="6552"/>
                </a:lnTo>
                <a:lnTo>
                  <a:pt x="8717" y="6527"/>
                </a:lnTo>
                <a:lnTo>
                  <a:pt x="8693" y="6502"/>
                </a:lnTo>
                <a:lnTo>
                  <a:pt x="8670" y="6475"/>
                </a:lnTo>
                <a:lnTo>
                  <a:pt x="8648" y="6448"/>
                </a:lnTo>
                <a:lnTo>
                  <a:pt x="8626" y="6421"/>
                </a:lnTo>
                <a:lnTo>
                  <a:pt x="8605" y="6393"/>
                </a:lnTo>
                <a:lnTo>
                  <a:pt x="8585" y="6364"/>
                </a:lnTo>
                <a:lnTo>
                  <a:pt x="8566" y="6335"/>
                </a:lnTo>
                <a:lnTo>
                  <a:pt x="8547" y="6305"/>
                </a:lnTo>
                <a:lnTo>
                  <a:pt x="8530" y="6274"/>
                </a:lnTo>
                <a:lnTo>
                  <a:pt x="8513" y="6243"/>
                </a:lnTo>
                <a:lnTo>
                  <a:pt x="8495" y="6212"/>
                </a:lnTo>
                <a:lnTo>
                  <a:pt x="8480" y="6180"/>
                </a:lnTo>
                <a:lnTo>
                  <a:pt x="8465" y="6147"/>
                </a:lnTo>
                <a:lnTo>
                  <a:pt x="8451" y="6114"/>
                </a:lnTo>
                <a:lnTo>
                  <a:pt x="8438" y="6080"/>
                </a:lnTo>
                <a:lnTo>
                  <a:pt x="8426" y="6046"/>
                </a:lnTo>
                <a:lnTo>
                  <a:pt x="8414" y="6011"/>
                </a:lnTo>
                <a:lnTo>
                  <a:pt x="8403" y="5976"/>
                </a:lnTo>
                <a:lnTo>
                  <a:pt x="8393" y="5940"/>
                </a:lnTo>
                <a:lnTo>
                  <a:pt x="8383" y="5904"/>
                </a:lnTo>
                <a:lnTo>
                  <a:pt x="8375" y="5868"/>
                </a:lnTo>
                <a:lnTo>
                  <a:pt x="8366" y="5831"/>
                </a:lnTo>
                <a:lnTo>
                  <a:pt x="8359" y="5794"/>
                </a:lnTo>
                <a:lnTo>
                  <a:pt x="8352" y="5756"/>
                </a:lnTo>
                <a:lnTo>
                  <a:pt x="8346" y="5719"/>
                </a:lnTo>
                <a:lnTo>
                  <a:pt x="8341" y="5679"/>
                </a:lnTo>
                <a:lnTo>
                  <a:pt x="8337" y="5641"/>
                </a:lnTo>
                <a:lnTo>
                  <a:pt x="8333" y="5602"/>
                </a:lnTo>
                <a:lnTo>
                  <a:pt x="8329" y="5563"/>
                </a:lnTo>
                <a:lnTo>
                  <a:pt x="8327" y="5523"/>
                </a:lnTo>
                <a:lnTo>
                  <a:pt x="8325" y="5483"/>
                </a:lnTo>
                <a:lnTo>
                  <a:pt x="8324" y="5443"/>
                </a:lnTo>
                <a:lnTo>
                  <a:pt x="8324" y="5403"/>
                </a:lnTo>
                <a:lnTo>
                  <a:pt x="8324" y="3525"/>
                </a:lnTo>
                <a:lnTo>
                  <a:pt x="8324" y="3489"/>
                </a:lnTo>
                <a:lnTo>
                  <a:pt x="8325" y="3454"/>
                </a:lnTo>
                <a:lnTo>
                  <a:pt x="8327" y="3419"/>
                </a:lnTo>
                <a:lnTo>
                  <a:pt x="8329" y="3384"/>
                </a:lnTo>
                <a:lnTo>
                  <a:pt x="8333" y="3348"/>
                </a:lnTo>
                <a:lnTo>
                  <a:pt x="8337" y="3314"/>
                </a:lnTo>
                <a:lnTo>
                  <a:pt x="8341" y="3278"/>
                </a:lnTo>
                <a:lnTo>
                  <a:pt x="8346" y="3243"/>
                </a:lnTo>
                <a:lnTo>
                  <a:pt x="8352" y="3208"/>
                </a:lnTo>
                <a:lnTo>
                  <a:pt x="8359" y="3174"/>
                </a:lnTo>
                <a:lnTo>
                  <a:pt x="8366" y="3139"/>
                </a:lnTo>
                <a:lnTo>
                  <a:pt x="8375" y="3105"/>
                </a:lnTo>
                <a:lnTo>
                  <a:pt x="8383" y="3071"/>
                </a:lnTo>
                <a:lnTo>
                  <a:pt x="8393" y="3036"/>
                </a:lnTo>
                <a:lnTo>
                  <a:pt x="8403" y="3002"/>
                </a:lnTo>
                <a:lnTo>
                  <a:pt x="8414" y="2968"/>
                </a:lnTo>
                <a:lnTo>
                  <a:pt x="8426" y="2935"/>
                </a:lnTo>
                <a:lnTo>
                  <a:pt x="8438" y="2902"/>
                </a:lnTo>
                <a:lnTo>
                  <a:pt x="8451" y="2869"/>
                </a:lnTo>
                <a:lnTo>
                  <a:pt x="8465" y="2837"/>
                </a:lnTo>
                <a:lnTo>
                  <a:pt x="8480" y="2805"/>
                </a:lnTo>
                <a:lnTo>
                  <a:pt x="8495" y="2774"/>
                </a:lnTo>
                <a:lnTo>
                  <a:pt x="8512" y="2744"/>
                </a:lnTo>
                <a:lnTo>
                  <a:pt x="8529" y="2713"/>
                </a:lnTo>
                <a:lnTo>
                  <a:pt x="8546" y="2683"/>
                </a:lnTo>
                <a:lnTo>
                  <a:pt x="8565" y="2653"/>
                </a:lnTo>
                <a:lnTo>
                  <a:pt x="8584" y="2625"/>
                </a:lnTo>
                <a:lnTo>
                  <a:pt x="8603" y="2596"/>
                </a:lnTo>
                <a:lnTo>
                  <a:pt x="8624" y="2569"/>
                </a:lnTo>
                <a:lnTo>
                  <a:pt x="8645" y="2541"/>
                </a:lnTo>
                <a:lnTo>
                  <a:pt x="8667" y="2515"/>
                </a:lnTo>
                <a:lnTo>
                  <a:pt x="8689" y="2488"/>
                </a:lnTo>
                <a:lnTo>
                  <a:pt x="8713" y="2463"/>
                </a:lnTo>
                <a:lnTo>
                  <a:pt x="8737" y="2438"/>
                </a:lnTo>
                <a:lnTo>
                  <a:pt x="8762" y="2413"/>
                </a:lnTo>
                <a:lnTo>
                  <a:pt x="8787" y="2390"/>
                </a:lnTo>
                <a:lnTo>
                  <a:pt x="8814" y="2366"/>
                </a:lnTo>
                <a:lnTo>
                  <a:pt x="8841" y="2344"/>
                </a:lnTo>
                <a:lnTo>
                  <a:pt x="8868" y="2322"/>
                </a:lnTo>
                <a:lnTo>
                  <a:pt x="8897" y="2301"/>
                </a:lnTo>
                <a:lnTo>
                  <a:pt x="8926" y="2280"/>
                </a:lnTo>
                <a:lnTo>
                  <a:pt x="8956" y="2261"/>
                </a:lnTo>
                <a:lnTo>
                  <a:pt x="8987" y="2241"/>
                </a:lnTo>
                <a:lnTo>
                  <a:pt x="9018" y="2223"/>
                </a:lnTo>
                <a:lnTo>
                  <a:pt x="9050" y="2205"/>
                </a:lnTo>
                <a:lnTo>
                  <a:pt x="9083" y="2188"/>
                </a:lnTo>
                <a:lnTo>
                  <a:pt x="9117" y="2171"/>
                </a:lnTo>
                <a:lnTo>
                  <a:pt x="9151" y="2155"/>
                </a:lnTo>
                <a:lnTo>
                  <a:pt x="9186" y="2140"/>
                </a:lnTo>
                <a:lnTo>
                  <a:pt x="9222" y="2126"/>
                </a:lnTo>
                <a:lnTo>
                  <a:pt x="9259" y="2113"/>
                </a:lnTo>
                <a:lnTo>
                  <a:pt x="9296" y="2100"/>
                </a:lnTo>
                <a:lnTo>
                  <a:pt x="9335" y="2088"/>
                </a:lnTo>
                <a:lnTo>
                  <a:pt x="9374" y="2078"/>
                </a:lnTo>
                <a:lnTo>
                  <a:pt x="9414" y="2069"/>
                </a:lnTo>
                <a:lnTo>
                  <a:pt x="9455" y="2060"/>
                </a:lnTo>
                <a:lnTo>
                  <a:pt x="9496" y="2053"/>
                </a:lnTo>
                <a:lnTo>
                  <a:pt x="9540" y="2047"/>
                </a:lnTo>
                <a:lnTo>
                  <a:pt x="9583" y="2041"/>
                </a:lnTo>
                <a:lnTo>
                  <a:pt x="9627" y="2037"/>
                </a:lnTo>
                <a:lnTo>
                  <a:pt x="9672" y="2033"/>
                </a:lnTo>
                <a:lnTo>
                  <a:pt x="9718" y="2031"/>
                </a:lnTo>
                <a:lnTo>
                  <a:pt x="9764" y="2029"/>
                </a:lnTo>
                <a:lnTo>
                  <a:pt x="9812" y="2029"/>
                </a:lnTo>
                <a:lnTo>
                  <a:pt x="9848" y="2029"/>
                </a:lnTo>
                <a:lnTo>
                  <a:pt x="9884" y="2030"/>
                </a:lnTo>
                <a:lnTo>
                  <a:pt x="9919" y="2032"/>
                </a:lnTo>
                <a:lnTo>
                  <a:pt x="9954" y="2034"/>
                </a:lnTo>
                <a:lnTo>
                  <a:pt x="9989" y="2036"/>
                </a:lnTo>
                <a:lnTo>
                  <a:pt x="10023" y="2040"/>
                </a:lnTo>
                <a:lnTo>
                  <a:pt x="10056" y="2044"/>
                </a:lnTo>
                <a:lnTo>
                  <a:pt x="10090" y="2048"/>
                </a:lnTo>
                <a:lnTo>
                  <a:pt x="10122" y="2053"/>
                </a:lnTo>
                <a:lnTo>
                  <a:pt x="10155" y="2059"/>
                </a:lnTo>
                <a:lnTo>
                  <a:pt x="10187" y="2065"/>
                </a:lnTo>
                <a:lnTo>
                  <a:pt x="10218" y="2072"/>
                </a:lnTo>
                <a:lnTo>
                  <a:pt x="10249" y="2079"/>
                </a:lnTo>
                <a:lnTo>
                  <a:pt x="10280" y="2088"/>
                </a:lnTo>
                <a:lnTo>
                  <a:pt x="10310" y="2097"/>
                </a:lnTo>
                <a:lnTo>
                  <a:pt x="10340" y="2106"/>
                </a:lnTo>
                <a:lnTo>
                  <a:pt x="10370" y="2116"/>
                </a:lnTo>
                <a:lnTo>
                  <a:pt x="10399" y="2127"/>
                </a:lnTo>
                <a:lnTo>
                  <a:pt x="10427" y="2138"/>
                </a:lnTo>
                <a:lnTo>
                  <a:pt x="10455" y="2149"/>
                </a:lnTo>
                <a:lnTo>
                  <a:pt x="10483" y="2162"/>
                </a:lnTo>
                <a:lnTo>
                  <a:pt x="10511" y="2174"/>
                </a:lnTo>
                <a:lnTo>
                  <a:pt x="10538" y="2188"/>
                </a:lnTo>
                <a:lnTo>
                  <a:pt x="10564" y="2202"/>
                </a:lnTo>
                <a:lnTo>
                  <a:pt x="10590" y="2217"/>
                </a:lnTo>
                <a:lnTo>
                  <a:pt x="10616" y="2232"/>
                </a:lnTo>
                <a:lnTo>
                  <a:pt x="10641" y="2248"/>
                </a:lnTo>
                <a:lnTo>
                  <a:pt x="10666" y="2264"/>
                </a:lnTo>
                <a:lnTo>
                  <a:pt x="10690" y="2281"/>
                </a:lnTo>
                <a:lnTo>
                  <a:pt x="10714" y="2299"/>
                </a:lnTo>
                <a:lnTo>
                  <a:pt x="10737" y="2317"/>
                </a:lnTo>
                <a:lnTo>
                  <a:pt x="10760" y="2336"/>
                </a:lnTo>
                <a:lnTo>
                  <a:pt x="10783" y="2355"/>
                </a:lnTo>
                <a:lnTo>
                  <a:pt x="10805" y="2374"/>
                </a:lnTo>
                <a:lnTo>
                  <a:pt x="10827" y="2394"/>
                </a:lnTo>
                <a:lnTo>
                  <a:pt x="10848" y="2414"/>
                </a:lnTo>
                <a:lnTo>
                  <a:pt x="10868" y="2435"/>
                </a:lnTo>
                <a:lnTo>
                  <a:pt x="10888" y="2456"/>
                </a:lnTo>
                <a:lnTo>
                  <a:pt x="10908" y="2477"/>
                </a:lnTo>
                <a:lnTo>
                  <a:pt x="10927" y="2498"/>
                </a:lnTo>
                <a:lnTo>
                  <a:pt x="10946" y="2520"/>
                </a:lnTo>
                <a:lnTo>
                  <a:pt x="10964" y="2542"/>
                </a:lnTo>
                <a:lnTo>
                  <a:pt x="10982" y="2564"/>
                </a:lnTo>
                <a:lnTo>
                  <a:pt x="10999" y="2586"/>
                </a:lnTo>
                <a:lnTo>
                  <a:pt x="11016" y="2609"/>
                </a:lnTo>
                <a:lnTo>
                  <a:pt x="11032" y="2632"/>
                </a:lnTo>
                <a:lnTo>
                  <a:pt x="11048" y="2656"/>
                </a:lnTo>
                <a:lnTo>
                  <a:pt x="11063" y="2679"/>
                </a:lnTo>
                <a:lnTo>
                  <a:pt x="11078" y="2704"/>
                </a:lnTo>
                <a:lnTo>
                  <a:pt x="11092" y="2729"/>
                </a:lnTo>
                <a:lnTo>
                  <a:pt x="11106" y="2753"/>
                </a:lnTo>
                <a:lnTo>
                  <a:pt x="11120" y="2778"/>
                </a:lnTo>
                <a:lnTo>
                  <a:pt x="11133" y="2803"/>
                </a:lnTo>
                <a:lnTo>
                  <a:pt x="11145" y="2829"/>
                </a:lnTo>
                <a:lnTo>
                  <a:pt x="11157" y="2855"/>
                </a:lnTo>
                <a:lnTo>
                  <a:pt x="11169" y="2881"/>
                </a:lnTo>
                <a:lnTo>
                  <a:pt x="11180" y="2907"/>
                </a:lnTo>
                <a:lnTo>
                  <a:pt x="11190" y="2934"/>
                </a:lnTo>
                <a:lnTo>
                  <a:pt x="11200" y="2961"/>
                </a:lnTo>
                <a:lnTo>
                  <a:pt x="11210" y="2988"/>
                </a:lnTo>
                <a:lnTo>
                  <a:pt x="11219" y="3016"/>
                </a:lnTo>
                <a:lnTo>
                  <a:pt x="11227" y="3044"/>
                </a:lnTo>
                <a:lnTo>
                  <a:pt x="11235" y="3072"/>
                </a:lnTo>
                <a:lnTo>
                  <a:pt x="11243" y="3100"/>
                </a:lnTo>
                <a:lnTo>
                  <a:pt x="10485" y="3351"/>
                </a:lnTo>
                <a:lnTo>
                  <a:pt x="10479" y="3325"/>
                </a:lnTo>
                <a:lnTo>
                  <a:pt x="10473" y="3300"/>
                </a:lnTo>
                <a:lnTo>
                  <a:pt x="10466" y="3273"/>
                </a:lnTo>
                <a:lnTo>
                  <a:pt x="10457" y="3248"/>
                </a:lnTo>
                <a:lnTo>
                  <a:pt x="10448" y="3223"/>
                </a:lnTo>
                <a:lnTo>
                  <a:pt x="10438" y="3198"/>
                </a:lnTo>
                <a:lnTo>
                  <a:pt x="10427" y="3174"/>
                </a:lnTo>
                <a:lnTo>
                  <a:pt x="10416" y="3149"/>
                </a:lnTo>
                <a:lnTo>
                  <a:pt x="10403" y="3125"/>
                </a:lnTo>
                <a:lnTo>
                  <a:pt x="10389" y="3102"/>
                </a:lnTo>
                <a:lnTo>
                  <a:pt x="10374" y="3079"/>
                </a:lnTo>
                <a:lnTo>
                  <a:pt x="10358" y="3056"/>
                </a:lnTo>
                <a:lnTo>
                  <a:pt x="10341" y="3034"/>
                </a:lnTo>
                <a:lnTo>
                  <a:pt x="10323" y="3013"/>
                </a:lnTo>
                <a:lnTo>
                  <a:pt x="10304" y="2992"/>
                </a:lnTo>
                <a:lnTo>
                  <a:pt x="10284" y="2972"/>
                </a:lnTo>
                <a:lnTo>
                  <a:pt x="10262" y="2953"/>
                </a:lnTo>
                <a:lnTo>
                  <a:pt x="10240" y="2934"/>
                </a:lnTo>
                <a:lnTo>
                  <a:pt x="10216" y="2917"/>
                </a:lnTo>
                <a:lnTo>
                  <a:pt x="10192" y="2900"/>
                </a:lnTo>
                <a:lnTo>
                  <a:pt x="10166" y="2884"/>
                </a:lnTo>
                <a:lnTo>
                  <a:pt x="10139" y="2870"/>
                </a:lnTo>
                <a:lnTo>
                  <a:pt x="10111" y="2856"/>
                </a:lnTo>
                <a:lnTo>
                  <a:pt x="10082" y="2844"/>
                </a:lnTo>
                <a:lnTo>
                  <a:pt x="10052" y="2832"/>
                </a:lnTo>
                <a:lnTo>
                  <a:pt x="10021" y="2822"/>
                </a:lnTo>
                <a:lnTo>
                  <a:pt x="9989" y="2814"/>
                </a:lnTo>
                <a:lnTo>
                  <a:pt x="9956" y="2807"/>
                </a:lnTo>
                <a:lnTo>
                  <a:pt x="9921" y="2802"/>
                </a:lnTo>
                <a:lnTo>
                  <a:pt x="9886" y="2798"/>
                </a:lnTo>
                <a:lnTo>
                  <a:pt x="9849" y="2796"/>
                </a:lnTo>
                <a:lnTo>
                  <a:pt x="9812" y="2795"/>
                </a:lnTo>
                <a:lnTo>
                  <a:pt x="9789" y="2795"/>
                </a:lnTo>
                <a:lnTo>
                  <a:pt x="9767" y="2796"/>
                </a:lnTo>
                <a:lnTo>
                  <a:pt x="9746" y="2797"/>
                </a:lnTo>
                <a:lnTo>
                  <a:pt x="9725" y="2799"/>
                </a:lnTo>
                <a:lnTo>
                  <a:pt x="9704" y="2801"/>
                </a:lnTo>
                <a:lnTo>
                  <a:pt x="9684" y="2804"/>
                </a:lnTo>
                <a:lnTo>
                  <a:pt x="9664" y="2807"/>
                </a:lnTo>
                <a:lnTo>
                  <a:pt x="9644" y="2811"/>
                </a:lnTo>
                <a:lnTo>
                  <a:pt x="9625" y="2815"/>
                </a:lnTo>
                <a:lnTo>
                  <a:pt x="9606" y="2819"/>
                </a:lnTo>
                <a:lnTo>
                  <a:pt x="9588" y="2824"/>
                </a:lnTo>
                <a:lnTo>
                  <a:pt x="9570" y="2830"/>
                </a:lnTo>
                <a:lnTo>
                  <a:pt x="9553" y="2836"/>
                </a:lnTo>
                <a:lnTo>
                  <a:pt x="9536" y="2843"/>
                </a:lnTo>
                <a:lnTo>
                  <a:pt x="9519" y="2850"/>
                </a:lnTo>
                <a:lnTo>
                  <a:pt x="9502" y="2857"/>
                </a:lnTo>
                <a:lnTo>
                  <a:pt x="9470" y="2874"/>
                </a:lnTo>
                <a:lnTo>
                  <a:pt x="9440" y="2891"/>
                </a:lnTo>
                <a:lnTo>
                  <a:pt x="9412" y="2910"/>
                </a:lnTo>
                <a:lnTo>
                  <a:pt x="9385" y="2929"/>
                </a:lnTo>
                <a:lnTo>
                  <a:pt x="9359" y="2950"/>
                </a:lnTo>
                <a:lnTo>
                  <a:pt x="9334" y="2973"/>
                </a:lnTo>
                <a:lnTo>
                  <a:pt x="9311" y="2996"/>
                </a:lnTo>
                <a:lnTo>
                  <a:pt x="9290" y="3020"/>
                </a:lnTo>
                <a:lnTo>
                  <a:pt x="9270" y="3046"/>
                </a:lnTo>
                <a:lnTo>
                  <a:pt x="9251" y="3072"/>
                </a:lnTo>
                <a:lnTo>
                  <a:pt x="9233" y="3099"/>
                </a:lnTo>
                <a:lnTo>
                  <a:pt x="9217" y="3127"/>
                </a:lnTo>
                <a:lnTo>
                  <a:pt x="9202" y="3156"/>
                </a:lnTo>
                <a:lnTo>
                  <a:pt x="9188" y="3185"/>
                </a:lnTo>
                <a:lnTo>
                  <a:pt x="9176" y="3215"/>
                </a:lnTo>
                <a:lnTo>
                  <a:pt x="9165" y="3246"/>
                </a:lnTo>
                <a:lnTo>
                  <a:pt x="9155" y="3278"/>
                </a:lnTo>
                <a:lnTo>
                  <a:pt x="9147" y="3310"/>
                </a:lnTo>
                <a:lnTo>
                  <a:pt x="9140" y="3341"/>
                </a:lnTo>
                <a:lnTo>
                  <a:pt x="9134" y="3372"/>
                </a:lnTo>
                <a:lnTo>
                  <a:pt x="9129" y="3403"/>
                </a:lnTo>
                <a:lnTo>
                  <a:pt x="9126" y="3435"/>
                </a:lnTo>
                <a:lnTo>
                  <a:pt x="9124" y="3466"/>
                </a:lnTo>
                <a:lnTo>
                  <a:pt x="9123" y="3497"/>
                </a:lnTo>
                <a:lnTo>
                  <a:pt x="9123" y="5423"/>
                </a:lnTo>
                <a:lnTo>
                  <a:pt x="9124" y="5461"/>
                </a:lnTo>
                <a:lnTo>
                  <a:pt x="9126" y="5499"/>
                </a:lnTo>
                <a:lnTo>
                  <a:pt x="9129" y="5536"/>
                </a:lnTo>
                <a:lnTo>
                  <a:pt x="9134" y="5573"/>
                </a:lnTo>
                <a:lnTo>
                  <a:pt x="9140" y="5609"/>
                </a:lnTo>
                <a:lnTo>
                  <a:pt x="9147" y="5645"/>
                </a:lnTo>
                <a:lnTo>
                  <a:pt x="9155" y="5680"/>
                </a:lnTo>
                <a:lnTo>
                  <a:pt x="9165" y="5716"/>
                </a:lnTo>
                <a:lnTo>
                  <a:pt x="9176" y="5750"/>
                </a:lnTo>
                <a:lnTo>
                  <a:pt x="9189" y="5783"/>
                </a:lnTo>
                <a:lnTo>
                  <a:pt x="9202" y="5815"/>
                </a:lnTo>
                <a:lnTo>
                  <a:pt x="9218" y="5846"/>
                </a:lnTo>
                <a:lnTo>
                  <a:pt x="9235" y="5876"/>
                </a:lnTo>
                <a:lnTo>
                  <a:pt x="9253" y="5905"/>
                </a:lnTo>
                <a:lnTo>
                  <a:pt x="9272" y="5932"/>
                </a:lnTo>
                <a:lnTo>
                  <a:pt x="9293" y="5959"/>
                </a:lnTo>
                <a:lnTo>
                  <a:pt x="9316" y="5984"/>
                </a:lnTo>
                <a:lnTo>
                  <a:pt x="9339" y="6008"/>
                </a:lnTo>
                <a:lnTo>
                  <a:pt x="9364" y="6031"/>
                </a:lnTo>
                <a:lnTo>
                  <a:pt x="9391" y="6052"/>
                </a:lnTo>
                <a:lnTo>
                  <a:pt x="9418" y="6072"/>
                </a:lnTo>
                <a:lnTo>
                  <a:pt x="9447" y="6090"/>
                </a:lnTo>
                <a:lnTo>
                  <a:pt x="9477" y="6107"/>
                </a:lnTo>
                <a:lnTo>
                  <a:pt x="9510" y="6122"/>
                </a:lnTo>
                <a:lnTo>
                  <a:pt x="9526" y="6129"/>
                </a:lnTo>
                <a:lnTo>
                  <a:pt x="9542" y="6136"/>
                </a:lnTo>
                <a:lnTo>
                  <a:pt x="9559" y="6142"/>
                </a:lnTo>
                <a:lnTo>
                  <a:pt x="9577" y="6148"/>
                </a:lnTo>
                <a:lnTo>
                  <a:pt x="9594" y="6153"/>
                </a:lnTo>
                <a:lnTo>
                  <a:pt x="9612" y="6158"/>
                </a:lnTo>
                <a:lnTo>
                  <a:pt x="9631" y="6163"/>
                </a:lnTo>
                <a:lnTo>
                  <a:pt x="9649" y="6166"/>
                </a:lnTo>
                <a:lnTo>
                  <a:pt x="9668" y="6170"/>
                </a:lnTo>
                <a:lnTo>
                  <a:pt x="9688" y="6173"/>
                </a:lnTo>
                <a:lnTo>
                  <a:pt x="9708" y="6175"/>
                </a:lnTo>
                <a:lnTo>
                  <a:pt x="9728" y="6177"/>
                </a:lnTo>
                <a:lnTo>
                  <a:pt x="9769" y="6180"/>
                </a:lnTo>
                <a:lnTo>
                  <a:pt x="9812" y="6181"/>
                </a:lnTo>
                <a:lnTo>
                  <a:pt x="9843" y="6181"/>
                </a:lnTo>
                <a:lnTo>
                  <a:pt x="9875" y="6179"/>
                </a:lnTo>
                <a:lnTo>
                  <a:pt x="9905" y="6176"/>
                </a:lnTo>
                <a:lnTo>
                  <a:pt x="9935" y="6172"/>
                </a:lnTo>
                <a:lnTo>
                  <a:pt x="9965" y="6167"/>
                </a:lnTo>
                <a:lnTo>
                  <a:pt x="9994" y="6161"/>
                </a:lnTo>
                <a:lnTo>
                  <a:pt x="10022" y="6153"/>
                </a:lnTo>
                <a:lnTo>
                  <a:pt x="10049" y="6145"/>
                </a:lnTo>
                <a:lnTo>
                  <a:pt x="10077" y="6135"/>
                </a:lnTo>
                <a:lnTo>
                  <a:pt x="10103" y="6124"/>
                </a:lnTo>
                <a:lnTo>
                  <a:pt x="10129" y="6112"/>
                </a:lnTo>
                <a:lnTo>
                  <a:pt x="10154" y="6099"/>
                </a:lnTo>
                <a:lnTo>
                  <a:pt x="10179" y="6085"/>
                </a:lnTo>
                <a:lnTo>
                  <a:pt x="10203" y="6070"/>
                </a:lnTo>
                <a:lnTo>
                  <a:pt x="10226" y="6053"/>
                </a:lnTo>
                <a:lnTo>
                  <a:pt x="10249" y="6036"/>
                </a:lnTo>
                <a:lnTo>
                  <a:pt x="10271" y="6017"/>
                </a:lnTo>
                <a:lnTo>
                  <a:pt x="10292" y="5997"/>
                </a:lnTo>
                <a:lnTo>
                  <a:pt x="10312" y="5977"/>
                </a:lnTo>
                <a:lnTo>
                  <a:pt x="10331" y="5956"/>
                </a:lnTo>
                <a:lnTo>
                  <a:pt x="10349" y="5933"/>
                </a:lnTo>
                <a:lnTo>
                  <a:pt x="10366" y="5910"/>
                </a:lnTo>
                <a:lnTo>
                  <a:pt x="10382" y="5887"/>
                </a:lnTo>
                <a:lnTo>
                  <a:pt x="10397" y="5862"/>
                </a:lnTo>
                <a:lnTo>
                  <a:pt x="10410" y="5836"/>
                </a:lnTo>
                <a:lnTo>
                  <a:pt x="10423" y="5810"/>
                </a:lnTo>
                <a:lnTo>
                  <a:pt x="10435" y="5782"/>
                </a:lnTo>
                <a:lnTo>
                  <a:pt x="10446" y="5754"/>
                </a:lnTo>
                <a:lnTo>
                  <a:pt x="10455" y="5725"/>
                </a:lnTo>
                <a:lnTo>
                  <a:pt x="10464" y="5695"/>
                </a:lnTo>
                <a:lnTo>
                  <a:pt x="10472" y="5663"/>
                </a:lnTo>
                <a:lnTo>
                  <a:pt x="10478" y="5632"/>
                </a:lnTo>
                <a:lnTo>
                  <a:pt x="11236" y="58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4579" name="Picture 3" descr="C:\Users\Biryulin.DL\AppData\Local\Microsoft\Windows\Temporary Internet Files\Content.Outlook\TMFC0Z6A\фото на сайт.jp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41" b="14740"/>
          <a:stretch/>
        </p:blipFill>
        <p:spPr bwMode="auto">
          <a:xfrm>
            <a:off x="395536" y="4581128"/>
            <a:ext cx="3077644" cy="1695456"/>
          </a:xfrm>
          <a:prstGeom prst="rect">
            <a:avLst/>
          </a:prstGeom>
          <a:noFill/>
          <a:ln w="5715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arrow10_1_solid"/>
          <p:cNvSpPr/>
          <p:nvPr/>
        </p:nvSpPr>
        <p:spPr bwMode="auto">
          <a:xfrm>
            <a:off x="3635896" y="1916832"/>
            <a:ext cx="540060" cy="354343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/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14" name="arrow10_1_solid"/>
          <p:cNvSpPr/>
          <p:nvPr/>
        </p:nvSpPr>
        <p:spPr bwMode="auto">
          <a:xfrm>
            <a:off x="3635896" y="2996952"/>
            <a:ext cx="540060" cy="354343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/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15" name="arrow10_1_solid"/>
          <p:cNvSpPr/>
          <p:nvPr/>
        </p:nvSpPr>
        <p:spPr bwMode="auto">
          <a:xfrm>
            <a:off x="3635896" y="4334797"/>
            <a:ext cx="540060" cy="354343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/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16" name="arrow10_1_solid"/>
          <p:cNvSpPr/>
          <p:nvPr/>
        </p:nvSpPr>
        <p:spPr bwMode="auto">
          <a:xfrm>
            <a:off x="3635896" y="5378913"/>
            <a:ext cx="540060" cy="354343"/>
          </a:xfrm>
          <a:prstGeom prst="rightArrow">
            <a:avLst>
              <a:gd name="adj1" fmla="val 44001"/>
              <a:gd name="adj2" fmla="val 93725"/>
            </a:avLst>
          </a:prstGeom>
          <a:solidFill>
            <a:schemeClr val="accent4"/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22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2200" dirty="0">
              <a:solidFill>
                <a:srgbClr val="00559B"/>
              </a:solidFill>
              <a:cs typeface="Arial" charset="0"/>
            </a:endParaRPr>
          </a:p>
        </p:txBody>
      </p:sp>
      <p:grpSp>
        <p:nvGrpSpPr>
          <p:cNvPr id="17" name="konference"/>
          <p:cNvGrpSpPr>
            <a:grpSpLocks noChangeAspect="1"/>
          </p:cNvGrpSpPr>
          <p:nvPr/>
        </p:nvGrpSpPr>
        <p:grpSpPr bwMode="auto">
          <a:xfrm>
            <a:off x="4283968" y="5294089"/>
            <a:ext cx="504230" cy="511175"/>
            <a:chOff x="3878" y="1661"/>
            <a:chExt cx="363" cy="368"/>
          </a:xfrm>
          <a:solidFill>
            <a:schemeClr val="accent3"/>
          </a:solidFill>
        </p:grpSpPr>
        <p:sp>
          <p:nvSpPr>
            <p:cNvPr id="18" name="Freeform 5"/>
            <p:cNvSpPr>
              <a:spLocks/>
            </p:cNvSpPr>
            <p:nvPr/>
          </p:nvSpPr>
          <p:spPr bwMode="auto">
            <a:xfrm>
              <a:off x="3878" y="1919"/>
              <a:ext cx="93" cy="64"/>
            </a:xfrm>
            <a:custGeom>
              <a:avLst/>
              <a:gdLst>
                <a:gd name="T0" fmla="*/ 2927 w 4110"/>
                <a:gd name="T1" fmla="*/ 2764 h 2799"/>
                <a:gd name="T2" fmla="*/ 2963 w 4110"/>
                <a:gd name="T3" fmla="*/ 2699 h 2799"/>
                <a:gd name="T4" fmla="*/ 3003 w 4110"/>
                <a:gd name="T5" fmla="*/ 2637 h 2799"/>
                <a:gd name="T6" fmla="*/ 3051 w 4110"/>
                <a:gd name="T7" fmla="*/ 2578 h 2799"/>
                <a:gd name="T8" fmla="*/ 3105 w 4110"/>
                <a:gd name="T9" fmla="*/ 2525 h 2799"/>
                <a:gd name="T10" fmla="*/ 3165 w 4110"/>
                <a:gd name="T11" fmla="*/ 2475 h 2799"/>
                <a:gd name="T12" fmla="*/ 3231 w 4110"/>
                <a:gd name="T13" fmla="*/ 2430 h 2799"/>
                <a:gd name="T14" fmla="*/ 3304 w 4110"/>
                <a:gd name="T15" fmla="*/ 2389 h 2799"/>
                <a:gd name="T16" fmla="*/ 3383 w 4110"/>
                <a:gd name="T17" fmla="*/ 2353 h 2799"/>
                <a:gd name="T18" fmla="*/ 4110 w 4110"/>
                <a:gd name="T19" fmla="*/ 2003 h 2799"/>
                <a:gd name="T20" fmla="*/ 4072 w 4110"/>
                <a:gd name="T21" fmla="*/ 1957 h 2799"/>
                <a:gd name="T22" fmla="*/ 4034 w 4110"/>
                <a:gd name="T23" fmla="*/ 1909 h 2799"/>
                <a:gd name="T24" fmla="*/ 3977 w 4110"/>
                <a:gd name="T25" fmla="*/ 1831 h 2799"/>
                <a:gd name="T26" fmla="*/ 3924 w 4110"/>
                <a:gd name="T27" fmla="*/ 1750 h 2799"/>
                <a:gd name="T28" fmla="*/ 3873 w 4110"/>
                <a:gd name="T29" fmla="*/ 1666 h 2799"/>
                <a:gd name="T30" fmla="*/ 3826 w 4110"/>
                <a:gd name="T31" fmla="*/ 1580 h 2799"/>
                <a:gd name="T32" fmla="*/ 3782 w 4110"/>
                <a:gd name="T33" fmla="*/ 1490 h 2799"/>
                <a:gd name="T34" fmla="*/ 3743 w 4110"/>
                <a:gd name="T35" fmla="*/ 1398 h 2799"/>
                <a:gd name="T36" fmla="*/ 3705 w 4110"/>
                <a:gd name="T37" fmla="*/ 1303 h 2799"/>
                <a:gd name="T38" fmla="*/ 3673 w 4110"/>
                <a:gd name="T39" fmla="*/ 1206 h 2799"/>
                <a:gd name="T40" fmla="*/ 3643 w 4110"/>
                <a:gd name="T41" fmla="*/ 1106 h 2799"/>
                <a:gd name="T42" fmla="*/ 3616 w 4110"/>
                <a:gd name="T43" fmla="*/ 1004 h 2799"/>
                <a:gd name="T44" fmla="*/ 3594 w 4110"/>
                <a:gd name="T45" fmla="*/ 899 h 2799"/>
                <a:gd name="T46" fmla="*/ 3575 w 4110"/>
                <a:gd name="T47" fmla="*/ 792 h 2799"/>
                <a:gd name="T48" fmla="*/ 3560 w 4110"/>
                <a:gd name="T49" fmla="*/ 684 h 2799"/>
                <a:gd name="T50" fmla="*/ 3548 w 4110"/>
                <a:gd name="T51" fmla="*/ 572 h 2799"/>
                <a:gd name="T52" fmla="*/ 3540 w 4110"/>
                <a:gd name="T53" fmla="*/ 460 h 2799"/>
                <a:gd name="T54" fmla="*/ 3536 w 4110"/>
                <a:gd name="T55" fmla="*/ 345 h 2799"/>
                <a:gd name="T56" fmla="*/ 3083 w 4110"/>
                <a:gd name="T57" fmla="*/ 0 h 2799"/>
                <a:gd name="T58" fmla="*/ 2443 w 4110"/>
                <a:gd name="T59" fmla="*/ 570 h 2799"/>
                <a:gd name="T60" fmla="*/ 1514 w 4110"/>
                <a:gd name="T61" fmla="*/ 301 h 2799"/>
                <a:gd name="T62" fmla="*/ 751 w 4110"/>
                <a:gd name="T63" fmla="*/ 652 h 2799"/>
                <a:gd name="T64" fmla="*/ 710 w 4110"/>
                <a:gd name="T65" fmla="*/ 672 h 2799"/>
                <a:gd name="T66" fmla="*/ 671 w 4110"/>
                <a:gd name="T67" fmla="*/ 694 h 2799"/>
                <a:gd name="T68" fmla="*/ 634 w 4110"/>
                <a:gd name="T69" fmla="*/ 718 h 2799"/>
                <a:gd name="T70" fmla="*/ 597 w 4110"/>
                <a:gd name="T71" fmla="*/ 746 h 2799"/>
                <a:gd name="T72" fmla="*/ 565 w 4110"/>
                <a:gd name="T73" fmla="*/ 779 h 2799"/>
                <a:gd name="T74" fmla="*/ 536 w 4110"/>
                <a:gd name="T75" fmla="*/ 814 h 2799"/>
                <a:gd name="T76" fmla="*/ 510 w 4110"/>
                <a:gd name="T77" fmla="*/ 855 h 2799"/>
                <a:gd name="T78" fmla="*/ 490 w 4110"/>
                <a:gd name="T79" fmla="*/ 897 h 2799"/>
                <a:gd name="T80" fmla="*/ 427 w 4110"/>
                <a:gd name="T81" fmla="*/ 1053 h 2799"/>
                <a:gd name="T82" fmla="*/ 354 w 4110"/>
                <a:gd name="T83" fmla="*/ 1246 h 2799"/>
                <a:gd name="T84" fmla="*/ 296 w 4110"/>
                <a:gd name="T85" fmla="*/ 1401 h 2799"/>
                <a:gd name="T86" fmla="*/ 237 w 4110"/>
                <a:gd name="T87" fmla="*/ 1570 h 2799"/>
                <a:gd name="T88" fmla="*/ 179 w 4110"/>
                <a:gd name="T89" fmla="*/ 1747 h 2799"/>
                <a:gd name="T90" fmla="*/ 123 w 4110"/>
                <a:gd name="T91" fmla="*/ 1927 h 2799"/>
                <a:gd name="T92" fmla="*/ 76 w 4110"/>
                <a:gd name="T93" fmla="*/ 2105 h 2799"/>
                <a:gd name="T94" fmla="*/ 36 w 4110"/>
                <a:gd name="T95" fmla="*/ 2274 h 2799"/>
                <a:gd name="T96" fmla="*/ 10 w 4110"/>
                <a:gd name="T97" fmla="*/ 2428 h 2799"/>
                <a:gd name="T98" fmla="*/ 0 w 4110"/>
                <a:gd name="T99" fmla="*/ 2563 h 2799"/>
                <a:gd name="T100" fmla="*/ 8 w 4110"/>
                <a:gd name="T101" fmla="*/ 2673 h 2799"/>
                <a:gd name="T102" fmla="*/ 38 w 4110"/>
                <a:gd name="T103" fmla="*/ 2751 h 2799"/>
                <a:gd name="T104" fmla="*/ 93 w 4110"/>
                <a:gd name="T105" fmla="*/ 2794 h 2799"/>
                <a:gd name="T106" fmla="*/ 2913 w 4110"/>
                <a:gd name="T107" fmla="*/ 2799 h 2799"/>
                <a:gd name="T108" fmla="*/ 2922 w 4110"/>
                <a:gd name="T109" fmla="*/ 2777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110" h="2799">
                  <a:moveTo>
                    <a:pt x="2922" y="2777"/>
                  </a:moveTo>
                  <a:lnTo>
                    <a:pt x="2927" y="2764"/>
                  </a:lnTo>
                  <a:lnTo>
                    <a:pt x="2944" y="2731"/>
                  </a:lnTo>
                  <a:lnTo>
                    <a:pt x="2963" y="2699"/>
                  </a:lnTo>
                  <a:lnTo>
                    <a:pt x="2982" y="2667"/>
                  </a:lnTo>
                  <a:lnTo>
                    <a:pt x="3003" y="2637"/>
                  </a:lnTo>
                  <a:lnTo>
                    <a:pt x="3026" y="2607"/>
                  </a:lnTo>
                  <a:lnTo>
                    <a:pt x="3051" y="2578"/>
                  </a:lnTo>
                  <a:lnTo>
                    <a:pt x="3077" y="2551"/>
                  </a:lnTo>
                  <a:lnTo>
                    <a:pt x="3105" y="2525"/>
                  </a:lnTo>
                  <a:lnTo>
                    <a:pt x="3134" y="2499"/>
                  </a:lnTo>
                  <a:lnTo>
                    <a:pt x="3165" y="2475"/>
                  </a:lnTo>
                  <a:lnTo>
                    <a:pt x="3197" y="2453"/>
                  </a:lnTo>
                  <a:lnTo>
                    <a:pt x="3231" y="2430"/>
                  </a:lnTo>
                  <a:lnTo>
                    <a:pt x="3267" y="2409"/>
                  </a:lnTo>
                  <a:lnTo>
                    <a:pt x="3304" y="2389"/>
                  </a:lnTo>
                  <a:lnTo>
                    <a:pt x="3343" y="2371"/>
                  </a:lnTo>
                  <a:lnTo>
                    <a:pt x="3383" y="2353"/>
                  </a:lnTo>
                  <a:lnTo>
                    <a:pt x="4074" y="2034"/>
                  </a:lnTo>
                  <a:lnTo>
                    <a:pt x="4110" y="2003"/>
                  </a:lnTo>
                  <a:lnTo>
                    <a:pt x="4091" y="1980"/>
                  </a:lnTo>
                  <a:lnTo>
                    <a:pt x="4072" y="1957"/>
                  </a:lnTo>
                  <a:lnTo>
                    <a:pt x="4053" y="1934"/>
                  </a:lnTo>
                  <a:lnTo>
                    <a:pt x="4034" y="1909"/>
                  </a:lnTo>
                  <a:lnTo>
                    <a:pt x="4005" y="1871"/>
                  </a:lnTo>
                  <a:lnTo>
                    <a:pt x="3977" y="1831"/>
                  </a:lnTo>
                  <a:lnTo>
                    <a:pt x="3950" y="1791"/>
                  </a:lnTo>
                  <a:lnTo>
                    <a:pt x="3924" y="1750"/>
                  </a:lnTo>
                  <a:lnTo>
                    <a:pt x="3897" y="1709"/>
                  </a:lnTo>
                  <a:lnTo>
                    <a:pt x="3873" y="1666"/>
                  </a:lnTo>
                  <a:lnTo>
                    <a:pt x="3849" y="1624"/>
                  </a:lnTo>
                  <a:lnTo>
                    <a:pt x="3826" y="1580"/>
                  </a:lnTo>
                  <a:lnTo>
                    <a:pt x="3804" y="1536"/>
                  </a:lnTo>
                  <a:lnTo>
                    <a:pt x="3782" y="1490"/>
                  </a:lnTo>
                  <a:lnTo>
                    <a:pt x="3762" y="1445"/>
                  </a:lnTo>
                  <a:lnTo>
                    <a:pt x="3743" y="1398"/>
                  </a:lnTo>
                  <a:lnTo>
                    <a:pt x="3723" y="1351"/>
                  </a:lnTo>
                  <a:lnTo>
                    <a:pt x="3705" y="1303"/>
                  </a:lnTo>
                  <a:lnTo>
                    <a:pt x="3689" y="1254"/>
                  </a:lnTo>
                  <a:lnTo>
                    <a:pt x="3673" y="1206"/>
                  </a:lnTo>
                  <a:lnTo>
                    <a:pt x="3657" y="1156"/>
                  </a:lnTo>
                  <a:lnTo>
                    <a:pt x="3643" y="1106"/>
                  </a:lnTo>
                  <a:lnTo>
                    <a:pt x="3629" y="1055"/>
                  </a:lnTo>
                  <a:lnTo>
                    <a:pt x="3616" y="1004"/>
                  </a:lnTo>
                  <a:lnTo>
                    <a:pt x="3605" y="952"/>
                  </a:lnTo>
                  <a:lnTo>
                    <a:pt x="3594" y="899"/>
                  </a:lnTo>
                  <a:lnTo>
                    <a:pt x="3584" y="846"/>
                  </a:lnTo>
                  <a:lnTo>
                    <a:pt x="3575" y="792"/>
                  </a:lnTo>
                  <a:lnTo>
                    <a:pt x="3567" y="738"/>
                  </a:lnTo>
                  <a:lnTo>
                    <a:pt x="3560" y="684"/>
                  </a:lnTo>
                  <a:lnTo>
                    <a:pt x="3553" y="628"/>
                  </a:lnTo>
                  <a:lnTo>
                    <a:pt x="3548" y="572"/>
                  </a:lnTo>
                  <a:lnTo>
                    <a:pt x="3544" y="517"/>
                  </a:lnTo>
                  <a:lnTo>
                    <a:pt x="3540" y="460"/>
                  </a:lnTo>
                  <a:lnTo>
                    <a:pt x="3537" y="402"/>
                  </a:lnTo>
                  <a:lnTo>
                    <a:pt x="3536" y="345"/>
                  </a:lnTo>
                  <a:lnTo>
                    <a:pt x="3440" y="301"/>
                  </a:lnTo>
                  <a:lnTo>
                    <a:pt x="3083" y="0"/>
                  </a:lnTo>
                  <a:lnTo>
                    <a:pt x="2510" y="570"/>
                  </a:lnTo>
                  <a:lnTo>
                    <a:pt x="2443" y="570"/>
                  </a:lnTo>
                  <a:lnTo>
                    <a:pt x="1870" y="0"/>
                  </a:lnTo>
                  <a:lnTo>
                    <a:pt x="1514" y="301"/>
                  </a:lnTo>
                  <a:lnTo>
                    <a:pt x="772" y="643"/>
                  </a:lnTo>
                  <a:lnTo>
                    <a:pt x="751" y="652"/>
                  </a:lnTo>
                  <a:lnTo>
                    <a:pt x="731" y="661"/>
                  </a:lnTo>
                  <a:lnTo>
                    <a:pt x="710" y="672"/>
                  </a:lnTo>
                  <a:lnTo>
                    <a:pt x="690" y="682"/>
                  </a:lnTo>
                  <a:lnTo>
                    <a:pt x="671" y="694"/>
                  </a:lnTo>
                  <a:lnTo>
                    <a:pt x="652" y="705"/>
                  </a:lnTo>
                  <a:lnTo>
                    <a:pt x="634" y="718"/>
                  </a:lnTo>
                  <a:lnTo>
                    <a:pt x="615" y="732"/>
                  </a:lnTo>
                  <a:lnTo>
                    <a:pt x="597" y="746"/>
                  </a:lnTo>
                  <a:lnTo>
                    <a:pt x="581" y="762"/>
                  </a:lnTo>
                  <a:lnTo>
                    <a:pt x="565" y="779"/>
                  </a:lnTo>
                  <a:lnTo>
                    <a:pt x="550" y="796"/>
                  </a:lnTo>
                  <a:lnTo>
                    <a:pt x="536" y="814"/>
                  </a:lnTo>
                  <a:lnTo>
                    <a:pt x="522" y="834"/>
                  </a:lnTo>
                  <a:lnTo>
                    <a:pt x="510" y="855"/>
                  </a:lnTo>
                  <a:lnTo>
                    <a:pt x="499" y="876"/>
                  </a:lnTo>
                  <a:lnTo>
                    <a:pt x="490" y="897"/>
                  </a:lnTo>
                  <a:lnTo>
                    <a:pt x="466" y="959"/>
                  </a:lnTo>
                  <a:lnTo>
                    <a:pt x="427" y="1053"/>
                  </a:lnTo>
                  <a:lnTo>
                    <a:pt x="380" y="1177"/>
                  </a:lnTo>
                  <a:lnTo>
                    <a:pt x="354" y="1246"/>
                  </a:lnTo>
                  <a:lnTo>
                    <a:pt x="325" y="1322"/>
                  </a:lnTo>
                  <a:lnTo>
                    <a:pt x="296" y="1401"/>
                  </a:lnTo>
                  <a:lnTo>
                    <a:pt x="267" y="1484"/>
                  </a:lnTo>
                  <a:lnTo>
                    <a:pt x="237" y="1570"/>
                  </a:lnTo>
                  <a:lnTo>
                    <a:pt x="208" y="1658"/>
                  </a:lnTo>
                  <a:lnTo>
                    <a:pt x="179" y="1747"/>
                  </a:lnTo>
                  <a:lnTo>
                    <a:pt x="151" y="1837"/>
                  </a:lnTo>
                  <a:lnTo>
                    <a:pt x="123" y="1927"/>
                  </a:lnTo>
                  <a:lnTo>
                    <a:pt x="99" y="2017"/>
                  </a:lnTo>
                  <a:lnTo>
                    <a:pt x="76" y="2105"/>
                  </a:lnTo>
                  <a:lnTo>
                    <a:pt x="55" y="2191"/>
                  </a:lnTo>
                  <a:lnTo>
                    <a:pt x="36" y="2274"/>
                  </a:lnTo>
                  <a:lnTo>
                    <a:pt x="22" y="2354"/>
                  </a:lnTo>
                  <a:lnTo>
                    <a:pt x="10" y="2428"/>
                  </a:lnTo>
                  <a:lnTo>
                    <a:pt x="3" y="2499"/>
                  </a:lnTo>
                  <a:lnTo>
                    <a:pt x="0" y="2563"/>
                  </a:lnTo>
                  <a:lnTo>
                    <a:pt x="2" y="2622"/>
                  </a:lnTo>
                  <a:lnTo>
                    <a:pt x="8" y="2673"/>
                  </a:lnTo>
                  <a:lnTo>
                    <a:pt x="20" y="2717"/>
                  </a:lnTo>
                  <a:lnTo>
                    <a:pt x="38" y="2751"/>
                  </a:lnTo>
                  <a:lnTo>
                    <a:pt x="63" y="2778"/>
                  </a:lnTo>
                  <a:lnTo>
                    <a:pt x="93" y="2794"/>
                  </a:lnTo>
                  <a:lnTo>
                    <a:pt x="130" y="2799"/>
                  </a:lnTo>
                  <a:lnTo>
                    <a:pt x="2913" y="2799"/>
                  </a:lnTo>
                  <a:lnTo>
                    <a:pt x="2919" y="2784"/>
                  </a:lnTo>
                  <a:lnTo>
                    <a:pt x="2922" y="27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3904" y="1849"/>
              <a:ext cx="61" cy="73"/>
            </a:xfrm>
            <a:custGeom>
              <a:avLst/>
              <a:gdLst>
                <a:gd name="T0" fmla="*/ 9 w 2675"/>
                <a:gd name="T1" fmla="*/ 1535 h 3213"/>
                <a:gd name="T2" fmla="*/ 50 w 2675"/>
                <a:gd name="T3" fmla="*/ 1839 h 3213"/>
                <a:gd name="T4" fmla="*/ 121 w 2675"/>
                <a:gd name="T5" fmla="*/ 2115 h 3213"/>
                <a:gd name="T6" fmla="*/ 217 w 2675"/>
                <a:gd name="T7" fmla="*/ 2363 h 3213"/>
                <a:gd name="T8" fmla="*/ 335 w 2675"/>
                <a:gd name="T9" fmla="*/ 2582 h 3213"/>
                <a:gd name="T10" fmla="*/ 473 w 2675"/>
                <a:gd name="T11" fmla="*/ 2770 h 3213"/>
                <a:gd name="T12" fmla="*/ 626 w 2675"/>
                <a:gd name="T13" fmla="*/ 2927 h 3213"/>
                <a:gd name="T14" fmla="*/ 793 w 2675"/>
                <a:gd name="T15" fmla="*/ 3050 h 3213"/>
                <a:gd name="T16" fmla="*/ 969 w 2675"/>
                <a:gd name="T17" fmla="*/ 3141 h 3213"/>
                <a:gd name="T18" fmla="*/ 1152 w 2675"/>
                <a:gd name="T19" fmla="*/ 3195 h 3213"/>
                <a:gd name="T20" fmla="*/ 1338 w 2675"/>
                <a:gd name="T21" fmla="*/ 3213 h 3213"/>
                <a:gd name="T22" fmla="*/ 1501 w 2675"/>
                <a:gd name="T23" fmla="*/ 3195 h 3213"/>
                <a:gd name="T24" fmla="*/ 1670 w 2675"/>
                <a:gd name="T25" fmla="*/ 3141 h 3213"/>
                <a:gd name="T26" fmla="*/ 1840 w 2675"/>
                <a:gd name="T27" fmla="*/ 3050 h 3213"/>
                <a:gd name="T28" fmla="*/ 2006 w 2675"/>
                <a:gd name="T29" fmla="*/ 2927 h 3213"/>
                <a:gd name="T30" fmla="*/ 2164 w 2675"/>
                <a:gd name="T31" fmla="*/ 2770 h 3213"/>
                <a:gd name="T32" fmla="*/ 2309 w 2675"/>
                <a:gd name="T33" fmla="*/ 2582 h 3213"/>
                <a:gd name="T34" fmla="*/ 2436 w 2675"/>
                <a:gd name="T35" fmla="*/ 2363 h 3213"/>
                <a:gd name="T36" fmla="*/ 2541 w 2675"/>
                <a:gd name="T37" fmla="*/ 2115 h 3213"/>
                <a:gd name="T38" fmla="*/ 2619 w 2675"/>
                <a:gd name="T39" fmla="*/ 1839 h 3213"/>
                <a:gd name="T40" fmla="*/ 2665 w 2675"/>
                <a:gd name="T41" fmla="*/ 1535 h 3213"/>
                <a:gd name="T42" fmla="*/ 2675 w 2675"/>
                <a:gd name="T43" fmla="*/ 1242 h 3213"/>
                <a:gd name="T44" fmla="*/ 2660 w 2675"/>
                <a:gd name="T45" fmla="*/ 1024 h 3213"/>
                <a:gd name="T46" fmla="*/ 2622 w 2675"/>
                <a:gd name="T47" fmla="*/ 826 h 3213"/>
                <a:gd name="T48" fmla="*/ 2561 w 2675"/>
                <a:gd name="T49" fmla="*/ 647 h 3213"/>
                <a:gd name="T50" fmla="*/ 2477 w 2675"/>
                <a:gd name="T51" fmla="*/ 488 h 3213"/>
                <a:gd name="T52" fmla="*/ 2368 w 2675"/>
                <a:gd name="T53" fmla="*/ 350 h 3213"/>
                <a:gd name="T54" fmla="*/ 2233 w 2675"/>
                <a:gd name="T55" fmla="*/ 234 h 3213"/>
                <a:gd name="T56" fmla="*/ 2072 w 2675"/>
                <a:gd name="T57" fmla="*/ 140 h 3213"/>
                <a:gd name="T58" fmla="*/ 1885 w 2675"/>
                <a:gd name="T59" fmla="*/ 69 h 3213"/>
                <a:gd name="T60" fmla="*/ 1669 w 2675"/>
                <a:gd name="T61" fmla="*/ 24 h 3213"/>
                <a:gd name="T62" fmla="*/ 1425 w 2675"/>
                <a:gd name="T63" fmla="*/ 2 h 3213"/>
                <a:gd name="T64" fmla="*/ 1165 w 2675"/>
                <a:gd name="T65" fmla="*/ 6 h 3213"/>
                <a:gd name="T66" fmla="*/ 930 w 2675"/>
                <a:gd name="T67" fmla="*/ 36 h 3213"/>
                <a:gd name="T68" fmla="*/ 724 w 2675"/>
                <a:gd name="T69" fmla="*/ 90 h 3213"/>
                <a:gd name="T70" fmla="*/ 546 w 2675"/>
                <a:gd name="T71" fmla="*/ 168 h 3213"/>
                <a:gd name="T72" fmla="*/ 394 w 2675"/>
                <a:gd name="T73" fmla="*/ 271 h 3213"/>
                <a:gd name="T74" fmla="*/ 269 w 2675"/>
                <a:gd name="T75" fmla="*/ 394 h 3213"/>
                <a:gd name="T76" fmla="*/ 167 w 2675"/>
                <a:gd name="T77" fmla="*/ 539 h 3213"/>
                <a:gd name="T78" fmla="*/ 91 w 2675"/>
                <a:gd name="T79" fmla="*/ 705 h 3213"/>
                <a:gd name="T80" fmla="*/ 38 w 2675"/>
                <a:gd name="T81" fmla="*/ 890 h 3213"/>
                <a:gd name="T82" fmla="*/ 8 w 2675"/>
                <a:gd name="T83" fmla="*/ 1095 h 3213"/>
                <a:gd name="T84" fmla="*/ 0 w 2675"/>
                <a:gd name="T85" fmla="*/ 1318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5" h="3213">
                  <a:moveTo>
                    <a:pt x="0" y="1318"/>
                  </a:moveTo>
                  <a:lnTo>
                    <a:pt x="3" y="1428"/>
                  </a:lnTo>
                  <a:lnTo>
                    <a:pt x="9" y="1535"/>
                  </a:lnTo>
                  <a:lnTo>
                    <a:pt x="20" y="1639"/>
                  </a:lnTo>
                  <a:lnTo>
                    <a:pt x="33" y="1740"/>
                  </a:lnTo>
                  <a:lnTo>
                    <a:pt x="50" y="1839"/>
                  </a:lnTo>
                  <a:lnTo>
                    <a:pt x="70" y="1934"/>
                  </a:lnTo>
                  <a:lnTo>
                    <a:pt x="95" y="2026"/>
                  </a:lnTo>
                  <a:lnTo>
                    <a:pt x="121" y="2115"/>
                  </a:lnTo>
                  <a:lnTo>
                    <a:pt x="150" y="2201"/>
                  </a:lnTo>
                  <a:lnTo>
                    <a:pt x="182" y="2284"/>
                  </a:lnTo>
                  <a:lnTo>
                    <a:pt x="217" y="2363"/>
                  </a:lnTo>
                  <a:lnTo>
                    <a:pt x="253" y="2440"/>
                  </a:lnTo>
                  <a:lnTo>
                    <a:pt x="293" y="2513"/>
                  </a:lnTo>
                  <a:lnTo>
                    <a:pt x="335" y="2582"/>
                  </a:lnTo>
                  <a:lnTo>
                    <a:pt x="379" y="2649"/>
                  </a:lnTo>
                  <a:lnTo>
                    <a:pt x="425" y="2711"/>
                  </a:lnTo>
                  <a:lnTo>
                    <a:pt x="473" y="2770"/>
                  </a:lnTo>
                  <a:lnTo>
                    <a:pt x="522" y="2826"/>
                  </a:lnTo>
                  <a:lnTo>
                    <a:pt x="574" y="2878"/>
                  </a:lnTo>
                  <a:lnTo>
                    <a:pt x="626" y="2927"/>
                  </a:lnTo>
                  <a:lnTo>
                    <a:pt x="681" y="2972"/>
                  </a:lnTo>
                  <a:lnTo>
                    <a:pt x="736" y="3013"/>
                  </a:lnTo>
                  <a:lnTo>
                    <a:pt x="793" y="3050"/>
                  </a:lnTo>
                  <a:lnTo>
                    <a:pt x="851" y="3085"/>
                  </a:lnTo>
                  <a:lnTo>
                    <a:pt x="909" y="3114"/>
                  </a:lnTo>
                  <a:lnTo>
                    <a:pt x="969" y="3141"/>
                  </a:lnTo>
                  <a:lnTo>
                    <a:pt x="1029" y="3163"/>
                  </a:lnTo>
                  <a:lnTo>
                    <a:pt x="1090" y="3181"/>
                  </a:lnTo>
                  <a:lnTo>
                    <a:pt x="1152" y="3195"/>
                  </a:lnTo>
                  <a:lnTo>
                    <a:pt x="1213" y="3205"/>
                  </a:lnTo>
                  <a:lnTo>
                    <a:pt x="1276" y="3211"/>
                  </a:lnTo>
                  <a:lnTo>
                    <a:pt x="1338" y="3213"/>
                  </a:lnTo>
                  <a:lnTo>
                    <a:pt x="1391" y="3211"/>
                  </a:lnTo>
                  <a:lnTo>
                    <a:pt x="1446" y="3205"/>
                  </a:lnTo>
                  <a:lnTo>
                    <a:pt x="1501" y="3195"/>
                  </a:lnTo>
                  <a:lnTo>
                    <a:pt x="1557" y="3181"/>
                  </a:lnTo>
                  <a:lnTo>
                    <a:pt x="1613" y="3163"/>
                  </a:lnTo>
                  <a:lnTo>
                    <a:pt x="1670" y="3141"/>
                  </a:lnTo>
                  <a:lnTo>
                    <a:pt x="1727" y="3114"/>
                  </a:lnTo>
                  <a:lnTo>
                    <a:pt x="1783" y="3085"/>
                  </a:lnTo>
                  <a:lnTo>
                    <a:pt x="1840" y="3050"/>
                  </a:lnTo>
                  <a:lnTo>
                    <a:pt x="1896" y="3013"/>
                  </a:lnTo>
                  <a:lnTo>
                    <a:pt x="1952" y="2972"/>
                  </a:lnTo>
                  <a:lnTo>
                    <a:pt x="2006" y="2927"/>
                  </a:lnTo>
                  <a:lnTo>
                    <a:pt x="2060" y="2878"/>
                  </a:lnTo>
                  <a:lnTo>
                    <a:pt x="2113" y="2826"/>
                  </a:lnTo>
                  <a:lnTo>
                    <a:pt x="2164" y="2770"/>
                  </a:lnTo>
                  <a:lnTo>
                    <a:pt x="2215" y="2711"/>
                  </a:lnTo>
                  <a:lnTo>
                    <a:pt x="2262" y="2649"/>
                  </a:lnTo>
                  <a:lnTo>
                    <a:pt x="2309" y="2582"/>
                  </a:lnTo>
                  <a:lnTo>
                    <a:pt x="2353" y="2513"/>
                  </a:lnTo>
                  <a:lnTo>
                    <a:pt x="2397" y="2440"/>
                  </a:lnTo>
                  <a:lnTo>
                    <a:pt x="2436" y="2363"/>
                  </a:lnTo>
                  <a:lnTo>
                    <a:pt x="2473" y="2284"/>
                  </a:lnTo>
                  <a:lnTo>
                    <a:pt x="2509" y="2201"/>
                  </a:lnTo>
                  <a:lnTo>
                    <a:pt x="2541" y="2115"/>
                  </a:lnTo>
                  <a:lnTo>
                    <a:pt x="2570" y="2026"/>
                  </a:lnTo>
                  <a:lnTo>
                    <a:pt x="2597" y="1934"/>
                  </a:lnTo>
                  <a:lnTo>
                    <a:pt x="2619" y="1839"/>
                  </a:lnTo>
                  <a:lnTo>
                    <a:pt x="2638" y="1740"/>
                  </a:lnTo>
                  <a:lnTo>
                    <a:pt x="2653" y="1639"/>
                  </a:lnTo>
                  <a:lnTo>
                    <a:pt x="2665" y="1535"/>
                  </a:lnTo>
                  <a:lnTo>
                    <a:pt x="2672" y="1428"/>
                  </a:lnTo>
                  <a:lnTo>
                    <a:pt x="2675" y="1318"/>
                  </a:lnTo>
                  <a:lnTo>
                    <a:pt x="2675" y="1242"/>
                  </a:lnTo>
                  <a:lnTo>
                    <a:pt x="2672" y="1167"/>
                  </a:lnTo>
                  <a:lnTo>
                    <a:pt x="2667" y="1095"/>
                  </a:lnTo>
                  <a:lnTo>
                    <a:pt x="2660" y="1024"/>
                  </a:lnTo>
                  <a:lnTo>
                    <a:pt x="2650" y="957"/>
                  </a:lnTo>
                  <a:lnTo>
                    <a:pt x="2637" y="890"/>
                  </a:lnTo>
                  <a:lnTo>
                    <a:pt x="2622" y="826"/>
                  </a:lnTo>
                  <a:lnTo>
                    <a:pt x="2605" y="764"/>
                  </a:lnTo>
                  <a:lnTo>
                    <a:pt x="2584" y="705"/>
                  </a:lnTo>
                  <a:lnTo>
                    <a:pt x="2561" y="647"/>
                  </a:lnTo>
                  <a:lnTo>
                    <a:pt x="2536" y="592"/>
                  </a:lnTo>
                  <a:lnTo>
                    <a:pt x="2508" y="539"/>
                  </a:lnTo>
                  <a:lnTo>
                    <a:pt x="2477" y="488"/>
                  </a:lnTo>
                  <a:lnTo>
                    <a:pt x="2443" y="440"/>
                  </a:lnTo>
                  <a:lnTo>
                    <a:pt x="2407" y="394"/>
                  </a:lnTo>
                  <a:lnTo>
                    <a:pt x="2368" y="350"/>
                  </a:lnTo>
                  <a:lnTo>
                    <a:pt x="2326" y="309"/>
                  </a:lnTo>
                  <a:lnTo>
                    <a:pt x="2281" y="271"/>
                  </a:lnTo>
                  <a:lnTo>
                    <a:pt x="2233" y="234"/>
                  </a:lnTo>
                  <a:lnTo>
                    <a:pt x="2182" y="200"/>
                  </a:lnTo>
                  <a:lnTo>
                    <a:pt x="2129" y="168"/>
                  </a:lnTo>
                  <a:lnTo>
                    <a:pt x="2072" y="140"/>
                  </a:lnTo>
                  <a:lnTo>
                    <a:pt x="2014" y="114"/>
                  </a:lnTo>
                  <a:lnTo>
                    <a:pt x="1951" y="90"/>
                  </a:lnTo>
                  <a:lnTo>
                    <a:pt x="1885" y="69"/>
                  </a:lnTo>
                  <a:lnTo>
                    <a:pt x="1817" y="52"/>
                  </a:lnTo>
                  <a:lnTo>
                    <a:pt x="1745" y="36"/>
                  </a:lnTo>
                  <a:lnTo>
                    <a:pt x="1669" y="24"/>
                  </a:lnTo>
                  <a:lnTo>
                    <a:pt x="1591" y="13"/>
                  </a:lnTo>
                  <a:lnTo>
                    <a:pt x="1510" y="6"/>
                  </a:lnTo>
                  <a:lnTo>
                    <a:pt x="1425" y="2"/>
                  </a:lnTo>
                  <a:lnTo>
                    <a:pt x="1338" y="0"/>
                  </a:lnTo>
                  <a:lnTo>
                    <a:pt x="1250" y="2"/>
                  </a:lnTo>
                  <a:lnTo>
                    <a:pt x="1165" y="6"/>
                  </a:lnTo>
                  <a:lnTo>
                    <a:pt x="1084" y="13"/>
                  </a:lnTo>
                  <a:lnTo>
                    <a:pt x="1005" y="24"/>
                  </a:lnTo>
                  <a:lnTo>
                    <a:pt x="930" y="36"/>
                  </a:lnTo>
                  <a:lnTo>
                    <a:pt x="859" y="52"/>
                  </a:lnTo>
                  <a:lnTo>
                    <a:pt x="790" y="69"/>
                  </a:lnTo>
                  <a:lnTo>
                    <a:pt x="724" y="90"/>
                  </a:lnTo>
                  <a:lnTo>
                    <a:pt x="662" y="114"/>
                  </a:lnTo>
                  <a:lnTo>
                    <a:pt x="602" y="140"/>
                  </a:lnTo>
                  <a:lnTo>
                    <a:pt x="546" y="168"/>
                  </a:lnTo>
                  <a:lnTo>
                    <a:pt x="493" y="200"/>
                  </a:lnTo>
                  <a:lnTo>
                    <a:pt x="441" y="234"/>
                  </a:lnTo>
                  <a:lnTo>
                    <a:pt x="394" y="271"/>
                  </a:lnTo>
                  <a:lnTo>
                    <a:pt x="349" y="309"/>
                  </a:lnTo>
                  <a:lnTo>
                    <a:pt x="307" y="350"/>
                  </a:lnTo>
                  <a:lnTo>
                    <a:pt x="269" y="394"/>
                  </a:lnTo>
                  <a:lnTo>
                    <a:pt x="232" y="440"/>
                  </a:lnTo>
                  <a:lnTo>
                    <a:pt x="198" y="488"/>
                  </a:lnTo>
                  <a:lnTo>
                    <a:pt x="167" y="539"/>
                  </a:lnTo>
                  <a:lnTo>
                    <a:pt x="139" y="592"/>
                  </a:lnTo>
                  <a:lnTo>
                    <a:pt x="114" y="647"/>
                  </a:lnTo>
                  <a:lnTo>
                    <a:pt x="91" y="705"/>
                  </a:lnTo>
                  <a:lnTo>
                    <a:pt x="70" y="764"/>
                  </a:lnTo>
                  <a:lnTo>
                    <a:pt x="53" y="826"/>
                  </a:lnTo>
                  <a:lnTo>
                    <a:pt x="38" y="890"/>
                  </a:lnTo>
                  <a:lnTo>
                    <a:pt x="25" y="957"/>
                  </a:lnTo>
                  <a:lnTo>
                    <a:pt x="15" y="1024"/>
                  </a:lnTo>
                  <a:lnTo>
                    <a:pt x="8" y="1095"/>
                  </a:lnTo>
                  <a:lnTo>
                    <a:pt x="3" y="1167"/>
                  </a:lnTo>
                  <a:lnTo>
                    <a:pt x="0" y="1242"/>
                  </a:lnTo>
                  <a:lnTo>
                    <a:pt x="0" y="13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4022" y="1919"/>
              <a:ext cx="75" cy="64"/>
            </a:xfrm>
            <a:custGeom>
              <a:avLst/>
              <a:gdLst>
                <a:gd name="T0" fmla="*/ 832 w 3291"/>
                <a:gd name="T1" fmla="*/ 2391 h 2799"/>
                <a:gd name="T2" fmla="*/ 942 w 3291"/>
                <a:gd name="T3" fmla="*/ 2456 h 2799"/>
                <a:gd name="T4" fmla="*/ 1036 w 3291"/>
                <a:gd name="T5" fmla="*/ 2532 h 2799"/>
                <a:gd name="T6" fmla="*/ 1104 w 3291"/>
                <a:gd name="T7" fmla="*/ 2601 h 2799"/>
                <a:gd name="T8" fmla="*/ 1138 w 3291"/>
                <a:gd name="T9" fmla="*/ 2646 h 2799"/>
                <a:gd name="T10" fmla="*/ 1169 w 3291"/>
                <a:gd name="T11" fmla="*/ 2694 h 2799"/>
                <a:gd name="T12" fmla="*/ 1196 w 3291"/>
                <a:gd name="T13" fmla="*/ 2743 h 2799"/>
                <a:gd name="T14" fmla="*/ 1214 w 3291"/>
                <a:gd name="T15" fmla="*/ 2784 h 2799"/>
                <a:gd name="T16" fmla="*/ 2100 w 3291"/>
                <a:gd name="T17" fmla="*/ 2784 h 2799"/>
                <a:gd name="T18" fmla="*/ 2124 w 3291"/>
                <a:gd name="T19" fmla="*/ 2731 h 2799"/>
                <a:gd name="T20" fmla="*/ 2184 w 3291"/>
                <a:gd name="T21" fmla="*/ 2637 h 2799"/>
                <a:gd name="T22" fmla="*/ 2258 w 3291"/>
                <a:gd name="T23" fmla="*/ 2551 h 2799"/>
                <a:gd name="T24" fmla="*/ 2346 w 3291"/>
                <a:gd name="T25" fmla="*/ 2475 h 2799"/>
                <a:gd name="T26" fmla="*/ 2448 w 3291"/>
                <a:gd name="T27" fmla="*/ 2409 h 2799"/>
                <a:gd name="T28" fmla="*/ 2563 w 3291"/>
                <a:gd name="T29" fmla="*/ 2353 h 2799"/>
                <a:gd name="T30" fmla="*/ 3271 w 3291"/>
                <a:gd name="T31" fmla="*/ 1980 h 2799"/>
                <a:gd name="T32" fmla="*/ 3215 w 3291"/>
                <a:gd name="T33" fmla="*/ 1909 h 2799"/>
                <a:gd name="T34" fmla="*/ 3130 w 3291"/>
                <a:gd name="T35" fmla="*/ 1791 h 2799"/>
                <a:gd name="T36" fmla="*/ 3054 w 3291"/>
                <a:gd name="T37" fmla="*/ 1666 h 2799"/>
                <a:gd name="T38" fmla="*/ 2984 w 3291"/>
                <a:gd name="T39" fmla="*/ 1536 h 2799"/>
                <a:gd name="T40" fmla="*/ 2923 w 3291"/>
                <a:gd name="T41" fmla="*/ 1398 h 2799"/>
                <a:gd name="T42" fmla="*/ 2869 w 3291"/>
                <a:gd name="T43" fmla="*/ 1254 h 2799"/>
                <a:gd name="T44" fmla="*/ 2824 w 3291"/>
                <a:gd name="T45" fmla="*/ 1106 h 2799"/>
                <a:gd name="T46" fmla="*/ 2785 w 3291"/>
                <a:gd name="T47" fmla="*/ 952 h 2799"/>
                <a:gd name="T48" fmla="*/ 2756 w 3291"/>
                <a:gd name="T49" fmla="*/ 792 h 2799"/>
                <a:gd name="T50" fmla="*/ 2734 w 3291"/>
                <a:gd name="T51" fmla="*/ 628 h 2799"/>
                <a:gd name="T52" fmla="*/ 2720 w 3291"/>
                <a:gd name="T53" fmla="*/ 460 h 2799"/>
                <a:gd name="T54" fmla="*/ 2619 w 3291"/>
                <a:gd name="T55" fmla="*/ 301 h 2799"/>
                <a:gd name="T56" fmla="*/ 1624 w 3291"/>
                <a:gd name="T57" fmla="*/ 570 h 2799"/>
                <a:gd name="T58" fmla="*/ 599 w 3291"/>
                <a:gd name="T59" fmla="*/ 345 h 2799"/>
                <a:gd name="T60" fmla="*/ 589 w 3291"/>
                <a:gd name="T61" fmla="*/ 513 h 2799"/>
                <a:gd name="T62" fmla="*/ 571 w 3291"/>
                <a:gd name="T63" fmla="*/ 678 h 2799"/>
                <a:gd name="T64" fmla="*/ 545 w 3291"/>
                <a:gd name="T65" fmla="*/ 839 h 2799"/>
                <a:gd name="T66" fmla="*/ 509 w 3291"/>
                <a:gd name="T67" fmla="*/ 996 h 2799"/>
                <a:gd name="T68" fmla="*/ 465 w 3291"/>
                <a:gd name="T69" fmla="*/ 1149 h 2799"/>
                <a:gd name="T70" fmla="*/ 412 w 3291"/>
                <a:gd name="T71" fmla="*/ 1298 h 2799"/>
                <a:gd name="T72" fmla="*/ 351 w 3291"/>
                <a:gd name="T73" fmla="*/ 1442 h 2799"/>
                <a:gd name="T74" fmla="*/ 281 w 3291"/>
                <a:gd name="T75" fmla="*/ 1579 h 2799"/>
                <a:gd name="T76" fmla="*/ 204 w 3291"/>
                <a:gd name="T77" fmla="*/ 1711 h 2799"/>
                <a:gd name="T78" fmla="*/ 120 w 3291"/>
                <a:gd name="T79" fmla="*/ 1836 h 2799"/>
                <a:gd name="T80" fmla="*/ 44 w 3291"/>
                <a:gd name="T81" fmla="*/ 1934 h 2799"/>
                <a:gd name="T82" fmla="*/ 0 w 3291"/>
                <a:gd name="T83" fmla="*/ 1984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91" h="2799">
                  <a:moveTo>
                    <a:pt x="751" y="2353"/>
                  </a:moveTo>
                  <a:lnTo>
                    <a:pt x="793" y="2371"/>
                  </a:lnTo>
                  <a:lnTo>
                    <a:pt x="832" y="2391"/>
                  </a:lnTo>
                  <a:lnTo>
                    <a:pt x="870" y="2411"/>
                  </a:lnTo>
                  <a:lnTo>
                    <a:pt x="907" y="2433"/>
                  </a:lnTo>
                  <a:lnTo>
                    <a:pt x="942" y="2456"/>
                  </a:lnTo>
                  <a:lnTo>
                    <a:pt x="975" y="2480"/>
                  </a:lnTo>
                  <a:lnTo>
                    <a:pt x="1007" y="2505"/>
                  </a:lnTo>
                  <a:lnTo>
                    <a:pt x="1036" y="2532"/>
                  </a:lnTo>
                  <a:lnTo>
                    <a:pt x="1064" y="2559"/>
                  </a:lnTo>
                  <a:lnTo>
                    <a:pt x="1091" y="2586"/>
                  </a:lnTo>
                  <a:lnTo>
                    <a:pt x="1104" y="2601"/>
                  </a:lnTo>
                  <a:lnTo>
                    <a:pt x="1116" y="2616"/>
                  </a:lnTo>
                  <a:lnTo>
                    <a:pt x="1127" y="2631"/>
                  </a:lnTo>
                  <a:lnTo>
                    <a:pt x="1138" y="2646"/>
                  </a:lnTo>
                  <a:lnTo>
                    <a:pt x="1149" y="2662"/>
                  </a:lnTo>
                  <a:lnTo>
                    <a:pt x="1159" y="2677"/>
                  </a:lnTo>
                  <a:lnTo>
                    <a:pt x="1169" y="2694"/>
                  </a:lnTo>
                  <a:lnTo>
                    <a:pt x="1179" y="2710"/>
                  </a:lnTo>
                  <a:lnTo>
                    <a:pt x="1188" y="2726"/>
                  </a:lnTo>
                  <a:lnTo>
                    <a:pt x="1196" y="2743"/>
                  </a:lnTo>
                  <a:lnTo>
                    <a:pt x="1204" y="2759"/>
                  </a:lnTo>
                  <a:lnTo>
                    <a:pt x="1211" y="2777"/>
                  </a:lnTo>
                  <a:lnTo>
                    <a:pt x="1214" y="2784"/>
                  </a:lnTo>
                  <a:lnTo>
                    <a:pt x="1221" y="2799"/>
                  </a:lnTo>
                  <a:lnTo>
                    <a:pt x="2093" y="2799"/>
                  </a:lnTo>
                  <a:lnTo>
                    <a:pt x="2100" y="2784"/>
                  </a:lnTo>
                  <a:lnTo>
                    <a:pt x="2103" y="2777"/>
                  </a:lnTo>
                  <a:lnTo>
                    <a:pt x="2108" y="2764"/>
                  </a:lnTo>
                  <a:lnTo>
                    <a:pt x="2124" y="2731"/>
                  </a:lnTo>
                  <a:lnTo>
                    <a:pt x="2143" y="2699"/>
                  </a:lnTo>
                  <a:lnTo>
                    <a:pt x="2163" y="2667"/>
                  </a:lnTo>
                  <a:lnTo>
                    <a:pt x="2184" y="2637"/>
                  </a:lnTo>
                  <a:lnTo>
                    <a:pt x="2207" y="2607"/>
                  </a:lnTo>
                  <a:lnTo>
                    <a:pt x="2231" y="2578"/>
                  </a:lnTo>
                  <a:lnTo>
                    <a:pt x="2258" y="2551"/>
                  </a:lnTo>
                  <a:lnTo>
                    <a:pt x="2285" y="2525"/>
                  </a:lnTo>
                  <a:lnTo>
                    <a:pt x="2314" y="2499"/>
                  </a:lnTo>
                  <a:lnTo>
                    <a:pt x="2346" y="2475"/>
                  </a:lnTo>
                  <a:lnTo>
                    <a:pt x="2378" y="2453"/>
                  </a:lnTo>
                  <a:lnTo>
                    <a:pt x="2411" y="2430"/>
                  </a:lnTo>
                  <a:lnTo>
                    <a:pt x="2448" y="2409"/>
                  </a:lnTo>
                  <a:lnTo>
                    <a:pt x="2484" y="2389"/>
                  </a:lnTo>
                  <a:lnTo>
                    <a:pt x="2522" y="2371"/>
                  </a:lnTo>
                  <a:lnTo>
                    <a:pt x="2563" y="2353"/>
                  </a:lnTo>
                  <a:lnTo>
                    <a:pt x="3255" y="2034"/>
                  </a:lnTo>
                  <a:lnTo>
                    <a:pt x="3291" y="2003"/>
                  </a:lnTo>
                  <a:lnTo>
                    <a:pt x="3271" y="1980"/>
                  </a:lnTo>
                  <a:lnTo>
                    <a:pt x="3252" y="1957"/>
                  </a:lnTo>
                  <a:lnTo>
                    <a:pt x="3233" y="1934"/>
                  </a:lnTo>
                  <a:lnTo>
                    <a:pt x="3215" y="1909"/>
                  </a:lnTo>
                  <a:lnTo>
                    <a:pt x="3185" y="1871"/>
                  </a:lnTo>
                  <a:lnTo>
                    <a:pt x="3157" y="1831"/>
                  </a:lnTo>
                  <a:lnTo>
                    <a:pt x="3130" y="1791"/>
                  </a:lnTo>
                  <a:lnTo>
                    <a:pt x="3103" y="1750"/>
                  </a:lnTo>
                  <a:lnTo>
                    <a:pt x="3078" y="1709"/>
                  </a:lnTo>
                  <a:lnTo>
                    <a:pt x="3054" y="1666"/>
                  </a:lnTo>
                  <a:lnTo>
                    <a:pt x="3030" y="1624"/>
                  </a:lnTo>
                  <a:lnTo>
                    <a:pt x="3006" y="1580"/>
                  </a:lnTo>
                  <a:lnTo>
                    <a:pt x="2984" y="1536"/>
                  </a:lnTo>
                  <a:lnTo>
                    <a:pt x="2963" y="1490"/>
                  </a:lnTo>
                  <a:lnTo>
                    <a:pt x="2943" y="1445"/>
                  </a:lnTo>
                  <a:lnTo>
                    <a:pt x="2923" y="1398"/>
                  </a:lnTo>
                  <a:lnTo>
                    <a:pt x="2904" y="1351"/>
                  </a:lnTo>
                  <a:lnTo>
                    <a:pt x="2886" y="1303"/>
                  </a:lnTo>
                  <a:lnTo>
                    <a:pt x="2869" y="1254"/>
                  </a:lnTo>
                  <a:lnTo>
                    <a:pt x="2853" y="1206"/>
                  </a:lnTo>
                  <a:lnTo>
                    <a:pt x="2838" y="1156"/>
                  </a:lnTo>
                  <a:lnTo>
                    <a:pt x="2824" y="1106"/>
                  </a:lnTo>
                  <a:lnTo>
                    <a:pt x="2809" y="1055"/>
                  </a:lnTo>
                  <a:lnTo>
                    <a:pt x="2797" y="1004"/>
                  </a:lnTo>
                  <a:lnTo>
                    <a:pt x="2785" y="952"/>
                  </a:lnTo>
                  <a:lnTo>
                    <a:pt x="2775" y="899"/>
                  </a:lnTo>
                  <a:lnTo>
                    <a:pt x="2765" y="846"/>
                  </a:lnTo>
                  <a:lnTo>
                    <a:pt x="2756" y="792"/>
                  </a:lnTo>
                  <a:lnTo>
                    <a:pt x="2748" y="738"/>
                  </a:lnTo>
                  <a:lnTo>
                    <a:pt x="2740" y="684"/>
                  </a:lnTo>
                  <a:lnTo>
                    <a:pt x="2734" y="628"/>
                  </a:lnTo>
                  <a:lnTo>
                    <a:pt x="2729" y="572"/>
                  </a:lnTo>
                  <a:lnTo>
                    <a:pt x="2724" y="517"/>
                  </a:lnTo>
                  <a:lnTo>
                    <a:pt x="2720" y="460"/>
                  </a:lnTo>
                  <a:lnTo>
                    <a:pt x="2717" y="402"/>
                  </a:lnTo>
                  <a:lnTo>
                    <a:pt x="2715" y="345"/>
                  </a:lnTo>
                  <a:lnTo>
                    <a:pt x="2619" y="301"/>
                  </a:lnTo>
                  <a:lnTo>
                    <a:pt x="2264" y="0"/>
                  </a:lnTo>
                  <a:lnTo>
                    <a:pt x="1690" y="570"/>
                  </a:lnTo>
                  <a:lnTo>
                    <a:pt x="1624" y="570"/>
                  </a:lnTo>
                  <a:lnTo>
                    <a:pt x="1051" y="0"/>
                  </a:lnTo>
                  <a:lnTo>
                    <a:pt x="695" y="301"/>
                  </a:lnTo>
                  <a:lnTo>
                    <a:pt x="599" y="345"/>
                  </a:lnTo>
                  <a:lnTo>
                    <a:pt x="597" y="401"/>
                  </a:lnTo>
                  <a:lnTo>
                    <a:pt x="594" y="457"/>
                  </a:lnTo>
                  <a:lnTo>
                    <a:pt x="589" y="513"/>
                  </a:lnTo>
                  <a:lnTo>
                    <a:pt x="584" y="567"/>
                  </a:lnTo>
                  <a:lnTo>
                    <a:pt x="578" y="623"/>
                  </a:lnTo>
                  <a:lnTo>
                    <a:pt x="571" y="678"/>
                  </a:lnTo>
                  <a:lnTo>
                    <a:pt x="563" y="731"/>
                  </a:lnTo>
                  <a:lnTo>
                    <a:pt x="554" y="785"/>
                  </a:lnTo>
                  <a:lnTo>
                    <a:pt x="545" y="839"/>
                  </a:lnTo>
                  <a:lnTo>
                    <a:pt x="534" y="891"/>
                  </a:lnTo>
                  <a:lnTo>
                    <a:pt x="522" y="944"/>
                  </a:lnTo>
                  <a:lnTo>
                    <a:pt x="509" y="996"/>
                  </a:lnTo>
                  <a:lnTo>
                    <a:pt x="496" y="1048"/>
                  </a:lnTo>
                  <a:lnTo>
                    <a:pt x="480" y="1099"/>
                  </a:lnTo>
                  <a:lnTo>
                    <a:pt x="465" y="1149"/>
                  </a:lnTo>
                  <a:lnTo>
                    <a:pt x="448" y="1200"/>
                  </a:lnTo>
                  <a:lnTo>
                    <a:pt x="431" y="1249"/>
                  </a:lnTo>
                  <a:lnTo>
                    <a:pt x="412" y="1298"/>
                  </a:lnTo>
                  <a:lnTo>
                    <a:pt x="392" y="1347"/>
                  </a:lnTo>
                  <a:lnTo>
                    <a:pt x="372" y="1394"/>
                  </a:lnTo>
                  <a:lnTo>
                    <a:pt x="351" y="1442"/>
                  </a:lnTo>
                  <a:lnTo>
                    <a:pt x="329" y="1488"/>
                  </a:lnTo>
                  <a:lnTo>
                    <a:pt x="306" y="1535"/>
                  </a:lnTo>
                  <a:lnTo>
                    <a:pt x="281" y="1579"/>
                  </a:lnTo>
                  <a:lnTo>
                    <a:pt x="257" y="1624"/>
                  </a:lnTo>
                  <a:lnTo>
                    <a:pt x="231" y="1668"/>
                  </a:lnTo>
                  <a:lnTo>
                    <a:pt x="204" y="1711"/>
                  </a:lnTo>
                  <a:lnTo>
                    <a:pt x="177" y="1753"/>
                  </a:lnTo>
                  <a:lnTo>
                    <a:pt x="149" y="1796"/>
                  </a:lnTo>
                  <a:lnTo>
                    <a:pt x="120" y="1836"/>
                  </a:lnTo>
                  <a:lnTo>
                    <a:pt x="89" y="1877"/>
                  </a:lnTo>
                  <a:lnTo>
                    <a:pt x="59" y="1915"/>
                  </a:lnTo>
                  <a:lnTo>
                    <a:pt x="44" y="1934"/>
                  </a:lnTo>
                  <a:lnTo>
                    <a:pt x="30" y="1951"/>
                  </a:lnTo>
                  <a:lnTo>
                    <a:pt x="16" y="1968"/>
                  </a:lnTo>
                  <a:lnTo>
                    <a:pt x="0" y="1984"/>
                  </a:lnTo>
                  <a:lnTo>
                    <a:pt x="60" y="2034"/>
                  </a:lnTo>
                  <a:lnTo>
                    <a:pt x="751" y="2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8"/>
            <p:cNvSpPr>
              <a:spLocks/>
            </p:cNvSpPr>
            <p:nvPr/>
          </p:nvSpPr>
          <p:spPr bwMode="auto">
            <a:xfrm>
              <a:off x="4029" y="1849"/>
              <a:ext cx="61" cy="73"/>
            </a:xfrm>
            <a:custGeom>
              <a:avLst/>
              <a:gdLst>
                <a:gd name="T0" fmla="*/ 1447 w 2676"/>
                <a:gd name="T1" fmla="*/ 3205 h 3213"/>
                <a:gd name="T2" fmla="*/ 1614 w 2676"/>
                <a:gd name="T3" fmla="*/ 3163 h 3213"/>
                <a:gd name="T4" fmla="*/ 1784 w 2676"/>
                <a:gd name="T5" fmla="*/ 3085 h 3213"/>
                <a:gd name="T6" fmla="*/ 1952 w 2676"/>
                <a:gd name="T7" fmla="*/ 2972 h 3213"/>
                <a:gd name="T8" fmla="*/ 2114 w 2676"/>
                <a:gd name="T9" fmla="*/ 2826 h 3213"/>
                <a:gd name="T10" fmla="*/ 2263 w 2676"/>
                <a:gd name="T11" fmla="*/ 2649 h 3213"/>
                <a:gd name="T12" fmla="*/ 2396 w 2676"/>
                <a:gd name="T13" fmla="*/ 2439 h 3213"/>
                <a:gd name="T14" fmla="*/ 2510 w 2676"/>
                <a:gd name="T15" fmla="*/ 2201 h 3213"/>
                <a:gd name="T16" fmla="*/ 2597 w 2676"/>
                <a:gd name="T17" fmla="*/ 1934 h 3213"/>
                <a:gd name="T18" fmla="*/ 2654 w 2676"/>
                <a:gd name="T19" fmla="*/ 1639 h 3213"/>
                <a:gd name="T20" fmla="*/ 2676 w 2676"/>
                <a:gd name="T21" fmla="*/ 1318 h 3213"/>
                <a:gd name="T22" fmla="*/ 2668 w 2676"/>
                <a:gd name="T23" fmla="*/ 1095 h 3213"/>
                <a:gd name="T24" fmla="*/ 2638 w 2676"/>
                <a:gd name="T25" fmla="*/ 890 h 3213"/>
                <a:gd name="T26" fmla="*/ 2584 w 2676"/>
                <a:gd name="T27" fmla="*/ 705 h 3213"/>
                <a:gd name="T28" fmla="*/ 2509 w 2676"/>
                <a:gd name="T29" fmla="*/ 539 h 3213"/>
                <a:gd name="T30" fmla="*/ 2408 w 2676"/>
                <a:gd name="T31" fmla="*/ 394 h 3213"/>
                <a:gd name="T32" fmla="*/ 2281 w 2676"/>
                <a:gd name="T33" fmla="*/ 271 h 3213"/>
                <a:gd name="T34" fmla="*/ 2130 w 2676"/>
                <a:gd name="T35" fmla="*/ 168 h 3213"/>
                <a:gd name="T36" fmla="*/ 1951 w 2676"/>
                <a:gd name="T37" fmla="*/ 90 h 3213"/>
                <a:gd name="T38" fmla="*/ 1745 w 2676"/>
                <a:gd name="T39" fmla="*/ 36 h 3213"/>
                <a:gd name="T40" fmla="*/ 1510 w 2676"/>
                <a:gd name="T41" fmla="*/ 6 h 3213"/>
                <a:gd name="T42" fmla="*/ 1251 w 2676"/>
                <a:gd name="T43" fmla="*/ 2 h 3213"/>
                <a:gd name="T44" fmla="*/ 1006 w 2676"/>
                <a:gd name="T45" fmla="*/ 24 h 3213"/>
                <a:gd name="T46" fmla="*/ 791 w 2676"/>
                <a:gd name="T47" fmla="*/ 69 h 3213"/>
                <a:gd name="T48" fmla="*/ 603 w 2676"/>
                <a:gd name="T49" fmla="*/ 140 h 3213"/>
                <a:gd name="T50" fmla="*/ 442 w 2676"/>
                <a:gd name="T51" fmla="*/ 234 h 3213"/>
                <a:gd name="T52" fmla="*/ 308 w 2676"/>
                <a:gd name="T53" fmla="*/ 350 h 3213"/>
                <a:gd name="T54" fmla="*/ 199 w 2676"/>
                <a:gd name="T55" fmla="*/ 488 h 3213"/>
                <a:gd name="T56" fmla="*/ 114 w 2676"/>
                <a:gd name="T57" fmla="*/ 647 h 3213"/>
                <a:gd name="T58" fmla="*/ 53 w 2676"/>
                <a:gd name="T59" fmla="*/ 826 h 3213"/>
                <a:gd name="T60" fmla="*/ 16 w 2676"/>
                <a:gd name="T61" fmla="*/ 1024 h 3213"/>
                <a:gd name="T62" fmla="*/ 1 w 2676"/>
                <a:gd name="T63" fmla="*/ 1242 h 3213"/>
                <a:gd name="T64" fmla="*/ 10 w 2676"/>
                <a:gd name="T65" fmla="*/ 1535 h 3213"/>
                <a:gd name="T66" fmla="*/ 51 w 2676"/>
                <a:gd name="T67" fmla="*/ 1839 h 3213"/>
                <a:gd name="T68" fmla="*/ 121 w 2676"/>
                <a:gd name="T69" fmla="*/ 2115 h 3213"/>
                <a:gd name="T70" fmla="*/ 217 w 2676"/>
                <a:gd name="T71" fmla="*/ 2363 h 3213"/>
                <a:gd name="T72" fmla="*/ 335 w 2676"/>
                <a:gd name="T73" fmla="*/ 2582 h 3213"/>
                <a:gd name="T74" fmla="*/ 473 w 2676"/>
                <a:gd name="T75" fmla="*/ 2770 h 3213"/>
                <a:gd name="T76" fmla="*/ 627 w 2676"/>
                <a:gd name="T77" fmla="*/ 2927 h 3213"/>
                <a:gd name="T78" fmla="*/ 793 w 2676"/>
                <a:gd name="T79" fmla="*/ 3050 h 3213"/>
                <a:gd name="T80" fmla="*/ 970 w 2676"/>
                <a:gd name="T81" fmla="*/ 3141 h 3213"/>
                <a:gd name="T82" fmla="*/ 1153 w 2676"/>
                <a:gd name="T83" fmla="*/ 3195 h 3213"/>
                <a:gd name="T84" fmla="*/ 1339 w 2676"/>
                <a:gd name="T85" fmla="*/ 3213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6" h="3213">
                  <a:moveTo>
                    <a:pt x="1339" y="3213"/>
                  </a:moveTo>
                  <a:lnTo>
                    <a:pt x="1392" y="3211"/>
                  </a:lnTo>
                  <a:lnTo>
                    <a:pt x="1447" y="3205"/>
                  </a:lnTo>
                  <a:lnTo>
                    <a:pt x="1501" y="3195"/>
                  </a:lnTo>
                  <a:lnTo>
                    <a:pt x="1558" y="3181"/>
                  </a:lnTo>
                  <a:lnTo>
                    <a:pt x="1614" y="3163"/>
                  </a:lnTo>
                  <a:lnTo>
                    <a:pt x="1671" y="3141"/>
                  </a:lnTo>
                  <a:lnTo>
                    <a:pt x="1728" y="3114"/>
                  </a:lnTo>
                  <a:lnTo>
                    <a:pt x="1784" y="3085"/>
                  </a:lnTo>
                  <a:lnTo>
                    <a:pt x="1841" y="3050"/>
                  </a:lnTo>
                  <a:lnTo>
                    <a:pt x="1896" y="3013"/>
                  </a:lnTo>
                  <a:lnTo>
                    <a:pt x="1952" y="2972"/>
                  </a:lnTo>
                  <a:lnTo>
                    <a:pt x="2006" y="2927"/>
                  </a:lnTo>
                  <a:lnTo>
                    <a:pt x="2061" y="2878"/>
                  </a:lnTo>
                  <a:lnTo>
                    <a:pt x="2114" y="2826"/>
                  </a:lnTo>
                  <a:lnTo>
                    <a:pt x="2165" y="2770"/>
                  </a:lnTo>
                  <a:lnTo>
                    <a:pt x="2215" y="2711"/>
                  </a:lnTo>
                  <a:lnTo>
                    <a:pt x="2263" y="2649"/>
                  </a:lnTo>
                  <a:lnTo>
                    <a:pt x="2310" y="2582"/>
                  </a:lnTo>
                  <a:lnTo>
                    <a:pt x="2354" y="2513"/>
                  </a:lnTo>
                  <a:lnTo>
                    <a:pt x="2396" y="2439"/>
                  </a:lnTo>
                  <a:lnTo>
                    <a:pt x="2437" y="2363"/>
                  </a:lnTo>
                  <a:lnTo>
                    <a:pt x="2474" y="2284"/>
                  </a:lnTo>
                  <a:lnTo>
                    <a:pt x="2510" y="2201"/>
                  </a:lnTo>
                  <a:lnTo>
                    <a:pt x="2541" y="2115"/>
                  </a:lnTo>
                  <a:lnTo>
                    <a:pt x="2570" y="2026"/>
                  </a:lnTo>
                  <a:lnTo>
                    <a:pt x="2597" y="1934"/>
                  </a:lnTo>
                  <a:lnTo>
                    <a:pt x="2619" y="1839"/>
                  </a:lnTo>
                  <a:lnTo>
                    <a:pt x="2638" y="1740"/>
                  </a:lnTo>
                  <a:lnTo>
                    <a:pt x="2654" y="1639"/>
                  </a:lnTo>
                  <a:lnTo>
                    <a:pt x="2665" y="1535"/>
                  </a:lnTo>
                  <a:lnTo>
                    <a:pt x="2673" y="1428"/>
                  </a:lnTo>
                  <a:lnTo>
                    <a:pt x="2676" y="1318"/>
                  </a:lnTo>
                  <a:lnTo>
                    <a:pt x="2675" y="1242"/>
                  </a:lnTo>
                  <a:lnTo>
                    <a:pt x="2673" y="1167"/>
                  </a:lnTo>
                  <a:lnTo>
                    <a:pt x="2668" y="1095"/>
                  </a:lnTo>
                  <a:lnTo>
                    <a:pt x="2660" y="1024"/>
                  </a:lnTo>
                  <a:lnTo>
                    <a:pt x="2650" y="957"/>
                  </a:lnTo>
                  <a:lnTo>
                    <a:pt x="2638" y="890"/>
                  </a:lnTo>
                  <a:lnTo>
                    <a:pt x="2623" y="826"/>
                  </a:lnTo>
                  <a:lnTo>
                    <a:pt x="2605" y="764"/>
                  </a:lnTo>
                  <a:lnTo>
                    <a:pt x="2584" y="705"/>
                  </a:lnTo>
                  <a:lnTo>
                    <a:pt x="2562" y="647"/>
                  </a:lnTo>
                  <a:lnTo>
                    <a:pt x="2536" y="592"/>
                  </a:lnTo>
                  <a:lnTo>
                    <a:pt x="2509" y="539"/>
                  </a:lnTo>
                  <a:lnTo>
                    <a:pt x="2477" y="488"/>
                  </a:lnTo>
                  <a:lnTo>
                    <a:pt x="2444" y="440"/>
                  </a:lnTo>
                  <a:lnTo>
                    <a:pt x="2408" y="394"/>
                  </a:lnTo>
                  <a:lnTo>
                    <a:pt x="2368" y="350"/>
                  </a:lnTo>
                  <a:lnTo>
                    <a:pt x="2326" y="309"/>
                  </a:lnTo>
                  <a:lnTo>
                    <a:pt x="2281" y="271"/>
                  </a:lnTo>
                  <a:lnTo>
                    <a:pt x="2234" y="234"/>
                  </a:lnTo>
                  <a:lnTo>
                    <a:pt x="2183" y="200"/>
                  </a:lnTo>
                  <a:lnTo>
                    <a:pt x="2130" y="168"/>
                  </a:lnTo>
                  <a:lnTo>
                    <a:pt x="2073" y="140"/>
                  </a:lnTo>
                  <a:lnTo>
                    <a:pt x="2013" y="114"/>
                  </a:lnTo>
                  <a:lnTo>
                    <a:pt x="1951" y="90"/>
                  </a:lnTo>
                  <a:lnTo>
                    <a:pt x="1885" y="69"/>
                  </a:lnTo>
                  <a:lnTo>
                    <a:pt x="1816" y="52"/>
                  </a:lnTo>
                  <a:lnTo>
                    <a:pt x="1745" y="36"/>
                  </a:lnTo>
                  <a:lnTo>
                    <a:pt x="1670" y="24"/>
                  </a:lnTo>
                  <a:lnTo>
                    <a:pt x="1592" y="13"/>
                  </a:lnTo>
                  <a:lnTo>
                    <a:pt x="1510" y="6"/>
                  </a:lnTo>
                  <a:lnTo>
                    <a:pt x="1425" y="2"/>
                  </a:lnTo>
                  <a:lnTo>
                    <a:pt x="1339" y="0"/>
                  </a:lnTo>
                  <a:lnTo>
                    <a:pt x="1251" y="2"/>
                  </a:lnTo>
                  <a:lnTo>
                    <a:pt x="1166" y="6"/>
                  </a:lnTo>
                  <a:lnTo>
                    <a:pt x="1084" y="13"/>
                  </a:lnTo>
                  <a:lnTo>
                    <a:pt x="1006" y="24"/>
                  </a:lnTo>
                  <a:lnTo>
                    <a:pt x="931" y="36"/>
                  </a:lnTo>
                  <a:lnTo>
                    <a:pt x="860" y="52"/>
                  </a:lnTo>
                  <a:lnTo>
                    <a:pt x="791" y="69"/>
                  </a:lnTo>
                  <a:lnTo>
                    <a:pt x="725" y="90"/>
                  </a:lnTo>
                  <a:lnTo>
                    <a:pt x="663" y="114"/>
                  </a:lnTo>
                  <a:lnTo>
                    <a:pt x="603" y="140"/>
                  </a:lnTo>
                  <a:lnTo>
                    <a:pt x="546" y="168"/>
                  </a:lnTo>
                  <a:lnTo>
                    <a:pt x="493" y="200"/>
                  </a:lnTo>
                  <a:lnTo>
                    <a:pt x="442" y="234"/>
                  </a:lnTo>
                  <a:lnTo>
                    <a:pt x="395" y="271"/>
                  </a:lnTo>
                  <a:lnTo>
                    <a:pt x="349" y="309"/>
                  </a:lnTo>
                  <a:lnTo>
                    <a:pt x="308" y="350"/>
                  </a:lnTo>
                  <a:lnTo>
                    <a:pt x="268" y="394"/>
                  </a:lnTo>
                  <a:lnTo>
                    <a:pt x="232" y="440"/>
                  </a:lnTo>
                  <a:lnTo>
                    <a:pt x="199" y="488"/>
                  </a:lnTo>
                  <a:lnTo>
                    <a:pt x="167" y="539"/>
                  </a:lnTo>
                  <a:lnTo>
                    <a:pt x="140" y="592"/>
                  </a:lnTo>
                  <a:lnTo>
                    <a:pt x="114" y="647"/>
                  </a:lnTo>
                  <a:lnTo>
                    <a:pt x="92" y="705"/>
                  </a:lnTo>
                  <a:lnTo>
                    <a:pt x="71" y="764"/>
                  </a:lnTo>
                  <a:lnTo>
                    <a:pt x="53" y="826"/>
                  </a:lnTo>
                  <a:lnTo>
                    <a:pt x="38" y="890"/>
                  </a:lnTo>
                  <a:lnTo>
                    <a:pt x="26" y="957"/>
                  </a:lnTo>
                  <a:lnTo>
                    <a:pt x="16" y="1024"/>
                  </a:lnTo>
                  <a:lnTo>
                    <a:pt x="8" y="1095"/>
                  </a:lnTo>
                  <a:lnTo>
                    <a:pt x="3" y="1167"/>
                  </a:lnTo>
                  <a:lnTo>
                    <a:pt x="1" y="1242"/>
                  </a:lnTo>
                  <a:lnTo>
                    <a:pt x="0" y="1318"/>
                  </a:lnTo>
                  <a:lnTo>
                    <a:pt x="3" y="1428"/>
                  </a:lnTo>
                  <a:lnTo>
                    <a:pt x="10" y="1535"/>
                  </a:lnTo>
                  <a:lnTo>
                    <a:pt x="20" y="1639"/>
                  </a:lnTo>
                  <a:lnTo>
                    <a:pt x="34" y="1740"/>
                  </a:lnTo>
                  <a:lnTo>
                    <a:pt x="51" y="1839"/>
                  </a:lnTo>
                  <a:lnTo>
                    <a:pt x="71" y="1934"/>
                  </a:lnTo>
                  <a:lnTo>
                    <a:pt x="95" y="2026"/>
                  </a:lnTo>
                  <a:lnTo>
                    <a:pt x="121" y="2115"/>
                  </a:lnTo>
                  <a:lnTo>
                    <a:pt x="150" y="2201"/>
                  </a:lnTo>
                  <a:lnTo>
                    <a:pt x="183" y="2284"/>
                  </a:lnTo>
                  <a:lnTo>
                    <a:pt x="217" y="2363"/>
                  </a:lnTo>
                  <a:lnTo>
                    <a:pt x="254" y="2440"/>
                  </a:lnTo>
                  <a:lnTo>
                    <a:pt x="294" y="2513"/>
                  </a:lnTo>
                  <a:lnTo>
                    <a:pt x="335" y="2582"/>
                  </a:lnTo>
                  <a:lnTo>
                    <a:pt x="380" y="2649"/>
                  </a:lnTo>
                  <a:lnTo>
                    <a:pt x="425" y="2711"/>
                  </a:lnTo>
                  <a:lnTo>
                    <a:pt x="473" y="2770"/>
                  </a:lnTo>
                  <a:lnTo>
                    <a:pt x="523" y="2826"/>
                  </a:lnTo>
                  <a:lnTo>
                    <a:pt x="574" y="2878"/>
                  </a:lnTo>
                  <a:lnTo>
                    <a:pt x="627" y="2927"/>
                  </a:lnTo>
                  <a:lnTo>
                    <a:pt x="681" y="2972"/>
                  </a:lnTo>
                  <a:lnTo>
                    <a:pt x="736" y="3013"/>
                  </a:lnTo>
                  <a:lnTo>
                    <a:pt x="793" y="3050"/>
                  </a:lnTo>
                  <a:lnTo>
                    <a:pt x="851" y="3085"/>
                  </a:lnTo>
                  <a:lnTo>
                    <a:pt x="910" y="3114"/>
                  </a:lnTo>
                  <a:lnTo>
                    <a:pt x="970" y="3141"/>
                  </a:lnTo>
                  <a:lnTo>
                    <a:pt x="1030" y="3163"/>
                  </a:lnTo>
                  <a:lnTo>
                    <a:pt x="1091" y="3181"/>
                  </a:lnTo>
                  <a:lnTo>
                    <a:pt x="1153" y="3195"/>
                  </a:lnTo>
                  <a:lnTo>
                    <a:pt x="1214" y="3205"/>
                  </a:lnTo>
                  <a:lnTo>
                    <a:pt x="1276" y="3211"/>
                  </a:lnTo>
                  <a:lnTo>
                    <a:pt x="1339" y="3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9"/>
            <p:cNvSpPr>
              <a:spLocks/>
            </p:cNvSpPr>
            <p:nvPr/>
          </p:nvSpPr>
          <p:spPr bwMode="auto">
            <a:xfrm>
              <a:off x="4147" y="1919"/>
              <a:ext cx="94" cy="64"/>
            </a:xfrm>
            <a:custGeom>
              <a:avLst/>
              <a:gdLst>
                <a:gd name="T0" fmla="*/ 3624 w 4133"/>
                <a:gd name="T1" fmla="*/ 855 h 2799"/>
                <a:gd name="T2" fmla="*/ 3600 w 4133"/>
                <a:gd name="T3" fmla="*/ 816 h 2799"/>
                <a:gd name="T4" fmla="*/ 3571 w 4133"/>
                <a:gd name="T5" fmla="*/ 781 h 2799"/>
                <a:gd name="T6" fmla="*/ 3539 w 4133"/>
                <a:gd name="T7" fmla="*/ 748 h 2799"/>
                <a:gd name="T8" fmla="*/ 3502 w 4133"/>
                <a:gd name="T9" fmla="*/ 720 h 2799"/>
                <a:gd name="T10" fmla="*/ 3463 w 4133"/>
                <a:gd name="T11" fmla="*/ 695 h 2799"/>
                <a:gd name="T12" fmla="*/ 3423 w 4133"/>
                <a:gd name="T13" fmla="*/ 672 h 2799"/>
                <a:gd name="T14" fmla="*/ 3382 w 4133"/>
                <a:gd name="T15" fmla="*/ 652 h 2799"/>
                <a:gd name="T16" fmla="*/ 2619 w 4133"/>
                <a:gd name="T17" fmla="*/ 301 h 2799"/>
                <a:gd name="T18" fmla="*/ 1690 w 4133"/>
                <a:gd name="T19" fmla="*/ 570 h 2799"/>
                <a:gd name="T20" fmla="*/ 1050 w 4133"/>
                <a:gd name="T21" fmla="*/ 0 h 2799"/>
                <a:gd name="T22" fmla="*/ 598 w 4133"/>
                <a:gd name="T23" fmla="*/ 345 h 2799"/>
                <a:gd name="T24" fmla="*/ 593 w 4133"/>
                <a:gd name="T25" fmla="*/ 457 h 2799"/>
                <a:gd name="T26" fmla="*/ 584 w 4133"/>
                <a:gd name="T27" fmla="*/ 567 h 2799"/>
                <a:gd name="T28" fmla="*/ 571 w 4133"/>
                <a:gd name="T29" fmla="*/ 678 h 2799"/>
                <a:gd name="T30" fmla="*/ 554 w 4133"/>
                <a:gd name="T31" fmla="*/ 785 h 2799"/>
                <a:gd name="T32" fmla="*/ 533 w 4133"/>
                <a:gd name="T33" fmla="*/ 891 h 2799"/>
                <a:gd name="T34" fmla="*/ 509 w 4133"/>
                <a:gd name="T35" fmla="*/ 996 h 2799"/>
                <a:gd name="T36" fmla="*/ 480 w 4133"/>
                <a:gd name="T37" fmla="*/ 1099 h 2799"/>
                <a:gd name="T38" fmla="*/ 447 w 4133"/>
                <a:gd name="T39" fmla="*/ 1200 h 2799"/>
                <a:gd name="T40" fmla="*/ 412 w 4133"/>
                <a:gd name="T41" fmla="*/ 1298 h 2799"/>
                <a:gd name="T42" fmla="*/ 371 w 4133"/>
                <a:gd name="T43" fmla="*/ 1394 h 2799"/>
                <a:gd name="T44" fmla="*/ 328 w 4133"/>
                <a:gd name="T45" fmla="*/ 1488 h 2799"/>
                <a:gd name="T46" fmla="*/ 281 w 4133"/>
                <a:gd name="T47" fmla="*/ 1579 h 2799"/>
                <a:gd name="T48" fmla="*/ 231 w 4133"/>
                <a:gd name="T49" fmla="*/ 1668 h 2799"/>
                <a:gd name="T50" fmla="*/ 176 w 4133"/>
                <a:gd name="T51" fmla="*/ 1753 h 2799"/>
                <a:gd name="T52" fmla="*/ 119 w 4133"/>
                <a:gd name="T53" fmla="*/ 1836 h 2799"/>
                <a:gd name="T54" fmla="*/ 58 w 4133"/>
                <a:gd name="T55" fmla="*/ 1915 h 2799"/>
                <a:gd name="T56" fmla="*/ 30 w 4133"/>
                <a:gd name="T57" fmla="*/ 1951 h 2799"/>
                <a:gd name="T58" fmla="*/ 0 w 4133"/>
                <a:gd name="T59" fmla="*/ 1984 h 2799"/>
                <a:gd name="T60" fmla="*/ 750 w 4133"/>
                <a:gd name="T61" fmla="*/ 2353 h 2799"/>
                <a:gd name="T62" fmla="*/ 832 w 4133"/>
                <a:gd name="T63" fmla="*/ 2391 h 2799"/>
                <a:gd name="T64" fmla="*/ 907 w 4133"/>
                <a:gd name="T65" fmla="*/ 2433 h 2799"/>
                <a:gd name="T66" fmla="*/ 974 w 4133"/>
                <a:gd name="T67" fmla="*/ 2480 h 2799"/>
                <a:gd name="T68" fmla="*/ 1036 w 4133"/>
                <a:gd name="T69" fmla="*/ 2532 h 2799"/>
                <a:gd name="T70" fmla="*/ 1091 w 4133"/>
                <a:gd name="T71" fmla="*/ 2586 h 2799"/>
                <a:gd name="T72" fmla="*/ 1115 w 4133"/>
                <a:gd name="T73" fmla="*/ 2616 h 2799"/>
                <a:gd name="T74" fmla="*/ 1138 w 4133"/>
                <a:gd name="T75" fmla="*/ 2646 h 2799"/>
                <a:gd name="T76" fmla="*/ 1159 w 4133"/>
                <a:gd name="T77" fmla="*/ 2677 h 2799"/>
                <a:gd name="T78" fmla="*/ 1178 w 4133"/>
                <a:gd name="T79" fmla="*/ 2710 h 2799"/>
                <a:gd name="T80" fmla="*/ 1196 w 4133"/>
                <a:gd name="T81" fmla="*/ 2743 h 2799"/>
                <a:gd name="T82" fmla="*/ 1211 w 4133"/>
                <a:gd name="T83" fmla="*/ 2777 h 2799"/>
                <a:gd name="T84" fmla="*/ 1220 w 4133"/>
                <a:gd name="T85" fmla="*/ 2799 h 2799"/>
                <a:gd name="T86" fmla="*/ 4040 w 4133"/>
                <a:gd name="T87" fmla="*/ 2794 h 2799"/>
                <a:gd name="T88" fmla="*/ 4095 w 4133"/>
                <a:gd name="T89" fmla="*/ 2751 h 2799"/>
                <a:gd name="T90" fmla="*/ 4125 w 4133"/>
                <a:gd name="T91" fmla="*/ 2673 h 2799"/>
                <a:gd name="T92" fmla="*/ 4133 w 4133"/>
                <a:gd name="T93" fmla="*/ 2563 h 2799"/>
                <a:gd name="T94" fmla="*/ 4123 w 4133"/>
                <a:gd name="T95" fmla="*/ 2428 h 2799"/>
                <a:gd name="T96" fmla="*/ 4097 w 4133"/>
                <a:gd name="T97" fmla="*/ 2274 h 2799"/>
                <a:gd name="T98" fmla="*/ 4057 w 4133"/>
                <a:gd name="T99" fmla="*/ 2105 h 2799"/>
                <a:gd name="T100" fmla="*/ 4010 w 4133"/>
                <a:gd name="T101" fmla="*/ 1927 h 2799"/>
                <a:gd name="T102" fmla="*/ 3954 w 4133"/>
                <a:gd name="T103" fmla="*/ 1747 h 2799"/>
                <a:gd name="T104" fmla="*/ 3896 w 4133"/>
                <a:gd name="T105" fmla="*/ 1570 h 2799"/>
                <a:gd name="T106" fmla="*/ 3837 w 4133"/>
                <a:gd name="T107" fmla="*/ 1401 h 2799"/>
                <a:gd name="T108" fmla="*/ 3779 w 4133"/>
                <a:gd name="T109" fmla="*/ 1246 h 2799"/>
                <a:gd name="T110" fmla="*/ 3706 w 4133"/>
                <a:gd name="T111" fmla="*/ 1053 h 2799"/>
                <a:gd name="T112" fmla="*/ 3643 w 4133"/>
                <a:gd name="T113" fmla="*/ 897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33" h="2799">
                  <a:moveTo>
                    <a:pt x="3634" y="876"/>
                  </a:moveTo>
                  <a:lnTo>
                    <a:pt x="3624" y="855"/>
                  </a:lnTo>
                  <a:lnTo>
                    <a:pt x="3613" y="836"/>
                  </a:lnTo>
                  <a:lnTo>
                    <a:pt x="3600" y="816"/>
                  </a:lnTo>
                  <a:lnTo>
                    <a:pt x="3586" y="798"/>
                  </a:lnTo>
                  <a:lnTo>
                    <a:pt x="3571" y="781"/>
                  </a:lnTo>
                  <a:lnTo>
                    <a:pt x="3555" y="765"/>
                  </a:lnTo>
                  <a:lnTo>
                    <a:pt x="3539" y="748"/>
                  </a:lnTo>
                  <a:lnTo>
                    <a:pt x="3521" y="734"/>
                  </a:lnTo>
                  <a:lnTo>
                    <a:pt x="3502" y="720"/>
                  </a:lnTo>
                  <a:lnTo>
                    <a:pt x="3483" y="707"/>
                  </a:lnTo>
                  <a:lnTo>
                    <a:pt x="3463" y="695"/>
                  </a:lnTo>
                  <a:lnTo>
                    <a:pt x="3444" y="683"/>
                  </a:lnTo>
                  <a:lnTo>
                    <a:pt x="3423" y="672"/>
                  </a:lnTo>
                  <a:lnTo>
                    <a:pt x="3402" y="661"/>
                  </a:lnTo>
                  <a:lnTo>
                    <a:pt x="3382" y="652"/>
                  </a:lnTo>
                  <a:lnTo>
                    <a:pt x="3361" y="643"/>
                  </a:lnTo>
                  <a:lnTo>
                    <a:pt x="2619" y="301"/>
                  </a:lnTo>
                  <a:lnTo>
                    <a:pt x="2263" y="0"/>
                  </a:lnTo>
                  <a:lnTo>
                    <a:pt x="1690" y="570"/>
                  </a:lnTo>
                  <a:lnTo>
                    <a:pt x="1623" y="570"/>
                  </a:lnTo>
                  <a:lnTo>
                    <a:pt x="1050" y="0"/>
                  </a:lnTo>
                  <a:lnTo>
                    <a:pt x="693" y="301"/>
                  </a:lnTo>
                  <a:lnTo>
                    <a:pt x="598" y="345"/>
                  </a:lnTo>
                  <a:lnTo>
                    <a:pt x="596" y="401"/>
                  </a:lnTo>
                  <a:lnTo>
                    <a:pt x="593" y="457"/>
                  </a:lnTo>
                  <a:lnTo>
                    <a:pt x="589" y="513"/>
                  </a:lnTo>
                  <a:lnTo>
                    <a:pt x="584" y="567"/>
                  </a:lnTo>
                  <a:lnTo>
                    <a:pt x="578" y="623"/>
                  </a:lnTo>
                  <a:lnTo>
                    <a:pt x="571" y="678"/>
                  </a:lnTo>
                  <a:lnTo>
                    <a:pt x="563" y="731"/>
                  </a:lnTo>
                  <a:lnTo>
                    <a:pt x="554" y="785"/>
                  </a:lnTo>
                  <a:lnTo>
                    <a:pt x="544" y="839"/>
                  </a:lnTo>
                  <a:lnTo>
                    <a:pt x="533" y="891"/>
                  </a:lnTo>
                  <a:lnTo>
                    <a:pt x="522" y="944"/>
                  </a:lnTo>
                  <a:lnTo>
                    <a:pt x="509" y="996"/>
                  </a:lnTo>
                  <a:lnTo>
                    <a:pt x="494" y="1048"/>
                  </a:lnTo>
                  <a:lnTo>
                    <a:pt x="480" y="1099"/>
                  </a:lnTo>
                  <a:lnTo>
                    <a:pt x="464" y="1149"/>
                  </a:lnTo>
                  <a:lnTo>
                    <a:pt x="447" y="1200"/>
                  </a:lnTo>
                  <a:lnTo>
                    <a:pt x="430" y="1249"/>
                  </a:lnTo>
                  <a:lnTo>
                    <a:pt x="412" y="1298"/>
                  </a:lnTo>
                  <a:lnTo>
                    <a:pt x="392" y="1347"/>
                  </a:lnTo>
                  <a:lnTo>
                    <a:pt x="371" y="1394"/>
                  </a:lnTo>
                  <a:lnTo>
                    <a:pt x="350" y="1442"/>
                  </a:lnTo>
                  <a:lnTo>
                    <a:pt x="328" y="1488"/>
                  </a:lnTo>
                  <a:lnTo>
                    <a:pt x="305" y="1535"/>
                  </a:lnTo>
                  <a:lnTo>
                    <a:pt x="281" y="1579"/>
                  </a:lnTo>
                  <a:lnTo>
                    <a:pt x="256" y="1624"/>
                  </a:lnTo>
                  <a:lnTo>
                    <a:pt x="231" y="1668"/>
                  </a:lnTo>
                  <a:lnTo>
                    <a:pt x="203" y="1711"/>
                  </a:lnTo>
                  <a:lnTo>
                    <a:pt x="176" y="1753"/>
                  </a:lnTo>
                  <a:lnTo>
                    <a:pt x="148" y="1796"/>
                  </a:lnTo>
                  <a:lnTo>
                    <a:pt x="119" y="1836"/>
                  </a:lnTo>
                  <a:lnTo>
                    <a:pt x="89" y="1877"/>
                  </a:lnTo>
                  <a:lnTo>
                    <a:pt x="58" y="1915"/>
                  </a:lnTo>
                  <a:lnTo>
                    <a:pt x="44" y="1934"/>
                  </a:lnTo>
                  <a:lnTo>
                    <a:pt x="30" y="1951"/>
                  </a:lnTo>
                  <a:lnTo>
                    <a:pt x="14" y="1968"/>
                  </a:lnTo>
                  <a:lnTo>
                    <a:pt x="0" y="1984"/>
                  </a:lnTo>
                  <a:lnTo>
                    <a:pt x="59" y="2034"/>
                  </a:lnTo>
                  <a:lnTo>
                    <a:pt x="750" y="2353"/>
                  </a:lnTo>
                  <a:lnTo>
                    <a:pt x="791" y="2371"/>
                  </a:lnTo>
                  <a:lnTo>
                    <a:pt x="832" y="2391"/>
                  </a:lnTo>
                  <a:lnTo>
                    <a:pt x="869" y="2411"/>
                  </a:lnTo>
                  <a:lnTo>
                    <a:pt x="907" y="2433"/>
                  </a:lnTo>
                  <a:lnTo>
                    <a:pt x="941" y="2456"/>
                  </a:lnTo>
                  <a:lnTo>
                    <a:pt x="974" y="2480"/>
                  </a:lnTo>
                  <a:lnTo>
                    <a:pt x="1006" y="2505"/>
                  </a:lnTo>
                  <a:lnTo>
                    <a:pt x="1036" y="2532"/>
                  </a:lnTo>
                  <a:lnTo>
                    <a:pt x="1064" y="2559"/>
                  </a:lnTo>
                  <a:lnTo>
                    <a:pt x="1091" y="2586"/>
                  </a:lnTo>
                  <a:lnTo>
                    <a:pt x="1103" y="2601"/>
                  </a:lnTo>
                  <a:lnTo>
                    <a:pt x="1115" y="2616"/>
                  </a:lnTo>
                  <a:lnTo>
                    <a:pt x="1127" y="2631"/>
                  </a:lnTo>
                  <a:lnTo>
                    <a:pt x="1138" y="2646"/>
                  </a:lnTo>
                  <a:lnTo>
                    <a:pt x="1148" y="2662"/>
                  </a:lnTo>
                  <a:lnTo>
                    <a:pt x="1159" y="2677"/>
                  </a:lnTo>
                  <a:lnTo>
                    <a:pt x="1168" y="2694"/>
                  </a:lnTo>
                  <a:lnTo>
                    <a:pt x="1178" y="2710"/>
                  </a:lnTo>
                  <a:lnTo>
                    <a:pt x="1187" y="2726"/>
                  </a:lnTo>
                  <a:lnTo>
                    <a:pt x="1196" y="2743"/>
                  </a:lnTo>
                  <a:lnTo>
                    <a:pt x="1203" y="2759"/>
                  </a:lnTo>
                  <a:lnTo>
                    <a:pt x="1211" y="2777"/>
                  </a:lnTo>
                  <a:lnTo>
                    <a:pt x="1214" y="2784"/>
                  </a:lnTo>
                  <a:lnTo>
                    <a:pt x="1220" y="2799"/>
                  </a:lnTo>
                  <a:lnTo>
                    <a:pt x="4003" y="2799"/>
                  </a:lnTo>
                  <a:lnTo>
                    <a:pt x="4040" y="2794"/>
                  </a:lnTo>
                  <a:lnTo>
                    <a:pt x="4070" y="2778"/>
                  </a:lnTo>
                  <a:lnTo>
                    <a:pt x="4095" y="2751"/>
                  </a:lnTo>
                  <a:lnTo>
                    <a:pt x="4113" y="2717"/>
                  </a:lnTo>
                  <a:lnTo>
                    <a:pt x="4125" y="2673"/>
                  </a:lnTo>
                  <a:lnTo>
                    <a:pt x="4131" y="2622"/>
                  </a:lnTo>
                  <a:lnTo>
                    <a:pt x="4133" y="2563"/>
                  </a:lnTo>
                  <a:lnTo>
                    <a:pt x="4130" y="2499"/>
                  </a:lnTo>
                  <a:lnTo>
                    <a:pt x="4123" y="2428"/>
                  </a:lnTo>
                  <a:lnTo>
                    <a:pt x="4111" y="2354"/>
                  </a:lnTo>
                  <a:lnTo>
                    <a:pt x="4097" y="2274"/>
                  </a:lnTo>
                  <a:lnTo>
                    <a:pt x="4078" y="2191"/>
                  </a:lnTo>
                  <a:lnTo>
                    <a:pt x="4057" y="2105"/>
                  </a:lnTo>
                  <a:lnTo>
                    <a:pt x="4035" y="2017"/>
                  </a:lnTo>
                  <a:lnTo>
                    <a:pt x="4010" y="1927"/>
                  </a:lnTo>
                  <a:lnTo>
                    <a:pt x="3982" y="1837"/>
                  </a:lnTo>
                  <a:lnTo>
                    <a:pt x="3954" y="1747"/>
                  </a:lnTo>
                  <a:lnTo>
                    <a:pt x="3925" y="1658"/>
                  </a:lnTo>
                  <a:lnTo>
                    <a:pt x="3896" y="1570"/>
                  </a:lnTo>
                  <a:lnTo>
                    <a:pt x="3866" y="1484"/>
                  </a:lnTo>
                  <a:lnTo>
                    <a:pt x="3837" y="1401"/>
                  </a:lnTo>
                  <a:lnTo>
                    <a:pt x="3808" y="1322"/>
                  </a:lnTo>
                  <a:lnTo>
                    <a:pt x="3779" y="1246"/>
                  </a:lnTo>
                  <a:lnTo>
                    <a:pt x="3753" y="1177"/>
                  </a:lnTo>
                  <a:lnTo>
                    <a:pt x="3706" y="1053"/>
                  </a:lnTo>
                  <a:lnTo>
                    <a:pt x="3667" y="959"/>
                  </a:lnTo>
                  <a:lnTo>
                    <a:pt x="3643" y="897"/>
                  </a:lnTo>
                  <a:lnTo>
                    <a:pt x="3634" y="8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4154" y="1849"/>
              <a:ext cx="61" cy="73"/>
            </a:xfrm>
            <a:custGeom>
              <a:avLst/>
              <a:gdLst>
                <a:gd name="T0" fmla="*/ 9 w 2675"/>
                <a:gd name="T1" fmla="*/ 1535 h 3213"/>
                <a:gd name="T2" fmla="*/ 50 w 2675"/>
                <a:gd name="T3" fmla="*/ 1839 h 3213"/>
                <a:gd name="T4" fmla="*/ 121 w 2675"/>
                <a:gd name="T5" fmla="*/ 2115 h 3213"/>
                <a:gd name="T6" fmla="*/ 217 w 2675"/>
                <a:gd name="T7" fmla="*/ 2363 h 3213"/>
                <a:gd name="T8" fmla="*/ 335 w 2675"/>
                <a:gd name="T9" fmla="*/ 2582 h 3213"/>
                <a:gd name="T10" fmla="*/ 472 w 2675"/>
                <a:gd name="T11" fmla="*/ 2770 h 3213"/>
                <a:gd name="T12" fmla="*/ 626 w 2675"/>
                <a:gd name="T13" fmla="*/ 2927 h 3213"/>
                <a:gd name="T14" fmla="*/ 793 w 2675"/>
                <a:gd name="T15" fmla="*/ 3050 h 3213"/>
                <a:gd name="T16" fmla="*/ 969 w 2675"/>
                <a:gd name="T17" fmla="*/ 3141 h 3213"/>
                <a:gd name="T18" fmla="*/ 1151 w 2675"/>
                <a:gd name="T19" fmla="*/ 3195 h 3213"/>
                <a:gd name="T20" fmla="*/ 1337 w 2675"/>
                <a:gd name="T21" fmla="*/ 3213 h 3213"/>
                <a:gd name="T22" fmla="*/ 1501 w 2675"/>
                <a:gd name="T23" fmla="*/ 3195 h 3213"/>
                <a:gd name="T24" fmla="*/ 1670 w 2675"/>
                <a:gd name="T25" fmla="*/ 3141 h 3213"/>
                <a:gd name="T26" fmla="*/ 1840 w 2675"/>
                <a:gd name="T27" fmla="*/ 3050 h 3213"/>
                <a:gd name="T28" fmla="*/ 2006 w 2675"/>
                <a:gd name="T29" fmla="*/ 2927 h 3213"/>
                <a:gd name="T30" fmla="*/ 2164 w 2675"/>
                <a:gd name="T31" fmla="*/ 2770 h 3213"/>
                <a:gd name="T32" fmla="*/ 2308 w 2675"/>
                <a:gd name="T33" fmla="*/ 2582 h 3213"/>
                <a:gd name="T34" fmla="*/ 2436 w 2675"/>
                <a:gd name="T35" fmla="*/ 2363 h 3213"/>
                <a:gd name="T36" fmla="*/ 2541 w 2675"/>
                <a:gd name="T37" fmla="*/ 2115 h 3213"/>
                <a:gd name="T38" fmla="*/ 2619 w 2675"/>
                <a:gd name="T39" fmla="*/ 1839 h 3213"/>
                <a:gd name="T40" fmla="*/ 2665 w 2675"/>
                <a:gd name="T41" fmla="*/ 1535 h 3213"/>
                <a:gd name="T42" fmla="*/ 2675 w 2675"/>
                <a:gd name="T43" fmla="*/ 1242 h 3213"/>
                <a:gd name="T44" fmla="*/ 2660 w 2675"/>
                <a:gd name="T45" fmla="*/ 1024 h 3213"/>
                <a:gd name="T46" fmla="*/ 2622 w 2675"/>
                <a:gd name="T47" fmla="*/ 826 h 3213"/>
                <a:gd name="T48" fmla="*/ 2561 w 2675"/>
                <a:gd name="T49" fmla="*/ 647 h 3213"/>
                <a:gd name="T50" fmla="*/ 2477 w 2675"/>
                <a:gd name="T51" fmla="*/ 488 h 3213"/>
                <a:gd name="T52" fmla="*/ 2368 w 2675"/>
                <a:gd name="T53" fmla="*/ 350 h 3213"/>
                <a:gd name="T54" fmla="*/ 2234 w 2675"/>
                <a:gd name="T55" fmla="*/ 234 h 3213"/>
                <a:gd name="T56" fmla="*/ 2072 w 2675"/>
                <a:gd name="T57" fmla="*/ 140 h 3213"/>
                <a:gd name="T58" fmla="*/ 1885 w 2675"/>
                <a:gd name="T59" fmla="*/ 69 h 3213"/>
                <a:gd name="T60" fmla="*/ 1670 w 2675"/>
                <a:gd name="T61" fmla="*/ 24 h 3213"/>
                <a:gd name="T62" fmla="*/ 1425 w 2675"/>
                <a:gd name="T63" fmla="*/ 2 h 3213"/>
                <a:gd name="T64" fmla="*/ 1165 w 2675"/>
                <a:gd name="T65" fmla="*/ 6 h 3213"/>
                <a:gd name="T66" fmla="*/ 930 w 2675"/>
                <a:gd name="T67" fmla="*/ 36 h 3213"/>
                <a:gd name="T68" fmla="*/ 724 w 2675"/>
                <a:gd name="T69" fmla="*/ 90 h 3213"/>
                <a:gd name="T70" fmla="*/ 546 w 2675"/>
                <a:gd name="T71" fmla="*/ 168 h 3213"/>
                <a:gd name="T72" fmla="*/ 394 w 2675"/>
                <a:gd name="T73" fmla="*/ 271 h 3213"/>
                <a:gd name="T74" fmla="*/ 268 w 2675"/>
                <a:gd name="T75" fmla="*/ 394 h 3213"/>
                <a:gd name="T76" fmla="*/ 167 w 2675"/>
                <a:gd name="T77" fmla="*/ 539 h 3213"/>
                <a:gd name="T78" fmla="*/ 91 w 2675"/>
                <a:gd name="T79" fmla="*/ 705 h 3213"/>
                <a:gd name="T80" fmla="*/ 38 w 2675"/>
                <a:gd name="T81" fmla="*/ 890 h 3213"/>
                <a:gd name="T82" fmla="*/ 8 w 2675"/>
                <a:gd name="T83" fmla="*/ 1095 h 3213"/>
                <a:gd name="T84" fmla="*/ 0 w 2675"/>
                <a:gd name="T85" fmla="*/ 1318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5" h="3213">
                  <a:moveTo>
                    <a:pt x="0" y="1318"/>
                  </a:moveTo>
                  <a:lnTo>
                    <a:pt x="3" y="1428"/>
                  </a:lnTo>
                  <a:lnTo>
                    <a:pt x="9" y="1535"/>
                  </a:lnTo>
                  <a:lnTo>
                    <a:pt x="20" y="1639"/>
                  </a:lnTo>
                  <a:lnTo>
                    <a:pt x="33" y="1740"/>
                  </a:lnTo>
                  <a:lnTo>
                    <a:pt x="50" y="1839"/>
                  </a:lnTo>
                  <a:lnTo>
                    <a:pt x="70" y="1934"/>
                  </a:lnTo>
                  <a:lnTo>
                    <a:pt x="95" y="2026"/>
                  </a:lnTo>
                  <a:lnTo>
                    <a:pt x="121" y="2115"/>
                  </a:lnTo>
                  <a:lnTo>
                    <a:pt x="150" y="2201"/>
                  </a:lnTo>
                  <a:lnTo>
                    <a:pt x="181" y="2284"/>
                  </a:lnTo>
                  <a:lnTo>
                    <a:pt x="217" y="2363"/>
                  </a:lnTo>
                  <a:lnTo>
                    <a:pt x="253" y="2440"/>
                  </a:lnTo>
                  <a:lnTo>
                    <a:pt x="293" y="2513"/>
                  </a:lnTo>
                  <a:lnTo>
                    <a:pt x="335" y="2582"/>
                  </a:lnTo>
                  <a:lnTo>
                    <a:pt x="379" y="2649"/>
                  </a:lnTo>
                  <a:lnTo>
                    <a:pt x="425" y="2711"/>
                  </a:lnTo>
                  <a:lnTo>
                    <a:pt x="472" y="2770"/>
                  </a:lnTo>
                  <a:lnTo>
                    <a:pt x="522" y="2826"/>
                  </a:lnTo>
                  <a:lnTo>
                    <a:pt x="574" y="2878"/>
                  </a:lnTo>
                  <a:lnTo>
                    <a:pt x="626" y="2927"/>
                  </a:lnTo>
                  <a:lnTo>
                    <a:pt x="681" y="2972"/>
                  </a:lnTo>
                  <a:lnTo>
                    <a:pt x="736" y="3013"/>
                  </a:lnTo>
                  <a:lnTo>
                    <a:pt x="793" y="3050"/>
                  </a:lnTo>
                  <a:lnTo>
                    <a:pt x="850" y="3085"/>
                  </a:lnTo>
                  <a:lnTo>
                    <a:pt x="909" y="3114"/>
                  </a:lnTo>
                  <a:lnTo>
                    <a:pt x="969" y="3141"/>
                  </a:lnTo>
                  <a:lnTo>
                    <a:pt x="1029" y="3163"/>
                  </a:lnTo>
                  <a:lnTo>
                    <a:pt x="1090" y="3181"/>
                  </a:lnTo>
                  <a:lnTo>
                    <a:pt x="1151" y="3195"/>
                  </a:lnTo>
                  <a:lnTo>
                    <a:pt x="1213" y="3205"/>
                  </a:lnTo>
                  <a:lnTo>
                    <a:pt x="1276" y="3211"/>
                  </a:lnTo>
                  <a:lnTo>
                    <a:pt x="1337" y="3213"/>
                  </a:lnTo>
                  <a:lnTo>
                    <a:pt x="1391" y="3211"/>
                  </a:lnTo>
                  <a:lnTo>
                    <a:pt x="1446" y="3205"/>
                  </a:lnTo>
                  <a:lnTo>
                    <a:pt x="1501" y="3195"/>
                  </a:lnTo>
                  <a:lnTo>
                    <a:pt x="1557" y="3181"/>
                  </a:lnTo>
                  <a:lnTo>
                    <a:pt x="1613" y="3163"/>
                  </a:lnTo>
                  <a:lnTo>
                    <a:pt x="1670" y="3141"/>
                  </a:lnTo>
                  <a:lnTo>
                    <a:pt x="1726" y="3114"/>
                  </a:lnTo>
                  <a:lnTo>
                    <a:pt x="1784" y="3085"/>
                  </a:lnTo>
                  <a:lnTo>
                    <a:pt x="1840" y="3050"/>
                  </a:lnTo>
                  <a:lnTo>
                    <a:pt x="1896" y="3013"/>
                  </a:lnTo>
                  <a:lnTo>
                    <a:pt x="1952" y="2972"/>
                  </a:lnTo>
                  <a:lnTo>
                    <a:pt x="2006" y="2927"/>
                  </a:lnTo>
                  <a:lnTo>
                    <a:pt x="2060" y="2878"/>
                  </a:lnTo>
                  <a:lnTo>
                    <a:pt x="2112" y="2826"/>
                  </a:lnTo>
                  <a:lnTo>
                    <a:pt x="2164" y="2770"/>
                  </a:lnTo>
                  <a:lnTo>
                    <a:pt x="2214" y="2711"/>
                  </a:lnTo>
                  <a:lnTo>
                    <a:pt x="2262" y="2649"/>
                  </a:lnTo>
                  <a:lnTo>
                    <a:pt x="2308" y="2582"/>
                  </a:lnTo>
                  <a:lnTo>
                    <a:pt x="2353" y="2513"/>
                  </a:lnTo>
                  <a:lnTo>
                    <a:pt x="2396" y="2440"/>
                  </a:lnTo>
                  <a:lnTo>
                    <a:pt x="2436" y="2363"/>
                  </a:lnTo>
                  <a:lnTo>
                    <a:pt x="2473" y="2284"/>
                  </a:lnTo>
                  <a:lnTo>
                    <a:pt x="2509" y="2201"/>
                  </a:lnTo>
                  <a:lnTo>
                    <a:pt x="2541" y="2115"/>
                  </a:lnTo>
                  <a:lnTo>
                    <a:pt x="2570" y="2026"/>
                  </a:lnTo>
                  <a:lnTo>
                    <a:pt x="2596" y="1934"/>
                  </a:lnTo>
                  <a:lnTo>
                    <a:pt x="2619" y="1839"/>
                  </a:lnTo>
                  <a:lnTo>
                    <a:pt x="2638" y="1740"/>
                  </a:lnTo>
                  <a:lnTo>
                    <a:pt x="2653" y="1639"/>
                  </a:lnTo>
                  <a:lnTo>
                    <a:pt x="2665" y="1535"/>
                  </a:lnTo>
                  <a:lnTo>
                    <a:pt x="2672" y="1428"/>
                  </a:lnTo>
                  <a:lnTo>
                    <a:pt x="2675" y="1318"/>
                  </a:lnTo>
                  <a:lnTo>
                    <a:pt x="2675" y="1242"/>
                  </a:lnTo>
                  <a:lnTo>
                    <a:pt x="2672" y="1167"/>
                  </a:lnTo>
                  <a:lnTo>
                    <a:pt x="2667" y="1095"/>
                  </a:lnTo>
                  <a:lnTo>
                    <a:pt x="2660" y="1024"/>
                  </a:lnTo>
                  <a:lnTo>
                    <a:pt x="2650" y="957"/>
                  </a:lnTo>
                  <a:lnTo>
                    <a:pt x="2637" y="890"/>
                  </a:lnTo>
                  <a:lnTo>
                    <a:pt x="2622" y="826"/>
                  </a:lnTo>
                  <a:lnTo>
                    <a:pt x="2605" y="764"/>
                  </a:lnTo>
                  <a:lnTo>
                    <a:pt x="2584" y="705"/>
                  </a:lnTo>
                  <a:lnTo>
                    <a:pt x="2561" y="647"/>
                  </a:lnTo>
                  <a:lnTo>
                    <a:pt x="2536" y="592"/>
                  </a:lnTo>
                  <a:lnTo>
                    <a:pt x="2508" y="539"/>
                  </a:lnTo>
                  <a:lnTo>
                    <a:pt x="2477" y="488"/>
                  </a:lnTo>
                  <a:lnTo>
                    <a:pt x="2443" y="440"/>
                  </a:lnTo>
                  <a:lnTo>
                    <a:pt x="2406" y="394"/>
                  </a:lnTo>
                  <a:lnTo>
                    <a:pt x="2368" y="350"/>
                  </a:lnTo>
                  <a:lnTo>
                    <a:pt x="2326" y="309"/>
                  </a:lnTo>
                  <a:lnTo>
                    <a:pt x="2281" y="271"/>
                  </a:lnTo>
                  <a:lnTo>
                    <a:pt x="2234" y="234"/>
                  </a:lnTo>
                  <a:lnTo>
                    <a:pt x="2182" y="200"/>
                  </a:lnTo>
                  <a:lnTo>
                    <a:pt x="2129" y="168"/>
                  </a:lnTo>
                  <a:lnTo>
                    <a:pt x="2072" y="140"/>
                  </a:lnTo>
                  <a:lnTo>
                    <a:pt x="2013" y="114"/>
                  </a:lnTo>
                  <a:lnTo>
                    <a:pt x="1951" y="90"/>
                  </a:lnTo>
                  <a:lnTo>
                    <a:pt x="1885" y="69"/>
                  </a:lnTo>
                  <a:lnTo>
                    <a:pt x="1816" y="52"/>
                  </a:lnTo>
                  <a:lnTo>
                    <a:pt x="1745" y="36"/>
                  </a:lnTo>
                  <a:lnTo>
                    <a:pt x="1670" y="24"/>
                  </a:lnTo>
                  <a:lnTo>
                    <a:pt x="1591" y="13"/>
                  </a:lnTo>
                  <a:lnTo>
                    <a:pt x="1510" y="6"/>
                  </a:lnTo>
                  <a:lnTo>
                    <a:pt x="1425" y="2"/>
                  </a:lnTo>
                  <a:lnTo>
                    <a:pt x="1337" y="0"/>
                  </a:lnTo>
                  <a:lnTo>
                    <a:pt x="1250" y="2"/>
                  </a:lnTo>
                  <a:lnTo>
                    <a:pt x="1165" y="6"/>
                  </a:lnTo>
                  <a:lnTo>
                    <a:pt x="1084" y="13"/>
                  </a:lnTo>
                  <a:lnTo>
                    <a:pt x="1006" y="24"/>
                  </a:lnTo>
                  <a:lnTo>
                    <a:pt x="930" y="36"/>
                  </a:lnTo>
                  <a:lnTo>
                    <a:pt x="858" y="52"/>
                  </a:lnTo>
                  <a:lnTo>
                    <a:pt x="790" y="69"/>
                  </a:lnTo>
                  <a:lnTo>
                    <a:pt x="724" y="90"/>
                  </a:lnTo>
                  <a:lnTo>
                    <a:pt x="661" y="114"/>
                  </a:lnTo>
                  <a:lnTo>
                    <a:pt x="603" y="140"/>
                  </a:lnTo>
                  <a:lnTo>
                    <a:pt x="546" y="168"/>
                  </a:lnTo>
                  <a:lnTo>
                    <a:pt x="493" y="200"/>
                  </a:lnTo>
                  <a:lnTo>
                    <a:pt x="442" y="234"/>
                  </a:lnTo>
                  <a:lnTo>
                    <a:pt x="394" y="271"/>
                  </a:lnTo>
                  <a:lnTo>
                    <a:pt x="349" y="309"/>
                  </a:lnTo>
                  <a:lnTo>
                    <a:pt x="307" y="350"/>
                  </a:lnTo>
                  <a:lnTo>
                    <a:pt x="268" y="394"/>
                  </a:lnTo>
                  <a:lnTo>
                    <a:pt x="232" y="440"/>
                  </a:lnTo>
                  <a:lnTo>
                    <a:pt x="198" y="488"/>
                  </a:lnTo>
                  <a:lnTo>
                    <a:pt x="167" y="539"/>
                  </a:lnTo>
                  <a:lnTo>
                    <a:pt x="139" y="592"/>
                  </a:lnTo>
                  <a:lnTo>
                    <a:pt x="114" y="647"/>
                  </a:lnTo>
                  <a:lnTo>
                    <a:pt x="91" y="705"/>
                  </a:lnTo>
                  <a:lnTo>
                    <a:pt x="70" y="764"/>
                  </a:lnTo>
                  <a:lnTo>
                    <a:pt x="53" y="826"/>
                  </a:lnTo>
                  <a:lnTo>
                    <a:pt x="38" y="890"/>
                  </a:lnTo>
                  <a:lnTo>
                    <a:pt x="25" y="957"/>
                  </a:lnTo>
                  <a:lnTo>
                    <a:pt x="15" y="1024"/>
                  </a:lnTo>
                  <a:lnTo>
                    <a:pt x="8" y="1095"/>
                  </a:lnTo>
                  <a:lnTo>
                    <a:pt x="3" y="1167"/>
                  </a:lnTo>
                  <a:lnTo>
                    <a:pt x="0" y="1242"/>
                  </a:lnTo>
                  <a:lnTo>
                    <a:pt x="0" y="13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4" name="Freeform 11"/>
            <p:cNvSpPr>
              <a:spLocks/>
            </p:cNvSpPr>
            <p:nvPr/>
          </p:nvSpPr>
          <p:spPr bwMode="auto">
            <a:xfrm>
              <a:off x="3941" y="1965"/>
              <a:ext cx="112" cy="64"/>
            </a:xfrm>
            <a:custGeom>
              <a:avLst/>
              <a:gdLst>
                <a:gd name="T0" fmla="*/ 3440 w 4954"/>
                <a:gd name="T1" fmla="*/ 300 h 2799"/>
                <a:gd name="T2" fmla="*/ 2510 w 4954"/>
                <a:gd name="T3" fmla="*/ 570 h 2799"/>
                <a:gd name="T4" fmla="*/ 1871 w 4954"/>
                <a:gd name="T5" fmla="*/ 0 h 2799"/>
                <a:gd name="T6" fmla="*/ 772 w 4954"/>
                <a:gd name="T7" fmla="*/ 642 h 2799"/>
                <a:gd name="T8" fmla="*/ 732 w 4954"/>
                <a:gd name="T9" fmla="*/ 661 h 2799"/>
                <a:gd name="T10" fmla="*/ 692 w 4954"/>
                <a:gd name="T11" fmla="*/ 681 h 2799"/>
                <a:gd name="T12" fmla="*/ 652 w 4954"/>
                <a:gd name="T13" fmla="*/ 704 h 2799"/>
                <a:gd name="T14" fmla="*/ 616 w 4954"/>
                <a:gd name="T15" fmla="*/ 731 h 2799"/>
                <a:gd name="T16" fmla="*/ 581 w 4954"/>
                <a:gd name="T17" fmla="*/ 761 h 2799"/>
                <a:gd name="T18" fmla="*/ 550 w 4954"/>
                <a:gd name="T19" fmla="*/ 795 h 2799"/>
                <a:gd name="T20" fmla="*/ 523 w 4954"/>
                <a:gd name="T21" fmla="*/ 833 h 2799"/>
                <a:gd name="T22" fmla="*/ 500 w 4954"/>
                <a:gd name="T23" fmla="*/ 875 h 2799"/>
                <a:gd name="T24" fmla="*/ 466 w 4954"/>
                <a:gd name="T25" fmla="*/ 958 h 2799"/>
                <a:gd name="T26" fmla="*/ 380 w 4954"/>
                <a:gd name="T27" fmla="*/ 1176 h 2799"/>
                <a:gd name="T28" fmla="*/ 326 w 4954"/>
                <a:gd name="T29" fmla="*/ 1321 h 2799"/>
                <a:gd name="T30" fmla="*/ 268 w 4954"/>
                <a:gd name="T31" fmla="*/ 1484 h 2799"/>
                <a:gd name="T32" fmla="*/ 209 w 4954"/>
                <a:gd name="T33" fmla="*/ 1657 h 2799"/>
                <a:gd name="T34" fmla="*/ 151 w 4954"/>
                <a:gd name="T35" fmla="*/ 1838 h 2799"/>
                <a:gd name="T36" fmla="*/ 99 w 4954"/>
                <a:gd name="T37" fmla="*/ 2017 h 2799"/>
                <a:gd name="T38" fmla="*/ 55 w 4954"/>
                <a:gd name="T39" fmla="*/ 2191 h 2799"/>
                <a:gd name="T40" fmla="*/ 23 w 4954"/>
                <a:gd name="T41" fmla="*/ 2353 h 2799"/>
                <a:gd name="T42" fmla="*/ 3 w 4954"/>
                <a:gd name="T43" fmla="*/ 2498 h 2799"/>
                <a:gd name="T44" fmla="*/ 2 w 4954"/>
                <a:gd name="T45" fmla="*/ 2622 h 2799"/>
                <a:gd name="T46" fmla="*/ 21 w 4954"/>
                <a:gd name="T47" fmla="*/ 2716 h 2799"/>
                <a:gd name="T48" fmla="*/ 63 w 4954"/>
                <a:gd name="T49" fmla="*/ 2778 h 2799"/>
                <a:gd name="T50" fmla="*/ 131 w 4954"/>
                <a:gd name="T51" fmla="*/ 2799 h 2799"/>
                <a:gd name="T52" fmla="*/ 4862 w 4954"/>
                <a:gd name="T53" fmla="*/ 2794 h 2799"/>
                <a:gd name="T54" fmla="*/ 4916 w 4954"/>
                <a:gd name="T55" fmla="*/ 2751 h 2799"/>
                <a:gd name="T56" fmla="*/ 4946 w 4954"/>
                <a:gd name="T57" fmla="*/ 2673 h 2799"/>
                <a:gd name="T58" fmla="*/ 4954 w 4954"/>
                <a:gd name="T59" fmla="*/ 2563 h 2799"/>
                <a:gd name="T60" fmla="*/ 4944 w 4954"/>
                <a:gd name="T61" fmla="*/ 2429 h 2799"/>
                <a:gd name="T62" fmla="*/ 4917 w 4954"/>
                <a:gd name="T63" fmla="*/ 2274 h 2799"/>
                <a:gd name="T64" fmla="*/ 4879 w 4954"/>
                <a:gd name="T65" fmla="*/ 2105 h 2799"/>
                <a:gd name="T66" fmla="*/ 4830 w 4954"/>
                <a:gd name="T67" fmla="*/ 1928 h 2799"/>
                <a:gd name="T68" fmla="*/ 4775 w 4954"/>
                <a:gd name="T69" fmla="*/ 1748 h 2799"/>
                <a:gd name="T70" fmla="*/ 4716 w 4954"/>
                <a:gd name="T71" fmla="*/ 1570 h 2799"/>
                <a:gd name="T72" fmla="*/ 4658 w 4954"/>
                <a:gd name="T73" fmla="*/ 1401 h 2799"/>
                <a:gd name="T74" fmla="*/ 4600 w 4954"/>
                <a:gd name="T75" fmla="*/ 1247 h 2799"/>
                <a:gd name="T76" fmla="*/ 4526 w 4954"/>
                <a:gd name="T77" fmla="*/ 1053 h 2799"/>
                <a:gd name="T78" fmla="*/ 4464 w 4954"/>
                <a:gd name="T79" fmla="*/ 897 h 2799"/>
                <a:gd name="T80" fmla="*/ 4444 w 4954"/>
                <a:gd name="T81" fmla="*/ 855 h 2799"/>
                <a:gd name="T82" fmla="*/ 4421 w 4954"/>
                <a:gd name="T83" fmla="*/ 815 h 2799"/>
                <a:gd name="T84" fmla="*/ 4392 w 4954"/>
                <a:gd name="T85" fmla="*/ 780 h 2799"/>
                <a:gd name="T86" fmla="*/ 4359 w 4954"/>
                <a:gd name="T87" fmla="*/ 748 h 2799"/>
                <a:gd name="T88" fmla="*/ 4323 w 4954"/>
                <a:gd name="T89" fmla="*/ 719 h 2799"/>
                <a:gd name="T90" fmla="*/ 4285 w 4954"/>
                <a:gd name="T91" fmla="*/ 694 h 2799"/>
                <a:gd name="T92" fmla="*/ 4244 w 4954"/>
                <a:gd name="T93" fmla="*/ 671 h 2799"/>
                <a:gd name="T94" fmla="*/ 4203 w 4954"/>
                <a:gd name="T95" fmla="*/ 652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54" h="2799">
                  <a:moveTo>
                    <a:pt x="4182" y="642"/>
                  </a:moveTo>
                  <a:lnTo>
                    <a:pt x="3440" y="300"/>
                  </a:lnTo>
                  <a:lnTo>
                    <a:pt x="3083" y="0"/>
                  </a:lnTo>
                  <a:lnTo>
                    <a:pt x="2510" y="570"/>
                  </a:lnTo>
                  <a:lnTo>
                    <a:pt x="2444" y="570"/>
                  </a:lnTo>
                  <a:lnTo>
                    <a:pt x="1871" y="0"/>
                  </a:lnTo>
                  <a:lnTo>
                    <a:pt x="1515" y="300"/>
                  </a:lnTo>
                  <a:lnTo>
                    <a:pt x="772" y="642"/>
                  </a:lnTo>
                  <a:lnTo>
                    <a:pt x="752" y="652"/>
                  </a:lnTo>
                  <a:lnTo>
                    <a:pt x="732" y="661"/>
                  </a:lnTo>
                  <a:lnTo>
                    <a:pt x="712" y="671"/>
                  </a:lnTo>
                  <a:lnTo>
                    <a:pt x="692" y="681"/>
                  </a:lnTo>
                  <a:lnTo>
                    <a:pt x="671" y="693"/>
                  </a:lnTo>
                  <a:lnTo>
                    <a:pt x="652" y="704"/>
                  </a:lnTo>
                  <a:lnTo>
                    <a:pt x="634" y="717"/>
                  </a:lnTo>
                  <a:lnTo>
                    <a:pt x="616" y="731"/>
                  </a:lnTo>
                  <a:lnTo>
                    <a:pt x="599" y="746"/>
                  </a:lnTo>
                  <a:lnTo>
                    <a:pt x="581" y="761"/>
                  </a:lnTo>
                  <a:lnTo>
                    <a:pt x="565" y="778"/>
                  </a:lnTo>
                  <a:lnTo>
                    <a:pt x="550" y="795"/>
                  </a:lnTo>
                  <a:lnTo>
                    <a:pt x="536" y="813"/>
                  </a:lnTo>
                  <a:lnTo>
                    <a:pt x="523" y="833"/>
                  </a:lnTo>
                  <a:lnTo>
                    <a:pt x="511" y="854"/>
                  </a:lnTo>
                  <a:lnTo>
                    <a:pt x="500" y="875"/>
                  </a:lnTo>
                  <a:lnTo>
                    <a:pt x="491" y="897"/>
                  </a:lnTo>
                  <a:lnTo>
                    <a:pt x="466" y="958"/>
                  </a:lnTo>
                  <a:lnTo>
                    <a:pt x="428" y="1053"/>
                  </a:lnTo>
                  <a:lnTo>
                    <a:pt x="380" y="1176"/>
                  </a:lnTo>
                  <a:lnTo>
                    <a:pt x="354" y="1247"/>
                  </a:lnTo>
                  <a:lnTo>
                    <a:pt x="326" y="1321"/>
                  </a:lnTo>
                  <a:lnTo>
                    <a:pt x="298" y="1401"/>
                  </a:lnTo>
                  <a:lnTo>
                    <a:pt x="268" y="1484"/>
                  </a:lnTo>
                  <a:lnTo>
                    <a:pt x="238" y="1570"/>
                  </a:lnTo>
                  <a:lnTo>
                    <a:pt x="209" y="1657"/>
                  </a:lnTo>
                  <a:lnTo>
                    <a:pt x="179" y="1748"/>
                  </a:lnTo>
                  <a:lnTo>
                    <a:pt x="151" y="1838"/>
                  </a:lnTo>
                  <a:lnTo>
                    <a:pt x="125" y="1928"/>
                  </a:lnTo>
                  <a:lnTo>
                    <a:pt x="99" y="2017"/>
                  </a:lnTo>
                  <a:lnTo>
                    <a:pt x="76" y="2105"/>
                  </a:lnTo>
                  <a:lnTo>
                    <a:pt x="55" y="2191"/>
                  </a:lnTo>
                  <a:lnTo>
                    <a:pt x="38" y="2274"/>
                  </a:lnTo>
                  <a:lnTo>
                    <a:pt x="23" y="2353"/>
                  </a:lnTo>
                  <a:lnTo>
                    <a:pt x="12" y="2429"/>
                  </a:lnTo>
                  <a:lnTo>
                    <a:pt x="3" y="2498"/>
                  </a:lnTo>
                  <a:lnTo>
                    <a:pt x="0" y="2563"/>
                  </a:lnTo>
                  <a:lnTo>
                    <a:pt x="2" y="2622"/>
                  </a:lnTo>
                  <a:lnTo>
                    <a:pt x="10" y="2673"/>
                  </a:lnTo>
                  <a:lnTo>
                    <a:pt x="21" y="2716"/>
                  </a:lnTo>
                  <a:lnTo>
                    <a:pt x="39" y="2751"/>
                  </a:lnTo>
                  <a:lnTo>
                    <a:pt x="63" y="2778"/>
                  </a:lnTo>
                  <a:lnTo>
                    <a:pt x="93" y="2794"/>
                  </a:lnTo>
                  <a:lnTo>
                    <a:pt x="131" y="2799"/>
                  </a:lnTo>
                  <a:lnTo>
                    <a:pt x="4824" y="2799"/>
                  </a:lnTo>
                  <a:lnTo>
                    <a:pt x="4862" y="2794"/>
                  </a:lnTo>
                  <a:lnTo>
                    <a:pt x="4892" y="2778"/>
                  </a:lnTo>
                  <a:lnTo>
                    <a:pt x="4916" y="2751"/>
                  </a:lnTo>
                  <a:lnTo>
                    <a:pt x="4933" y="2716"/>
                  </a:lnTo>
                  <a:lnTo>
                    <a:pt x="4946" y="2673"/>
                  </a:lnTo>
                  <a:lnTo>
                    <a:pt x="4953" y="2622"/>
                  </a:lnTo>
                  <a:lnTo>
                    <a:pt x="4954" y="2563"/>
                  </a:lnTo>
                  <a:lnTo>
                    <a:pt x="4951" y="2498"/>
                  </a:lnTo>
                  <a:lnTo>
                    <a:pt x="4944" y="2429"/>
                  </a:lnTo>
                  <a:lnTo>
                    <a:pt x="4932" y="2353"/>
                  </a:lnTo>
                  <a:lnTo>
                    <a:pt x="4917" y="2274"/>
                  </a:lnTo>
                  <a:lnTo>
                    <a:pt x="4899" y="2191"/>
                  </a:lnTo>
                  <a:lnTo>
                    <a:pt x="4879" y="2105"/>
                  </a:lnTo>
                  <a:lnTo>
                    <a:pt x="4856" y="2017"/>
                  </a:lnTo>
                  <a:lnTo>
                    <a:pt x="4830" y="1928"/>
                  </a:lnTo>
                  <a:lnTo>
                    <a:pt x="4803" y="1838"/>
                  </a:lnTo>
                  <a:lnTo>
                    <a:pt x="4775" y="1748"/>
                  </a:lnTo>
                  <a:lnTo>
                    <a:pt x="4746" y="1657"/>
                  </a:lnTo>
                  <a:lnTo>
                    <a:pt x="4716" y="1570"/>
                  </a:lnTo>
                  <a:lnTo>
                    <a:pt x="4687" y="1484"/>
                  </a:lnTo>
                  <a:lnTo>
                    <a:pt x="4658" y="1401"/>
                  </a:lnTo>
                  <a:lnTo>
                    <a:pt x="4628" y="1321"/>
                  </a:lnTo>
                  <a:lnTo>
                    <a:pt x="4600" y="1247"/>
                  </a:lnTo>
                  <a:lnTo>
                    <a:pt x="4574" y="1176"/>
                  </a:lnTo>
                  <a:lnTo>
                    <a:pt x="4526" y="1053"/>
                  </a:lnTo>
                  <a:lnTo>
                    <a:pt x="4489" y="958"/>
                  </a:lnTo>
                  <a:lnTo>
                    <a:pt x="4464" y="897"/>
                  </a:lnTo>
                  <a:lnTo>
                    <a:pt x="4454" y="875"/>
                  </a:lnTo>
                  <a:lnTo>
                    <a:pt x="4444" y="855"/>
                  </a:lnTo>
                  <a:lnTo>
                    <a:pt x="4433" y="835"/>
                  </a:lnTo>
                  <a:lnTo>
                    <a:pt x="4421" y="815"/>
                  </a:lnTo>
                  <a:lnTo>
                    <a:pt x="4407" y="797"/>
                  </a:lnTo>
                  <a:lnTo>
                    <a:pt x="4392" y="780"/>
                  </a:lnTo>
                  <a:lnTo>
                    <a:pt x="4377" y="764"/>
                  </a:lnTo>
                  <a:lnTo>
                    <a:pt x="4359" y="748"/>
                  </a:lnTo>
                  <a:lnTo>
                    <a:pt x="4341" y="732"/>
                  </a:lnTo>
                  <a:lnTo>
                    <a:pt x="4323" y="719"/>
                  </a:lnTo>
                  <a:lnTo>
                    <a:pt x="4304" y="706"/>
                  </a:lnTo>
                  <a:lnTo>
                    <a:pt x="4285" y="694"/>
                  </a:lnTo>
                  <a:lnTo>
                    <a:pt x="4265" y="682"/>
                  </a:lnTo>
                  <a:lnTo>
                    <a:pt x="4244" y="671"/>
                  </a:lnTo>
                  <a:lnTo>
                    <a:pt x="4223" y="661"/>
                  </a:lnTo>
                  <a:lnTo>
                    <a:pt x="4203" y="652"/>
                  </a:lnTo>
                  <a:lnTo>
                    <a:pt x="4182" y="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" name="Freeform 12"/>
            <p:cNvSpPr>
              <a:spLocks/>
            </p:cNvSpPr>
            <p:nvPr/>
          </p:nvSpPr>
          <p:spPr bwMode="auto">
            <a:xfrm>
              <a:off x="3966" y="1896"/>
              <a:ext cx="61" cy="73"/>
            </a:xfrm>
            <a:custGeom>
              <a:avLst/>
              <a:gdLst>
                <a:gd name="T0" fmla="*/ 1166 w 2677"/>
                <a:gd name="T1" fmla="*/ 5 h 3213"/>
                <a:gd name="T2" fmla="*/ 932 w 2677"/>
                <a:gd name="T3" fmla="*/ 35 h 3213"/>
                <a:gd name="T4" fmla="*/ 726 w 2677"/>
                <a:gd name="T5" fmla="*/ 90 h 3213"/>
                <a:gd name="T6" fmla="*/ 547 w 2677"/>
                <a:gd name="T7" fmla="*/ 168 h 3213"/>
                <a:gd name="T8" fmla="*/ 395 w 2677"/>
                <a:gd name="T9" fmla="*/ 269 h 3213"/>
                <a:gd name="T10" fmla="*/ 269 w 2677"/>
                <a:gd name="T11" fmla="*/ 392 h 3213"/>
                <a:gd name="T12" fmla="*/ 168 w 2677"/>
                <a:gd name="T13" fmla="*/ 538 h 3213"/>
                <a:gd name="T14" fmla="*/ 92 w 2677"/>
                <a:gd name="T15" fmla="*/ 703 h 3213"/>
                <a:gd name="T16" fmla="*/ 39 w 2677"/>
                <a:gd name="T17" fmla="*/ 889 h 3213"/>
                <a:gd name="T18" fmla="*/ 8 w 2677"/>
                <a:gd name="T19" fmla="*/ 1093 h 3213"/>
                <a:gd name="T20" fmla="*/ 0 w 2677"/>
                <a:gd name="T21" fmla="*/ 1316 h 3213"/>
                <a:gd name="T22" fmla="*/ 20 w 2677"/>
                <a:gd name="T23" fmla="*/ 1638 h 3213"/>
                <a:gd name="T24" fmla="*/ 72 w 2677"/>
                <a:gd name="T25" fmla="*/ 1932 h 3213"/>
                <a:gd name="T26" fmla="*/ 151 w 2677"/>
                <a:gd name="T27" fmla="*/ 2200 h 3213"/>
                <a:gd name="T28" fmla="*/ 255 w 2677"/>
                <a:gd name="T29" fmla="*/ 2438 h 3213"/>
                <a:gd name="T30" fmla="*/ 380 w 2677"/>
                <a:gd name="T31" fmla="*/ 2647 h 3213"/>
                <a:gd name="T32" fmla="*/ 523 w 2677"/>
                <a:gd name="T33" fmla="*/ 2825 h 3213"/>
                <a:gd name="T34" fmla="*/ 681 w 2677"/>
                <a:gd name="T35" fmla="*/ 2971 h 3213"/>
                <a:gd name="T36" fmla="*/ 852 w 2677"/>
                <a:gd name="T37" fmla="*/ 3083 h 3213"/>
                <a:gd name="T38" fmla="*/ 1030 w 2677"/>
                <a:gd name="T39" fmla="*/ 3161 h 3213"/>
                <a:gd name="T40" fmla="*/ 1214 w 2677"/>
                <a:gd name="T41" fmla="*/ 3205 h 3213"/>
                <a:gd name="T42" fmla="*/ 1392 w 2677"/>
                <a:gd name="T43" fmla="*/ 3211 h 3213"/>
                <a:gd name="T44" fmla="*/ 1557 w 2677"/>
                <a:gd name="T45" fmla="*/ 3179 h 3213"/>
                <a:gd name="T46" fmla="*/ 1728 w 2677"/>
                <a:gd name="T47" fmla="*/ 3113 h 3213"/>
                <a:gd name="T48" fmla="*/ 1897 w 2677"/>
                <a:gd name="T49" fmla="*/ 3012 h 3213"/>
                <a:gd name="T50" fmla="*/ 2061 w 2677"/>
                <a:gd name="T51" fmla="*/ 2877 h 3213"/>
                <a:gd name="T52" fmla="*/ 2215 w 2677"/>
                <a:gd name="T53" fmla="*/ 2710 h 3213"/>
                <a:gd name="T54" fmla="*/ 2355 w 2677"/>
                <a:gd name="T55" fmla="*/ 2511 h 3213"/>
                <a:gd name="T56" fmla="*/ 2475 w 2677"/>
                <a:gd name="T57" fmla="*/ 2283 h 3213"/>
                <a:gd name="T58" fmla="*/ 2571 w 2677"/>
                <a:gd name="T59" fmla="*/ 2025 h 3213"/>
                <a:gd name="T60" fmla="*/ 2638 w 2677"/>
                <a:gd name="T61" fmla="*/ 1739 h 3213"/>
                <a:gd name="T62" fmla="*/ 2673 w 2677"/>
                <a:gd name="T63" fmla="*/ 1426 h 3213"/>
                <a:gd name="T64" fmla="*/ 2673 w 2677"/>
                <a:gd name="T65" fmla="*/ 1165 h 3213"/>
                <a:gd name="T66" fmla="*/ 2651 w 2677"/>
                <a:gd name="T67" fmla="*/ 955 h 3213"/>
                <a:gd name="T68" fmla="*/ 2605 w 2677"/>
                <a:gd name="T69" fmla="*/ 763 h 3213"/>
                <a:gd name="T70" fmla="*/ 2536 w 2677"/>
                <a:gd name="T71" fmla="*/ 591 h 3213"/>
                <a:gd name="T72" fmla="*/ 2443 w 2677"/>
                <a:gd name="T73" fmla="*/ 439 h 3213"/>
                <a:gd name="T74" fmla="*/ 2326 w 2677"/>
                <a:gd name="T75" fmla="*/ 307 h 3213"/>
                <a:gd name="T76" fmla="*/ 2184 w 2677"/>
                <a:gd name="T77" fmla="*/ 199 h 3213"/>
                <a:gd name="T78" fmla="*/ 2014 w 2677"/>
                <a:gd name="T79" fmla="*/ 113 h 3213"/>
                <a:gd name="T80" fmla="*/ 1817 w 2677"/>
                <a:gd name="T81" fmla="*/ 50 h 3213"/>
                <a:gd name="T82" fmla="*/ 1592 w 2677"/>
                <a:gd name="T83" fmla="*/ 12 h 3213"/>
                <a:gd name="T84" fmla="*/ 1338 w 2677"/>
                <a:gd name="T85" fmla="*/ 0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7" h="3213">
                  <a:moveTo>
                    <a:pt x="1338" y="0"/>
                  </a:moveTo>
                  <a:lnTo>
                    <a:pt x="1250" y="1"/>
                  </a:lnTo>
                  <a:lnTo>
                    <a:pt x="1166" y="5"/>
                  </a:lnTo>
                  <a:lnTo>
                    <a:pt x="1084" y="12"/>
                  </a:lnTo>
                  <a:lnTo>
                    <a:pt x="1007" y="22"/>
                  </a:lnTo>
                  <a:lnTo>
                    <a:pt x="932" y="35"/>
                  </a:lnTo>
                  <a:lnTo>
                    <a:pt x="859" y="50"/>
                  </a:lnTo>
                  <a:lnTo>
                    <a:pt x="790" y="68"/>
                  </a:lnTo>
                  <a:lnTo>
                    <a:pt x="726" y="90"/>
                  </a:lnTo>
                  <a:lnTo>
                    <a:pt x="663" y="113"/>
                  </a:lnTo>
                  <a:lnTo>
                    <a:pt x="603" y="139"/>
                  </a:lnTo>
                  <a:lnTo>
                    <a:pt x="547" y="168"/>
                  </a:lnTo>
                  <a:lnTo>
                    <a:pt x="493" y="199"/>
                  </a:lnTo>
                  <a:lnTo>
                    <a:pt x="443" y="232"/>
                  </a:lnTo>
                  <a:lnTo>
                    <a:pt x="395" y="269"/>
                  </a:lnTo>
                  <a:lnTo>
                    <a:pt x="350" y="307"/>
                  </a:lnTo>
                  <a:lnTo>
                    <a:pt x="308" y="349"/>
                  </a:lnTo>
                  <a:lnTo>
                    <a:pt x="269" y="392"/>
                  </a:lnTo>
                  <a:lnTo>
                    <a:pt x="233" y="439"/>
                  </a:lnTo>
                  <a:lnTo>
                    <a:pt x="199" y="486"/>
                  </a:lnTo>
                  <a:lnTo>
                    <a:pt x="168" y="538"/>
                  </a:lnTo>
                  <a:lnTo>
                    <a:pt x="140" y="591"/>
                  </a:lnTo>
                  <a:lnTo>
                    <a:pt x="114" y="646"/>
                  </a:lnTo>
                  <a:lnTo>
                    <a:pt x="92" y="703"/>
                  </a:lnTo>
                  <a:lnTo>
                    <a:pt x="71" y="763"/>
                  </a:lnTo>
                  <a:lnTo>
                    <a:pt x="54" y="825"/>
                  </a:lnTo>
                  <a:lnTo>
                    <a:pt x="39" y="889"/>
                  </a:lnTo>
                  <a:lnTo>
                    <a:pt x="26" y="955"/>
                  </a:lnTo>
                  <a:lnTo>
                    <a:pt x="16" y="1024"/>
                  </a:lnTo>
                  <a:lnTo>
                    <a:pt x="8" y="1093"/>
                  </a:lnTo>
                  <a:lnTo>
                    <a:pt x="3" y="1165"/>
                  </a:lnTo>
                  <a:lnTo>
                    <a:pt x="0" y="1240"/>
                  </a:lnTo>
                  <a:lnTo>
                    <a:pt x="0" y="1316"/>
                  </a:lnTo>
                  <a:lnTo>
                    <a:pt x="3" y="1426"/>
                  </a:lnTo>
                  <a:lnTo>
                    <a:pt x="10" y="1534"/>
                  </a:lnTo>
                  <a:lnTo>
                    <a:pt x="20" y="1638"/>
                  </a:lnTo>
                  <a:lnTo>
                    <a:pt x="35" y="1739"/>
                  </a:lnTo>
                  <a:lnTo>
                    <a:pt x="52" y="1837"/>
                  </a:lnTo>
                  <a:lnTo>
                    <a:pt x="72" y="1932"/>
                  </a:lnTo>
                  <a:lnTo>
                    <a:pt x="95" y="2025"/>
                  </a:lnTo>
                  <a:lnTo>
                    <a:pt x="121" y="2114"/>
                  </a:lnTo>
                  <a:lnTo>
                    <a:pt x="151" y="2200"/>
                  </a:lnTo>
                  <a:lnTo>
                    <a:pt x="183" y="2283"/>
                  </a:lnTo>
                  <a:lnTo>
                    <a:pt x="217" y="2362"/>
                  </a:lnTo>
                  <a:lnTo>
                    <a:pt x="255" y="2438"/>
                  </a:lnTo>
                  <a:lnTo>
                    <a:pt x="294" y="2511"/>
                  </a:lnTo>
                  <a:lnTo>
                    <a:pt x="336" y="2581"/>
                  </a:lnTo>
                  <a:lnTo>
                    <a:pt x="380" y="2647"/>
                  </a:lnTo>
                  <a:lnTo>
                    <a:pt x="426" y="2710"/>
                  </a:lnTo>
                  <a:lnTo>
                    <a:pt x="473" y="2769"/>
                  </a:lnTo>
                  <a:lnTo>
                    <a:pt x="523" y="2825"/>
                  </a:lnTo>
                  <a:lnTo>
                    <a:pt x="574" y="2877"/>
                  </a:lnTo>
                  <a:lnTo>
                    <a:pt x="627" y="2925"/>
                  </a:lnTo>
                  <a:lnTo>
                    <a:pt x="681" y="2971"/>
                  </a:lnTo>
                  <a:lnTo>
                    <a:pt x="737" y="3012"/>
                  </a:lnTo>
                  <a:lnTo>
                    <a:pt x="793" y="3050"/>
                  </a:lnTo>
                  <a:lnTo>
                    <a:pt x="852" y="3083"/>
                  </a:lnTo>
                  <a:lnTo>
                    <a:pt x="911" y="3113"/>
                  </a:lnTo>
                  <a:lnTo>
                    <a:pt x="970" y="3139"/>
                  </a:lnTo>
                  <a:lnTo>
                    <a:pt x="1030" y="3161"/>
                  </a:lnTo>
                  <a:lnTo>
                    <a:pt x="1091" y="3179"/>
                  </a:lnTo>
                  <a:lnTo>
                    <a:pt x="1152" y="3193"/>
                  </a:lnTo>
                  <a:lnTo>
                    <a:pt x="1214" y="3205"/>
                  </a:lnTo>
                  <a:lnTo>
                    <a:pt x="1276" y="3211"/>
                  </a:lnTo>
                  <a:lnTo>
                    <a:pt x="1338" y="3213"/>
                  </a:lnTo>
                  <a:lnTo>
                    <a:pt x="1392" y="3211"/>
                  </a:lnTo>
                  <a:lnTo>
                    <a:pt x="1446" y="3205"/>
                  </a:lnTo>
                  <a:lnTo>
                    <a:pt x="1502" y="3193"/>
                  </a:lnTo>
                  <a:lnTo>
                    <a:pt x="1557" y="3179"/>
                  </a:lnTo>
                  <a:lnTo>
                    <a:pt x="1614" y="3161"/>
                  </a:lnTo>
                  <a:lnTo>
                    <a:pt x="1670" y="3139"/>
                  </a:lnTo>
                  <a:lnTo>
                    <a:pt x="1728" y="3113"/>
                  </a:lnTo>
                  <a:lnTo>
                    <a:pt x="1785" y="3083"/>
                  </a:lnTo>
                  <a:lnTo>
                    <a:pt x="1841" y="3050"/>
                  </a:lnTo>
                  <a:lnTo>
                    <a:pt x="1897" y="3012"/>
                  </a:lnTo>
                  <a:lnTo>
                    <a:pt x="1952" y="2971"/>
                  </a:lnTo>
                  <a:lnTo>
                    <a:pt x="2007" y="2925"/>
                  </a:lnTo>
                  <a:lnTo>
                    <a:pt x="2061" y="2877"/>
                  </a:lnTo>
                  <a:lnTo>
                    <a:pt x="2113" y="2825"/>
                  </a:lnTo>
                  <a:lnTo>
                    <a:pt x="2165" y="2769"/>
                  </a:lnTo>
                  <a:lnTo>
                    <a:pt x="2215" y="2710"/>
                  </a:lnTo>
                  <a:lnTo>
                    <a:pt x="2264" y="2647"/>
                  </a:lnTo>
                  <a:lnTo>
                    <a:pt x="2310" y="2581"/>
                  </a:lnTo>
                  <a:lnTo>
                    <a:pt x="2355" y="2511"/>
                  </a:lnTo>
                  <a:lnTo>
                    <a:pt x="2397" y="2438"/>
                  </a:lnTo>
                  <a:lnTo>
                    <a:pt x="2436" y="2362"/>
                  </a:lnTo>
                  <a:lnTo>
                    <a:pt x="2475" y="2283"/>
                  </a:lnTo>
                  <a:lnTo>
                    <a:pt x="2509" y="2200"/>
                  </a:lnTo>
                  <a:lnTo>
                    <a:pt x="2541" y="2114"/>
                  </a:lnTo>
                  <a:lnTo>
                    <a:pt x="2571" y="2025"/>
                  </a:lnTo>
                  <a:lnTo>
                    <a:pt x="2597" y="1932"/>
                  </a:lnTo>
                  <a:lnTo>
                    <a:pt x="2619" y="1837"/>
                  </a:lnTo>
                  <a:lnTo>
                    <a:pt x="2638" y="1739"/>
                  </a:lnTo>
                  <a:lnTo>
                    <a:pt x="2654" y="1638"/>
                  </a:lnTo>
                  <a:lnTo>
                    <a:pt x="2666" y="1534"/>
                  </a:lnTo>
                  <a:lnTo>
                    <a:pt x="2673" y="1426"/>
                  </a:lnTo>
                  <a:lnTo>
                    <a:pt x="2677" y="1316"/>
                  </a:lnTo>
                  <a:lnTo>
                    <a:pt x="2676" y="1240"/>
                  </a:lnTo>
                  <a:lnTo>
                    <a:pt x="2673" y="1165"/>
                  </a:lnTo>
                  <a:lnTo>
                    <a:pt x="2668" y="1093"/>
                  </a:lnTo>
                  <a:lnTo>
                    <a:pt x="2661" y="1024"/>
                  </a:lnTo>
                  <a:lnTo>
                    <a:pt x="2651" y="955"/>
                  </a:lnTo>
                  <a:lnTo>
                    <a:pt x="2637" y="889"/>
                  </a:lnTo>
                  <a:lnTo>
                    <a:pt x="2622" y="825"/>
                  </a:lnTo>
                  <a:lnTo>
                    <a:pt x="2605" y="763"/>
                  </a:lnTo>
                  <a:lnTo>
                    <a:pt x="2585" y="703"/>
                  </a:lnTo>
                  <a:lnTo>
                    <a:pt x="2562" y="646"/>
                  </a:lnTo>
                  <a:lnTo>
                    <a:pt x="2536" y="591"/>
                  </a:lnTo>
                  <a:lnTo>
                    <a:pt x="2508" y="538"/>
                  </a:lnTo>
                  <a:lnTo>
                    <a:pt x="2478" y="486"/>
                  </a:lnTo>
                  <a:lnTo>
                    <a:pt x="2443" y="439"/>
                  </a:lnTo>
                  <a:lnTo>
                    <a:pt x="2407" y="392"/>
                  </a:lnTo>
                  <a:lnTo>
                    <a:pt x="2369" y="349"/>
                  </a:lnTo>
                  <a:lnTo>
                    <a:pt x="2326" y="307"/>
                  </a:lnTo>
                  <a:lnTo>
                    <a:pt x="2282" y="269"/>
                  </a:lnTo>
                  <a:lnTo>
                    <a:pt x="2234" y="232"/>
                  </a:lnTo>
                  <a:lnTo>
                    <a:pt x="2184" y="199"/>
                  </a:lnTo>
                  <a:lnTo>
                    <a:pt x="2130" y="168"/>
                  </a:lnTo>
                  <a:lnTo>
                    <a:pt x="2074" y="139"/>
                  </a:lnTo>
                  <a:lnTo>
                    <a:pt x="2014" y="113"/>
                  </a:lnTo>
                  <a:lnTo>
                    <a:pt x="1951" y="90"/>
                  </a:lnTo>
                  <a:lnTo>
                    <a:pt x="1886" y="68"/>
                  </a:lnTo>
                  <a:lnTo>
                    <a:pt x="1817" y="50"/>
                  </a:lnTo>
                  <a:lnTo>
                    <a:pt x="1745" y="35"/>
                  </a:lnTo>
                  <a:lnTo>
                    <a:pt x="1670" y="22"/>
                  </a:lnTo>
                  <a:lnTo>
                    <a:pt x="1592" y="12"/>
                  </a:lnTo>
                  <a:lnTo>
                    <a:pt x="1511" y="5"/>
                  </a:lnTo>
                  <a:lnTo>
                    <a:pt x="1426" y="1"/>
                  </a:lnTo>
                  <a:lnTo>
                    <a:pt x="13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" name="Freeform 13"/>
            <p:cNvSpPr>
              <a:spLocks/>
            </p:cNvSpPr>
            <p:nvPr/>
          </p:nvSpPr>
          <p:spPr bwMode="auto">
            <a:xfrm>
              <a:off x="4066" y="1965"/>
              <a:ext cx="112" cy="64"/>
            </a:xfrm>
            <a:custGeom>
              <a:avLst/>
              <a:gdLst>
                <a:gd name="T0" fmla="*/ 3439 w 4954"/>
                <a:gd name="T1" fmla="*/ 300 h 2799"/>
                <a:gd name="T2" fmla="*/ 2510 w 4954"/>
                <a:gd name="T3" fmla="*/ 570 h 2799"/>
                <a:gd name="T4" fmla="*/ 1871 w 4954"/>
                <a:gd name="T5" fmla="*/ 0 h 2799"/>
                <a:gd name="T6" fmla="*/ 772 w 4954"/>
                <a:gd name="T7" fmla="*/ 642 h 2799"/>
                <a:gd name="T8" fmla="*/ 731 w 4954"/>
                <a:gd name="T9" fmla="*/ 661 h 2799"/>
                <a:gd name="T10" fmla="*/ 691 w 4954"/>
                <a:gd name="T11" fmla="*/ 681 h 2799"/>
                <a:gd name="T12" fmla="*/ 652 w 4954"/>
                <a:gd name="T13" fmla="*/ 704 h 2799"/>
                <a:gd name="T14" fmla="*/ 615 w 4954"/>
                <a:gd name="T15" fmla="*/ 731 h 2799"/>
                <a:gd name="T16" fmla="*/ 581 w 4954"/>
                <a:gd name="T17" fmla="*/ 761 h 2799"/>
                <a:gd name="T18" fmla="*/ 550 w 4954"/>
                <a:gd name="T19" fmla="*/ 795 h 2799"/>
                <a:gd name="T20" fmla="*/ 523 w 4954"/>
                <a:gd name="T21" fmla="*/ 833 h 2799"/>
                <a:gd name="T22" fmla="*/ 500 w 4954"/>
                <a:gd name="T23" fmla="*/ 875 h 2799"/>
                <a:gd name="T24" fmla="*/ 465 w 4954"/>
                <a:gd name="T25" fmla="*/ 958 h 2799"/>
                <a:gd name="T26" fmla="*/ 380 w 4954"/>
                <a:gd name="T27" fmla="*/ 1176 h 2799"/>
                <a:gd name="T28" fmla="*/ 326 w 4954"/>
                <a:gd name="T29" fmla="*/ 1321 h 2799"/>
                <a:gd name="T30" fmla="*/ 267 w 4954"/>
                <a:gd name="T31" fmla="*/ 1484 h 2799"/>
                <a:gd name="T32" fmla="*/ 208 w 4954"/>
                <a:gd name="T33" fmla="*/ 1657 h 2799"/>
                <a:gd name="T34" fmla="*/ 151 w 4954"/>
                <a:gd name="T35" fmla="*/ 1838 h 2799"/>
                <a:gd name="T36" fmla="*/ 98 w 4954"/>
                <a:gd name="T37" fmla="*/ 2017 h 2799"/>
                <a:gd name="T38" fmla="*/ 55 w 4954"/>
                <a:gd name="T39" fmla="*/ 2191 h 2799"/>
                <a:gd name="T40" fmla="*/ 22 w 4954"/>
                <a:gd name="T41" fmla="*/ 2353 h 2799"/>
                <a:gd name="T42" fmla="*/ 3 w 4954"/>
                <a:gd name="T43" fmla="*/ 2498 h 2799"/>
                <a:gd name="T44" fmla="*/ 2 w 4954"/>
                <a:gd name="T45" fmla="*/ 2622 h 2799"/>
                <a:gd name="T46" fmla="*/ 21 w 4954"/>
                <a:gd name="T47" fmla="*/ 2716 h 2799"/>
                <a:gd name="T48" fmla="*/ 62 w 4954"/>
                <a:gd name="T49" fmla="*/ 2778 h 2799"/>
                <a:gd name="T50" fmla="*/ 131 w 4954"/>
                <a:gd name="T51" fmla="*/ 2799 h 2799"/>
                <a:gd name="T52" fmla="*/ 4861 w 4954"/>
                <a:gd name="T53" fmla="*/ 2794 h 2799"/>
                <a:gd name="T54" fmla="*/ 4915 w 4954"/>
                <a:gd name="T55" fmla="*/ 2751 h 2799"/>
                <a:gd name="T56" fmla="*/ 4945 w 4954"/>
                <a:gd name="T57" fmla="*/ 2673 h 2799"/>
                <a:gd name="T58" fmla="*/ 4954 w 4954"/>
                <a:gd name="T59" fmla="*/ 2563 h 2799"/>
                <a:gd name="T60" fmla="*/ 4942 w 4954"/>
                <a:gd name="T61" fmla="*/ 2429 h 2799"/>
                <a:gd name="T62" fmla="*/ 4917 w 4954"/>
                <a:gd name="T63" fmla="*/ 2274 h 2799"/>
                <a:gd name="T64" fmla="*/ 4878 w 4954"/>
                <a:gd name="T65" fmla="*/ 2105 h 2799"/>
                <a:gd name="T66" fmla="*/ 4829 w 4954"/>
                <a:gd name="T67" fmla="*/ 1928 h 2799"/>
                <a:gd name="T68" fmla="*/ 4775 w 4954"/>
                <a:gd name="T69" fmla="*/ 1748 h 2799"/>
                <a:gd name="T70" fmla="*/ 4716 w 4954"/>
                <a:gd name="T71" fmla="*/ 1570 h 2799"/>
                <a:gd name="T72" fmla="*/ 4656 w 4954"/>
                <a:gd name="T73" fmla="*/ 1401 h 2799"/>
                <a:gd name="T74" fmla="*/ 4600 w 4954"/>
                <a:gd name="T75" fmla="*/ 1247 h 2799"/>
                <a:gd name="T76" fmla="*/ 4526 w 4954"/>
                <a:gd name="T77" fmla="*/ 1053 h 2799"/>
                <a:gd name="T78" fmla="*/ 4463 w 4954"/>
                <a:gd name="T79" fmla="*/ 897 h 2799"/>
                <a:gd name="T80" fmla="*/ 4444 w 4954"/>
                <a:gd name="T81" fmla="*/ 855 h 2799"/>
                <a:gd name="T82" fmla="*/ 4421 w 4954"/>
                <a:gd name="T83" fmla="*/ 815 h 2799"/>
                <a:gd name="T84" fmla="*/ 4392 w 4954"/>
                <a:gd name="T85" fmla="*/ 780 h 2799"/>
                <a:gd name="T86" fmla="*/ 4358 w 4954"/>
                <a:gd name="T87" fmla="*/ 748 h 2799"/>
                <a:gd name="T88" fmla="*/ 4322 w 4954"/>
                <a:gd name="T89" fmla="*/ 719 h 2799"/>
                <a:gd name="T90" fmla="*/ 4284 w 4954"/>
                <a:gd name="T91" fmla="*/ 694 h 2799"/>
                <a:gd name="T92" fmla="*/ 4243 w 4954"/>
                <a:gd name="T93" fmla="*/ 671 h 2799"/>
                <a:gd name="T94" fmla="*/ 4202 w 4954"/>
                <a:gd name="T95" fmla="*/ 652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54" h="2799">
                  <a:moveTo>
                    <a:pt x="4182" y="642"/>
                  </a:moveTo>
                  <a:lnTo>
                    <a:pt x="3439" y="300"/>
                  </a:lnTo>
                  <a:lnTo>
                    <a:pt x="3083" y="0"/>
                  </a:lnTo>
                  <a:lnTo>
                    <a:pt x="2510" y="570"/>
                  </a:lnTo>
                  <a:lnTo>
                    <a:pt x="2444" y="570"/>
                  </a:lnTo>
                  <a:lnTo>
                    <a:pt x="1871" y="0"/>
                  </a:lnTo>
                  <a:lnTo>
                    <a:pt x="1514" y="300"/>
                  </a:lnTo>
                  <a:lnTo>
                    <a:pt x="772" y="642"/>
                  </a:lnTo>
                  <a:lnTo>
                    <a:pt x="751" y="652"/>
                  </a:lnTo>
                  <a:lnTo>
                    <a:pt x="731" y="661"/>
                  </a:lnTo>
                  <a:lnTo>
                    <a:pt x="711" y="671"/>
                  </a:lnTo>
                  <a:lnTo>
                    <a:pt x="691" y="681"/>
                  </a:lnTo>
                  <a:lnTo>
                    <a:pt x="671" y="693"/>
                  </a:lnTo>
                  <a:lnTo>
                    <a:pt x="652" y="704"/>
                  </a:lnTo>
                  <a:lnTo>
                    <a:pt x="633" y="717"/>
                  </a:lnTo>
                  <a:lnTo>
                    <a:pt x="615" y="731"/>
                  </a:lnTo>
                  <a:lnTo>
                    <a:pt x="598" y="746"/>
                  </a:lnTo>
                  <a:lnTo>
                    <a:pt x="581" y="761"/>
                  </a:lnTo>
                  <a:lnTo>
                    <a:pt x="565" y="778"/>
                  </a:lnTo>
                  <a:lnTo>
                    <a:pt x="550" y="795"/>
                  </a:lnTo>
                  <a:lnTo>
                    <a:pt x="536" y="813"/>
                  </a:lnTo>
                  <a:lnTo>
                    <a:pt x="523" y="833"/>
                  </a:lnTo>
                  <a:lnTo>
                    <a:pt x="511" y="854"/>
                  </a:lnTo>
                  <a:lnTo>
                    <a:pt x="500" y="875"/>
                  </a:lnTo>
                  <a:lnTo>
                    <a:pt x="490" y="897"/>
                  </a:lnTo>
                  <a:lnTo>
                    <a:pt x="465" y="958"/>
                  </a:lnTo>
                  <a:lnTo>
                    <a:pt x="428" y="1053"/>
                  </a:lnTo>
                  <a:lnTo>
                    <a:pt x="380" y="1176"/>
                  </a:lnTo>
                  <a:lnTo>
                    <a:pt x="354" y="1247"/>
                  </a:lnTo>
                  <a:lnTo>
                    <a:pt x="326" y="1321"/>
                  </a:lnTo>
                  <a:lnTo>
                    <a:pt x="296" y="1401"/>
                  </a:lnTo>
                  <a:lnTo>
                    <a:pt x="267" y="1484"/>
                  </a:lnTo>
                  <a:lnTo>
                    <a:pt x="238" y="1570"/>
                  </a:lnTo>
                  <a:lnTo>
                    <a:pt x="208" y="1657"/>
                  </a:lnTo>
                  <a:lnTo>
                    <a:pt x="179" y="1748"/>
                  </a:lnTo>
                  <a:lnTo>
                    <a:pt x="151" y="1838"/>
                  </a:lnTo>
                  <a:lnTo>
                    <a:pt x="124" y="1928"/>
                  </a:lnTo>
                  <a:lnTo>
                    <a:pt x="98" y="2017"/>
                  </a:lnTo>
                  <a:lnTo>
                    <a:pt x="75" y="2105"/>
                  </a:lnTo>
                  <a:lnTo>
                    <a:pt x="55" y="2191"/>
                  </a:lnTo>
                  <a:lnTo>
                    <a:pt x="37" y="2274"/>
                  </a:lnTo>
                  <a:lnTo>
                    <a:pt x="22" y="2353"/>
                  </a:lnTo>
                  <a:lnTo>
                    <a:pt x="10" y="2429"/>
                  </a:lnTo>
                  <a:lnTo>
                    <a:pt x="3" y="2498"/>
                  </a:lnTo>
                  <a:lnTo>
                    <a:pt x="0" y="2563"/>
                  </a:lnTo>
                  <a:lnTo>
                    <a:pt x="2" y="2622"/>
                  </a:lnTo>
                  <a:lnTo>
                    <a:pt x="8" y="2673"/>
                  </a:lnTo>
                  <a:lnTo>
                    <a:pt x="21" y="2716"/>
                  </a:lnTo>
                  <a:lnTo>
                    <a:pt x="39" y="2751"/>
                  </a:lnTo>
                  <a:lnTo>
                    <a:pt x="62" y="2778"/>
                  </a:lnTo>
                  <a:lnTo>
                    <a:pt x="93" y="2794"/>
                  </a:lnTo>
                  <a:lnTo>
                    <a:pt x="131" y="2799"/>
                  </a:lnTo>
                  <a:lnTo>
                    <a:pt x="4823" y="2799"/>
                  </a:lnTo>
                  <a:lnTo>
                    <a:pt x="4861" y="2794"/>
                  </a:lnTo>
                  <a:lnTo>
                    <a:pt x="4891" y="2778"/>
                  </a:lnTo>
                  <a:lnTo>
                    <a:pt x="4915" y="2751"/>
                  </a:lnTo>
                  <a:lnTo>
                    <a:pt x="4933" y="2716"/>
                  </a:lnTo>
                  <a:lnTo>
                    <a:pt x="4945" y="2673"/>
                  </a:lnTo>
                  <a:lnTo>
                    <a:pt x="4952" y="2622"/>
                  </a:lnTo>
                  <a:lnTo>
                    <a:pt x="4954" y="2563"/>
                  </a:lnTo>
                  <a:lnTo>
                    <a:pt x="4951" y="2498"/>
                  </a:lnTo>
                  <a:lnTo>
                    <a:pt x="4942" y="2429"/>
                  </a:lnTo>
                  <a:lnTo>
                    <a:pt x="4931" y="2353"/>
                  </a:lnTo>
                  <a:lnTo>
                    <a:pt x="4917" y="2274"/>
                  </a:lnTo>
                  <a:lnTo>
                    <a:pt x="4899" y="2191"/>
                  </a:lnTo>
                  <a:lnTo>
                    <a:pt x="4878" y="2105"/>
                  </a:lnTo>
                  <a:lnTo>
                    <a:pt x="4855" y="2017"/>
                  </a:lnTo>
                  <a:lnTo>
                    <a:pt x="4829" y="1928"/>
                  </a:lnTo>
                  <a:lnTo>
                    <a:pt x="4803" y="1838"/>
                  </a:lnTo>
                  <a:lnTo>
                    <a:pt x="4775" y="1748"/>
                  </a:lnTo>
                  <a:lnTo>
                    <a:pt x="4745" y="1657"/>
                  </a:lnTo>
                  <a:lnTo>
                    <a:pt x="4716" y="1570"/>
                  </a:lnTo>
                  <a:lnTo>
                    <a:pt x="4686" y="1484"/>
                  </a:lnTo>
                  <a:lnTo>
                    <a:pt x="4656" y="1401"/>
                  </a:lnTo>
                  <a:lnTo>
                    <a:pt x="4628" y="1321"/>
                  </a:lnTo>
                  <a:lnTo>
                    <a:pt x="4600" y="1247"/>
                  </a:lnTo>
                  <a:lnTo>
                    <a:pt x="4574" y="1176"/>
                  </a:lnTo>
                  <a:lnTo>
                    <a:pt x="4526" y="1053"/>
                  </a:lnTo>
                  <a:lnTo>
                    <a:pt x="4488" y="958"/>
                  </a:lnTo>
                  <a:lnTo>
                    <a:pt x="4463" y="897"/>
                  </a:lnTo>
                  <a:lnTo>
                    <a:pt x="4454" y="875"/>
                  </a:lnTo>
                  <a:lnTo>
                    <a:pt x="4444" y="855"/>
                  </a:lnTo>
                  <a:lnTo>
                    <a:pt x="4433" y="835"/>
                  </a:lnTo>
                  <a:lnTo>
                    <a:pt x="4421" y="815"/>
                  </a:lnTo>
                  <a:lnTo>
                    <a:pt x="4407" y="797"/>
                  </a:lnTo>
                  <a:lnTo>
                    <a:pt x="4392" y="780"/>
                  </a:lnTo>
                  <a:lnTo>
                    <a:pt x="4376" y="764"/>
                  </a:lnTo>
                  <a:lnTo>
                    <a:pt x="4358" y="748"/>
                  </a:lnTo>
                  <a:lnTo>
                    <a:pt x="4341" y="732"/>
                  </a:lnTo>
                  <a:lnTo>
                    <a:pt x="4322" y="719"/>
                  </a:lnTo>
                  <a:lnTo>
                    <a:pt x="4304" y="706"/>
                  </a:lnTo>
                  <a:lnTo>
                    <a:pt x="4284" y="694"/>
                  </a:lnTo>
                  <a:lnTo>
                    <a:pt x="4263" y="682"/>
                  </a:lnTo>
                  <a:lnTo>
                    <a:pt x="4243" y="671"/>
                  </a:lnTo>
                  <a:lnTo>
                    <a:pt x="4223" y="661"/>
                  </a:lnTo>
                  <a:lnTo>
                    <a:pt x="4202" y="652"/>
                  </a:lnTo>
                  <a:lnTo>
                    <a:pt x="4182" y="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" name="Freeform 14"/>
            <p:cNvSpPr>
              <a:spLocks/>
            </p:cNvSpPr>
            <p:nvPr/>
          </p:nvSpPr>
          <p:spPr bwMode="auto">
            <a:xfrm>
              <a:off x="4092" y="1896"/>
              <a:ext cx="61" cy="73"/>
            </a:xfrm>
            <a:custGeom>
              <a:avLst/>
              <a:gdLst>
                <a:gd name="T0" fmla="*/ 1447 w 2677"/>
                <a:gd name="T1" fmla="*/ 3205 h 3213"/>
                <a:gd name="T2" fmla="*/ 1615 w 2677"/>
                <a:gd name="T3" fmla="*/ 3162 h 3213"/>
                <a:gd name="T4" fmla="*/ 1785 w 2677"/>
                <a:gd name="T5" fmla="*/ 3083 h 3213"/>
                <a:gd name="T6" fmla="*/ 1952 w 2677"/>
                <a:gd name="T7" fmla="*/ 2971 h 3213"/>
                <a:gd name="T8" fmla="*/ 2114 w 2677"/>
                <a:gd name="T9" fmla="*/ 2825 h 3213"/>
                <a:gd name="T10" fmla="*/ 2264 w 2677"/>
                <a:gd name="T11" fmla="*/ 2647 h 3213"/>
                <a:gd name="T12" fmla="*/ 2397 w 2677"/>
                <a:gd name="T13" fmla="*/ 2438 h 3213"/>
                <a:gd name="T14" fmla="*/ 2510 w 2677"/>
                <a:gd name="T15" fmla="*/ 2200 h 3213"/>
                <a:gd name="T16" fmla="*/ 2597 w 2677"/>
                <a:gd name="T17" fmla="*/ 1932 h 3213"/>
                <a:gd name="T18" fmla="*/ 2655 w 2677"/>
                <a:gd name="T19" fmla="*/ 1638 h 3213"/>
                <a:gd name="T20" fmla="*/ 2677 w 2677"/>
                <a:gd name="T21" fmla="*/ 1316 h 3213"/>
                <a:gd name="T22" fmla="*/ 2669 w 2677"/>
                <a:gd name="T23" fmla="*/ 1093 h 3213"/>
                <a:gd name="T24" fmla="*/ 2638 w 2677"/>
                <a:gd name="T25" fmla="*/ 889 h 3213"/>
                <a:gd name="T26" fmla="*/ 2586 w 2677"/>
                <a:gd name="T27" fmla="*/ 703 h 3213"/>
                <a:gd name="T28" fmla="*/ 2509 w 2677"/>
                <a:gd name="T29" fmla="*/ 538 h 3213"/>
                <a:gd name="T30" fmla="*/ 2408 w 2677"/>
                <a:gd name="T31" fmla="*/ 392 h 3213"/>
                <a:gd name="T32" fmla="*/ 2282 w 2677"/>
                <a:gd name="T33" fmla="*/ 269 h 3213"/>
                <a:gd name="T34" fmla="*/ 2130 w 2677"/>
                <a:gd name="T35" fmla="*/ 168 h 3213"/>
                <a:gd name="T36" fmla="*/ 1951 w 2677"/>
                <a:gd name="T37" fmla="*/ 90 h 3213"/>
                <a:gd name="T38" fmla="*/ 1746 w 2677"/>
                <a:gd name="T39" fmla="*/ 35 h 3213"/>
                <a:gd name="T40" fmla="*/ 1511 w 2677"/>
                <a:gd name="T41" fmla="*/ 5 h 3213"/>
                <a:gd name="T42" fmla="*/ 1251 w 2677"/>
                <a:gd name="T43" fmla="*/ 1 h 3213"/>
                <a:gd name="T44" fmla="*/ 1007 w 2677"/>
                <a:gd name="T45" fmla="*/ 22 h 3213"/>
                <a:gd name="T46" fmla="*/ 791 w 2677"/>
                <a:gd name="T47" fmla="*/ 68 h 3213"/>
                <a:gd name="T48" fmla="*/ 603 w 2677"/>
                <a:gd name="T49" fmla="*/ 139 h 3213"/>
                <a:gd name="T50" fmla="*/ 443 w 2677"/>
                <a:gd name="T51" fmla="*/ 232 h 3213"/>
                <a:gd name="T52" fmla="*/ 308 w 2677"/>
                <a:gd name="T53" fmla="*/ 349 h 3213"/>
                <a:gd name="T54" fmla="*/ 199 w 2677"/>
                <a:gd name="T55" fmla="*/ 486 h 3213"/>
                <a:gd name="T56" fmla="*/ 115 w 2677"/>
                <a:gd name="T57" fmla="*/ 646 h 3213"/>
                <a:gd name="T58" fmla="*/ 55 w 2677"/>
                <a:gd name="T59" fmla="*/ 825 h 3213"/>
                <a:gd name="T60" fmla="*/ 16 w 2677"/>
                <a:gd name="T61" fmla="*/ 1024 h 3213"/>
                <a:gd name="T62" fmla="*/ 1 w 2677"/>
                <a:gd name="T63" fmla="*/ 1240 h 3213"/>
                <a:gd name="T64" fmla="*/ 10 w 2677"/>
                <a:gd name="T65" fmla="*/ 1534 h 3213"/>
                <a:gd name="T66" fmla="*/ 52 w 2677"/>
                <a:gd name="T67" fmla="*/ 1837 h 3213"/>
                <a:gd name="T68" fmla="*/ 121 w 2677"/>
                <a:gd name="T69" fmla="*/ 2114 h 3213"/>
                <a:gd name="T70" fmla="*/ 217 w 2677"/>
                <a:gd name="T71" fmla="*/ 2362 h 3213"/>
                <a:gd name="T72" fmla="*/ 337 w 2677"/>
                <a:gd name="T73" fmla="*/ 2581 h 3213"/>
                <a:gd name="T74" fmla="*/ 474 w 2677"/>
                <a:gd name="T75" fmla="*/ 2769 h 3213"/>
                <a:gd name="T76" fmla="*/ 628 w 2677"/>
                <a:gd name="T77" fmla="*/ 2926 h 3213"/>
                <a:gd name="T78" fmla="*/ 794 w 2677"/>
                <a:gd name="T79" fmla="*/ 3050 h 3213"/>
                <a:gd name="T80" fmla="*/ 970 w 2677"/>
                <a:gd name="T81" fmla="*/ 3140 h 3213"/>
                <a:gd name="T82" fmla="*/ 1153 w 2677"/>
                <a:gd name="T83" fmla="*/ 3194 h 3213"/>
                <a:gd name="T84" fmla="*/ 1339 w 2677"/>
                <a:gd name="T85" fmla="*/ 3213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7" h="3213">
                  <a:moveTo>
                    <a:pt x="1339" y="3213"/>
                  </a:moveTo>
                  <a:lnTo>
                    <a:pt x="1393" y="3211"/>
                  </a:lnTo>
                  <a:lnTo>
                    <a:pt x="1447" y="3205"/>
                  </a:lnTo>
                  <a:lnTo>
                    <a:pt x="1503" y="3194"/>
                  </a:lnTo>
                  <a:lnTo>
                    <a:pt x="1558" y="3180"/>
                  </a:lnTo>
                  <a:lnTo>
                    <a:pt x="1615" y="3162"/>
                  </a:lnTo>
                  <a:lnTo>
                    <a:pt x="1671" y="3140"/>
                  </a:lnTo>
                  <a:lnTo>
                    <a:pt x="1728" y="3113"/>
                  </a:lnTo>
                  <a:lnTo>
                    <a:pt x="1785" y="3083"/>
                  </a:lnTo>
                  <a:lnTo>
                    <a:pt x="1841" y="3050"/>
                  </a:lnTo>
                  <a:lnTo>
                    <a:pt x="1898" y="3012"/>
                  </a:lnTo>
                  <a:lnTo>
                    <a:pt x="1952" y="2971"/>
                  </a:lnTo>
                  <a:lnTo>
                    <a:pt x="2008" y="2926"/>
                  </a:lnTo>
                  <a:lnTo>
                    <a:pt x="2061" y="2877"/>
                  </a:lnTo>
                  <a:lnTo>
                    <a:pt x="2114" y="2825"/>
                  </a:lnTo>
                  <a:lnTo>
                    <a:pt x="2165" y="2769"/>
                  </a:lnTo>
                  <a:lnTo>
                    <a:pt x="2215" y="2710"/>
                  </a:lnTo>
                  <a:lnTo>
                    <a:pt x="2264" y="2647"/>
                  </a:lnTo>
                  <a:lnTo>
                    <a:pt x="2310" y="2581"/>
                  </a:lnTo>
                  <a:lnTo>
                    <a:pt x="2354" y="2511"/>
                  </a:lnTo>
                  <a:lnTo>
                    <a:pt x="2397" y="2438"/>
                  </a:lnTo>
                  <a:lnTo>
                    <a:pt x="2437" y="2362"/>
                  </a:lnTo>
                  <a:lnTo>
                    <a:pt x="2475" y="2283"/>
                  </a:lnTo>
                  <a:lnTo>
                    <a:pt x="2510" y="2200"/>
                  </a:lnTo>
                  <a:lnTo>
                    <a:pt x="2542" y="2114"/>
                  </a:lnTo>
                  <a:lnTo>
                    <a:pt x="2572" y="2025"/>
                  </a:lnTo>
                  <a:lnTo>
                    <a:pt x="2597" y="1932"/>
                  </a:lnTo>
                  <a:lnTo>
                    <a:pt x="2620" y="1837"/>
                  </a:lnTo>
                  <a:lnTo>
                    <a:pt x="2639" y="1739"/>
                  </a:lnTo>
                  <a:lnTo>
                    <a:pt x="2655" y="1638"/>
                  </a:lnTo>
                  <a:lnTo>
                    <a:pt x="2666" y="1534"/>
                  </a:lnTo>
                  <a:lnTo>
                    <a:pt x="2674" y="1426"/>
                  </a:lnTo>
                  <a:lnTo>
                    <a:pt x="2677" y="1316"/>
                  </a:lnTo>
                  <a:lnTo>
                    <a:pt x="2677" y="1240"/>
                  </a:lnTo>
                  <a:lnTo>
                    <a:pt x="2674" y="1165"/>
                  </a:lnTo>
                  <a:lnTo>
                    <a:pt x="2669" y="1093"/>
                  </a:lnTo>
                  <a:lnTo>
                    <a:pt x="2661" y="1024"/>
                  </a:lnTo>
                  <a:lnTo>
                    <a:pt x="2651" y="955"/>
                  </a:lnTo>
                  <a:lnTo>
                    <a:pt x="2638" y="889"/>
                  </a:lnTo>
                  <a:lnTo>
                    <a:pt x="2623" y="825"/>
                  </a:lnTo>
                  <a:lnTo>
                    <a:pt x="2606" y="763"/>
                  </a:lnTo>
                  <a:lnTo>
                    <a:pt x="2586" y="703"/>
                  </a:lnTo>
                  <a:lnTo>
                    <a:pt x="2563" y="646"/>
                  </a:lnTo>
                  <a:lnTo>
                    <a:pt x="2537" y="591"/>
                  </a:lnTo>
                  <a:lnTo>
                    <a:pt x="2509" y="538"/>
                  </a:lnTo>
                  <a:lnTo>
                    <a:pt x="2478" y="486"/>
                  </a:lnTo>
                  <a:lnTo>
                    <a:pt x="2444" y="439"/>
                  </a:lnTo>
                  <a:lnTo>
                    <a:pt x="2408" y="392"/>
                  </a:lnTo>
                  <a:lnTo>
                    <a:pt x="2369" y="349"/>
                  </a:lnTo>
                  <a:lnTo>
                    <a:pt x="2327" y="307"/>
                  </a:lnTo>
                  <a:lnTo>
                    <a:pt x="2282" y="269"/>
                  </a:lnTo>
                  <a:lnTo>
                    <a:pt x="2234" y="232"/>
                  </a:lnTo>
                  <a:lnTo>
                    <a:pt x="2184" y="199"/>
                  </a:lnTo>
                  <a:lnTo>
                    <a:pt x="2130" y="168"/>
                  </a:lnTo>
                  <a:lnTo>
                    <a:pt x="2074" y="139"/>
                  </a:lnTo>
                  <a:lnTo>
                    <a:pt x="2014" y="113"/>
                  </a:lnTo>
                  <a:lnTo>
                    <a:pt x="1951" y="90"/>
                  </a:lnTo>
                  <a:lnTo>
                    <a:pt x="1887" y="68"/>
                  </a:lnTo>
                  <a:lnTo>
                    <a:pt x="1818" y="50"/>
                  </a:lnTo>
                  <a:lnTo>
                    <a:pt x="1746" y="35"/>
                  </a:lnTo>
                  <a:lnTo>
                    <a:pt x="1670" y="22"/>
                  </a:lnTo>
                  <a:lnTo>
                    <a:pt x="1593" y="12"/>
                  </a:lnTo>
                  <a:lnTo>
                    <a:pt x="1511" y="5"/>
                  </a:lnTo>
                  <a:lnTo>
                    <a:pt x="1427" y="1"/>
                  </a:lnTo>
                  <a:lnTo>
                    <a:pt x="1339" y="0"/>
                  </a:lnTo>
                  <a:lnTo>
                    <a:pt x="1251" y="1"/>
                  </a:lnTo>
                  <a:lnTo>
                    <a:pt x="1166" y="5"/>
                  </a:lnTo>
                  <a:lnTo>
                    <a:pt x="1085" y="12"/>
                  </a:lnTo>
                  <a:lnTo>
                    <a:pt x="1007" y="22"/>
                  </a:lnTo>
                  <a:lnTo>
                    <a:pt x="932" y="35"/>
                  </a:lnTo>
                  <a:lnTo>
                    <a:pt x="860" y="50"/>
                  </a:lnTo>
                  <a:lnTo>
                    <a:pt x="791" y="68"/>
                  </a:lnTo>
                  <a:lnTo>
                    <a:pt x="726" y="90"/>
                  </a:lnTo>
                  <a:lnTo>
                    <a:pt x="663" y="113"/>
                  </a:lnTo>
                  <a:lnTo>
                    <a:pt x="603" y="139"/>
                  </a:lnTo>
                  <a:lnTo>
                    <a:pt x="547" y="168"/>
                  </a:lnTo>
                  <a:lnTo>
                    <a:pt x="493" y="199"/>
                  </a:lnTo>
                  <a:lnTo>
                    <a:pt x="443" y="232"/>
                  </a:lnTo>
                  <a:lnTo>
                    <a:pt x="395" y="269"/>
                  </a:lnTo>
                  <a:lnTo>
                    <a:pt x="351" y="307"/>
                  </a:lnTo>
                  <a:lnTo>
                    <a:pt x="308" y="349"/>
                  </a:lnTo>
                  <a:lnTo>
                    <a:pt x="270" y="392"/>
                  </a:lnTo>
                  <a:lnTo>
                    <a:pt x="233" y="439"/>
                  </a:lnTo>
                  <a:lnTo>
                    <a:pt x="199" y="486"/>
                  </a:lnTo>
                  <a:lnTo>
                    <a:pt x="169" y="538"/>
                  </a:lnTo>
                  <a:lnTo>
                    <a:pt x="141" y="591"/>
                  </a:lnTo>
                  <a:lnTo>
                    <a:pt x="115" y="646"/>
                  </a:lnTo>
                  <a:lnTo>
                    <a:pt x="92" y="703"/>
                  </a:lnTo>
                  <a:lnTo>
                    <a:pt x="72" y="763"/>
                  </a:lnTo>
                  <a:lnTo>
                    <a:pt x="55" y="825"/>
                  </a:lnTo>
                  <a:lnTo>
                    <a:pt x="40" y="889"/>
                  </a:lnTo>
                  <a:lnTo>
                    <a:pt x="26" y="955"/>
                  </a:lnTo>
                  <a:lnTo>
                    <a:pt x="16" y="1024"/>
                  </a:lnTo>
                  <a:lnTo>
                    <a:pt x="9" y="1093"/>
                  </a:lnTo>
                  <a:lnTo>
                    <a:pt x="4" y="1165"/>
                  </a:lnTo>
                  <a:lnTo>
                    <a:pt x="1" y="1240"/>
                  </a:lnTo>
                  <a:lnTo>
                    <a:pt x="0" y="1316"/>
                  </a:lnTo>
                  <a:lnTo>
                    <a:pt x="3" y="1426"/>
                  </a:lnTo>
                  <a:lnTo>
                    <a:pt x="10" y="1534"/>
                  </a:lnTo>
                  <a:lnTo>
                    <a:pt x="20" y="1638"/>
                  </a:lnTo>
                  <a:lnTo>
                    <a:pt x="34" y="1739"/>
                  </a:lnTo>
                  <a:lnTo>
                    <a:pt x="52" y="1837"/>
                  </a:lnTo>
                  <a:lnTo>
                    <a:pt x="72" y="1932"/>
                  </a:lnTo>
                  <a:lnTo>
                    <a:pt x="95" y="2025"/>
                  </a:lnTo>
                  <a:lnTo>
                    <a:pt x="121" y="2114"/>
                  </a:lnTo>
                  <a:lnTo>
                    <a:pt x="151" y="2200"/>
                  </a:lnTo>
                  <a:lnTo>
                    <a:pt x="183" y="2283"/>
                  </a:lnTo>
                  <a:lnTo>
                    <a:pt x="217" y="2362"/>
                  </a:lnTo>
                  <a:lnTo>
                    <a:pt x="255" y="2438"/>
                  </a:lnTo>
                  <a:lnTo>
                    <a:pt x="294" y="2511"/>
                  </a:lnTo>
                  <a:lnTo>
                    <a:pt x="337" y="2581"/>
                  </a:lnTo>
                  <a:lnTo>
                    <a:pt x="380" y="2647"/>
                  </a:lnTo>
                  <a:lnTo>
                    <a:pt x="426" y="2710"/>
                  </a:lnTo>
                  <a:lnTo>
                    <a:pt x="474" y="2769"/>
                  </a:lnTo>
                  <a:lnTo>
                    <a:pt x="524" y="2825"/>
                  </a:lnTo>
                  <a:lnTo>
                    <a:pt x="575" y="2877"/>
                  </a:lnTo>
                  <a:lnTo>
                    <a:pt x="628" y="2926"/>
                  </a:lnTo>
                  <a:lnTo>
                    <a:pt x="682" y="2971"/>
                  </a:lnTo>
                  <a:lnTo>
                    <a:pt x="738" y="3012"/>
                  </a:lnTo>
                  <a:lnTo>
                    <a:pt x="794" y="3050"/>
                  </a:lnTo>
                  <a:lnTo>
                    <a:pt x="852" y="3083"/>
                  </a:lnTo>
                  <a:lnTo>
                    <a:pt x="911" y="3113"/>
                  </a:lnTo>
                  <a:lnTo>
                    <a:pt x="970" y="3140"/>
                  </a:lnTo>
                  <a:lnTo>
                    <a:pt x="1031" y="3162"/>
                  </a:lnTo>
                  <a:lnTo>
                    <a:pt x="1091" y="3180"/>
                  </a:lnTo>
                  <a:lnTo>
                    <a:pt x="1153" y="3194"/>
                  </a:lnTo>
                  <a:lnTo>
                    <a:pt x="1215" y="3205"/>
                  </a:lnTo>
                  <a:lnTo>
                    <a:pt x="1276" y="3211"/>
                  </a:lnTo>
                  <a:lnTo>
                    <a:pt x="1339" y="3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" name="Freeform 15"/>
            <p:cNvSpPr>
              <a:spLocks/>
            </p:cNvSpPr>
            <p:nvPr/>
          </p:nvSpPr>
          <p:spPr bwMode="auto">
            <a:xfrm>
              <a:off x="4047" y="1722"/>
              <a:ext cx="39" cy="56"/>
            </a:xfrm>
            <a:custGeom>
              <a:avLst/>
              <a:gdLst>
                <a:gd name="T0" fmla="*/ 91 w 1688"/>
                <a:gd name="T1" fmla="*/ 2432 h 2440"/>
                <a:gd name="T2" fmla="*/ 122 w 1688"/>
                <a:gd name="T3" fmla="*/ 2439 h 2440"/>
                <a:gd name="T4" fmla="*/ 148 w 1688"/>
                <a:gd name="T5" fmla="*/ 2439 h 2440"/>
                <a:gd name="T6" fmla="*/ 171 w 1688"/>
                <a:gd name="T7" fmla="*/ 2436 h 2440"/>
                <a:gd name="T8" fmla="*/ 192 w 1688"/>
                <a:gd name="T9" fmla="*/ 2429 h 2440"/>
                <a:gd name="T10" fmla="*/ 211 w 1688"/>
                <a:gd name="T11" fmla="*/ 2418 h 2440"/>
                <a:gd name="T12" fmla="*/ 1635 w 1688"/>
                <a:gd name="T13" fmla="*/ 1329 h 2440"/>
                <a:gd name="T14" fmla="*/ 1657 w 1688"/>
                <a:gd name="T15" fmla="*/ 1306 h 2440"/>
                <a:gd name="T16" fmla="*/ 1674 w 1688"/>
                <a:gd name="T17" fmla="*/ 1280 h 2440"/>
                <a:gd name="T18" fmla="*/ 1684 w 1688"/>
                <a:gd name="T19" fmla="*/ 1251 h 2440"/>
                <a:gd name="T20" fmla="*/ 1688 w 1688"/>
                <a:gd name="T21" fmla="*/ 1219 h 2440"/>
                <a:gd name="T22" fmla="*/ 1684 w 1688"/>
                <a:gd name="T23" fmla="*/ 1188 h 2440"/>
                <a:gd name="T24" fmla="*/ 1674 w 1688"/>
                <a:gd name="T25" fmla="*/ 1159 h 2440"/>
                <a:gd name="T26" fmla="*/ 1657 w 1688"/>
                <a:gd name="T27" fmla="*/ 1132 h 2440"/>
                <a:gd name="T28" fmla="*/ 1635 w 1688"/>
                <a:gd name="T29" fmla="*/ 1110 h 2440"/>
                <a:gd name="T30" fmla="*/ 213 w 1688"/>
                <a:gd name="T31" fmla="*/ 22 h 2440"/>
                <a:gd name="T32" fmla="*/ 196 w 1688"/>
                <a:gd name="T33" fmla="*/ 13 h 2440"/>
                <a:gd name="T34" fmla="*/ 178 w 1688"/>
                <a:gd name="T35" fmla="*/ 6 h 2440"/>
                <a:gd name="T36" fmla="*/ 160 w 1688"/>
                <a:gd name="T37" fmla="*/ 2 h 2440"/>
                <a:gd name="T38" fmla="*/ 141 w 1688"/>
                <a:gd name="T39" fmla="*/ 0 h 2440"/>
                <a:gd name="T40" fmla="*/ 122 w 1688"/>
                <a:gd name="T41" fmla="*/ 1 h 2440"/>
                <a:gd name="T42" fmla="*/ 104 w 1688"/>
                <a:gd name="T43" fmla="*/ 4 h 2440"/>
                <a:gd name="T44" fmla="*/ 86 w 1688"/>
                <a:gd name="T45" fmla="*/ 10 h 2440"/>
                <a:gd name="T46" fmla="*/ 68 w 1688"/>
                <a:gd name="T47" fmla="*/ 19 h 2440"/>
                <a:gd name="T48" fmla="*/ 52 w 1688"/>
                <a:gd name="T49" fmla="*/ 29 h 2440"/>
                <a:gd name="T50" fmla="*/ 38 w 1688"/>
                <a:gd name="T51" fmla="*/ 42 h 2440"/>
                <a:gd name="T52" fmla="*/ 26 w 1688"/>
                <a:gd name="T53" fmla="*/ 57 h 2440"/>
                <a:gd name="T54" fmla="*/ 16 w 1688"/>
                <a:gd name="T55" fmla="*/ 73 h 2440"/>
                <a:gd name="T56" fmla="*/ 8 w 1688"/>
                <a:gd name="T57" fmla="*/ 90 h 2440"/>
                <a:gd name="T58" fmla="*/ 3 w 1688"/>
                <a:gd name="T59" fmla="*/ 108 h 2440"/>
                <a:gd name="T60" fmla="*/ 0 w 1688"/>
                <a:gd name="T61" fmla="*/ 127 h 2440"/>
                <a:gd name="T62" fmla="*/ 0 w 1688"/>
                <a:gd name="T63" fmla="*/ 2302 h 2440"/>
                <a:gd name="T64" fmla="*/ 1 w 1688"/>
                <a:gd name="T65" fmla="*/ 2321 h 2440"/>
                <a:gd name="T66" fmla="*/ 5 w 1688"/>
                <a:gd name="T67" fmla="*/ 2340 h 2440"/>
                <a:gd name="T68" fmla="*/ 12 w 1688"/>
                <a:gd name="T69" fmla="*/ 2358 h 2440"/>
                <a:gd name="T70" fmla="*/ 21 w 1688"/>
                <a:gd name="T71" fmla="*/ 2374 h 2440"/>
                <a:gd name="T72" fmla="*/ 32 w 1688"/>
                <a:gd name="T73" fmla="*/ 2389 h 2440"/>
                <a:gd name="T74" fmla="*/ 44 w 1688"/>
                <a:gd name="T75" fmla="*/ 2403 h 2440"/>
                <a:gd name="T76" fmla="*/ 60 w 1688"/>
                <a:gd name="T77" fmla="*/ 2416 h 2440"/>
                <a:gd name="T78" fmla="*/ 77 w 1688"/>
                <a:gd name="T79" fmla="*/ 2426 h 2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88" h="2440">
                  <a:moveTo>
                    <a:pt x="77" y="2426"/>
                  </a:moveTo>
                  <a:lnTo>
                    <a:pt x="91" y="2432"/>
                  </a:lnTo>
                  <a:lnTo>
                    <a:pt x="106" y="2436"/>
                  </a:lnTo>
                  <a:lnTo>
                    <a:pt x="122" y="2439"/>
                  </a:lnTo>
                  <a:lnTo>
                    <a:pt x="137" y="2440"/>
                  </a:lnTo>
                  <a:lnTo>
                    <a:pt x="148" y="2439"/>
                  </a:lnTo>
                  <a:lnTo>
                    <a:pt x="160" y="2438"/>
                  </a:lnTo>
                  <a:lnTo>
                    <a:pt x="171" y="2436"/>
                  </a:lnTo>
                  <a:lnTo>
                    <a:pt x="181" y="2432"/>
                  </a:lnTo>
                  <a:lnTo>
                    <a:pt x="192" y="2429"/>
                  </a:lnTo>
                  <a:lnTo>
                    <a:pt x="202" y="2424"/>
                  </a:lnTo>
                  <a:lnTo>
                    <a:pt x="211" y="2418"/>
                  </a:lnTo>
                  <a:lnTo>
                    <a:pt x="220" y="2412"/>
                  </a:lnTo>
                  <a:lnTo>
                    <a:pt x="1635" y="1329"/>
                  </a:lnTo>
                  <a:lnTo>
                    <a:pt x="1647" y="1319"/>
                  </a:lnTo>
                  <a:lnTo>
                    <a:pt x="1657" y="1306"/>
                  </a:lnTo>
                  <a:lnTo>
                    <a:pt x="1666" y="1294"/>
                  </a:lnTo>
                  <a:lnTo>
                    <a:pt x="1674" y="1280"/>
                  </a:lnTo>
                  <a:lnTo>
                    <a:pt x="1680" y="1266"/>
                  </a:lnTo>
                  <a:lnTo>
                    <a:pt x="1684" y="1251"/>
                  </a:lnTo>
                  <a:lnTo>
                    <a:pt x="1687" y="1236"/>
                  </a:lnTo>
                  <a:lnTo>
                    <a:pt x="1688" y="1219"/>
                  </a:lnTo>
                  <a:lnTo>
                    <a:pt x="1687" y="1204"/>
                  </a:lnTo>
                  <a:lnTo>
                    <a:pt x="1684" y="1188"/>
                  </a:lnTo>
                  <a:lnTo>
                    <a:pt x="1680" y="1173"/>
                  </a:lnTo>
                  <a:lnTo>
                    <a:pt x="1674" y="1159"/>
                  </a:lnTo>
                  <a:lnTo>
                    <a:pt x="1666" y="1145"/>
                  </a:lnTo>
                  <a:lnTo>
                    <a:pt x="1657" y="1132"/>
                  </a:lnTo>
                  <a:lnTo>
                    <a:pt x="1647" y="1121"/>
                  </a:lnTo>
                  <a:lnTo>
                    <a:pt x="1635" y="1110"/>
                  </a:lnTo>
                  <a:lnTo>
                    <a:pt x="220" y="28"/>
                  </a:lnTo>
                  <a:lnTo>
                    <a:pt x="213" y="22"/>
                  </a:lnTo>
                  <a:lnTo>
                    <a:pt x="204" y="17"/>
                  </a:lnTo>
                  <a:lnTo>
                    <a:pt x="196" y="13"/>
                  </a:lnTo>
                  <a:lnTo>
                    <a:pt x="187" y="9"/>
                  </a:lnTo>
                  <a:lnTo>
                    <a:pt x="178" y="6"/>
                  </a:lnTo>
                  <a:lnTo>
                    <a:pt x="169" y="4"/>
                  </a:lnTo>
                  <a:lnTo>
                    <a:pt x="160" y="2"/>
                  </a:lnTo>
                  <a:lnTo>
                    <a:pt x="150" y="1"/>
                  </a:lnTo>
                  <a:lnTo>
                    <a:pt x="141" y="0"/>
                  </a:lnTo>
                  <a:lnTo>
                    <a:pt x="131" y="0"/>
                  </a:lnTo>
                  <a:lnTo>
                    <a:pt x="122" y="1"/>
                  </a:lnTo>
                  <a:lnTo>
                    <a:pt x="113" y="2"/>
                  </a:lnTo>
                  <a:lnTo>
                    <a:pt x="104" y="4"/>
                  </a:lnTo>
                  <a:lnTo>
                    <a:pt x="95" y="7"/>
                  </a:lnTo>
                  <a:lnTo>
                    <a:pt x="86" y="10"/>
                  </a:lnTo>
                  <a:lnTo>
                    <a:pt x="77" y="14"/>
                  </a:lnTo>
                  <a:lnTo>
                    <a:pt x="68" y="19"/>
                  </a:lnTo>
                  <a:lnTo>
                    <a:pt x="60" y="24"/>
                  </a:lnTo>
                  <a:lnTo>
                    <a:pt x="52" y="29"/>
                  </a:lnTo>
                  <a:lnTo>
                    <a:pt x="44" y="35"/>
                  </a:lnTo>
                  <a:lnTo>
                    <a:pt x="38" y="42"/>
                  </a:lnTo>
                  <a:lnTo>
                    <a:pt x="31" y="49"/>
                  </a:lnTo>
                  <a:lnTo>
                    <a:pt x="26" y="57"/>
                  </a:lnTo>
                  <a:lnTo>
                    <a:pt x="21" y="65"/>
                  </a:lnTo>
                  <a:lnTo>
                    <a:pt x="16" y="73"/>
                  </a:lnTo>
                  <a:lnTo>
                    <a:pt x="12" y="82"/>
                  </a:lnTo>
                  <a:lnTo>
                    <a:pt x="8" y="90"/>
                  </a:lnTo>
                  <a:lnTo>
                    <a:pt x="5" y="99"/>
                  </a:lnTo>
                  <a:lnTo>
                    <a:pt x="3" y="108"/>
                  </a:lnTo>
                  <a:lnTo>
                    <a:pt x="1" y="118"/>
                  </a:lnTo>
                  <a:lnTo>
                    <a:pt x="0" y="127"/>
                  </a:lnTo>
                  <a:lnTo>
                    <a:pt x="0" y="138"/>
                  </a:lnTo>
                  <a:lnTo>
                    <a:pt x="0" y="2302"/>
                  </a:lnTo>
                  <a:lnTo>
                    <a:pt x="0" y="2311"/>
                  </a:lnTo>
                  <a:lnTo>
                    <a:pt x="1" y="2321"/>
                  </a:lnTo>
                  <a:lnTo>
                    <a:pt x="3" y="2331"/>
                  </a:lnTo>
                  <a:lnTo>
                    <a:pt x="5" y="2340"/>
                  </a:lnTo>
                  <a:lnTo>
                    <a:pt x="8" y="2349"/>
                  </a:lnTo>
                  <a:lnTo>
                    <a:pt x="12" y="2358"/>
                  </a:lnTo>
                  <a:lnTo>
                    <a:pt x="16" y="2366"/>
                  </a:lnTo>
                  <a:lnTo>
                    <a:pt x="21" y="2374"/>
                  </a:lnTo>
                  <a:lnTo>
                    <a:pt x="26" y="2382"/>
                  </a:lnTo>
                  <a:lnTo>
                    <a:pt x="32" y="2389"/>
                  </a:lnTo>
                  <a:lnTo>
                    <a:pt x="38" y="2396"/>
                  </a:lnTo>
                  <a:lnTo>
                    <a:pt x="44" y="2403"/>
                  </a:lnTo>
                  <a:lnTo>
                    <a:pt x="52" y="2409"/>
                  </a:lnTo>
                  <a:lnTo>
                    <a:pt x="60" y="2416"/>
                  </a:lnTo>
                  <a:lnTo>
                    <a:pt x="68" y="2421"/>
                  </a:lnTo>
                  <a:lnTo>
                    <a:pt x="77" y="24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" name="Freeform 16"/>
            <p:cNvSpPr>
              <a:spLocks noEditPoints="1"/>
            </p:cNvSpPr>
            <p:nvPr/>
          </p:nvSpPr>
          <p:spPr bwMode="auto">
            <a:xfrm>
              <a:off x="3891" y="1661"/>
              <a:ext cx="337" cy="178"/>
            </a:xfrm>
            <a:custGeom>
              <a:avLst/>
              <a:gdLst>
                <a:gd name="T0" fmla="*/ 14714 w 14866"/>
                <a:gd name="T1" fmla="*/ 7818 h 7821"/>
                <a:gd name="T2" fmla="*/ 14782 w 14866"/>
                <a:gd name="T3" fmla="*/ 7788 h 7821"/>
                <a:gd name="T4" fmla="*/ 14834 w 14866"/>
                <a:gd name="T5" fmla="*/ 7737 h 7821"/>
                <a:gd name="T6" fmla="*/ 14862 w 14866"/>
                <a:gd name="T7" fmla="*/ 7668 h 7821"/>
                <a:gd name="T8" fmla="*/ 14865 w 14866"/>
                <a:gd name="T9" fmla="*/ 172 h 7821"/>
                <a:gd name="T10" fmla="*/ 14843 w 14866"/>
                <a:gd name="T11" fmla="*/ 100 h 7821"/>
                <a:gd name="T12" fmla="*/ 14797 w 14866"/>
                <a:gd name="T13" fmla="*/ 44 h 7821"/>
                <a:gd name="T14" fmla="*/ 14732 w 14866"/>
                <a:gd name="T15" fmla="*/ 8 h 7821"/>
                <a:gd name="T16" fmla="*/ 191 w 14866"/>
                <a:gd name="T17" fmla="*/ 0 h 7821"/>
                <a:gd name="T18" fmla="*/ 116 w 14866"/>
                <a:gd name="T19" fmla="*/ 15 h 7821"/>
                <a:gd name="T20" fmla="*/ 55 w 14866"/>
                <a:gd name="T21" fmla="*/ 56 h 7821"/>
                <a:gd name="T22" fmla="*/ 15 w 14866"/>
                <a:gd name="T23" fmla="*/ 117 h 7821"/>
                <a:gd name="T24" fmla="*/ 0 w 14866"/>
                <a:gd name="T25" fmla="*/ 191 h 7821"/>
                <a:gd name="T26" fmla="*/ 8 w 14866"/>
                <a:gd name="T27" fmla="*/ 7686 h 7821"/>
                <a:gd name="T28" fmla="*/ 43 w 14866"/>
                <a:gd name="T29" fmla="*/ 7752 h 7821"/>
                <a:gd name="T30" fmla="*/ 100 w 14866"/>
                <a:gd name="T31" fmla="*/ 7798 h 7821"/>
                <a:gd name="T32" fmla="*/ 171 w 14866"/>
                <a:gd name="T33" fmla="*/ 7820 h 7821"/>
                <a:gd name="T34" fmla="*/ 7661 w 14866"/>
                <a:gd name="T35" fmla="*/ 1693 h 7821"/>
                <a:gd name="T36" fmla="*/ 8095 w 14866"/>
                <a:gd name="T37" fmla="*/ 1782 h 7821"/>
                <a:gd name="T38" fmla="*/ 8493 w 14866"/>
                <a:gd name="T39" fmla="*/ 1950 h 7821"/>
                <a:gd name="T40" fmla="*/ 8849 w 14866"/>
                <a:gd name="T41" fmla="*/ 2191 h 7821"/>
                <a:gd name="T42" fmla="*/ 9150 w 14866"/>
                <a:gd name="T43" fmla="*/ 2493 h 7821"/>
                <a:gd name="T44" fmla="*/ 9390 w 14866"/>
                <a:gd name="T45" fmla="*/ 2848 h 7821"/>
                <a:gd name="T46" fmla="*/ 9558 w 14866"/>
                <a:gd name="T47" fmla="*/ 3248 h 7821"/>
                <a:gd name="T48" fmla="*/ 9647 w 14866"/>
                <a:gd name="T49" fmla="*/ 3683 h 7821"/>
                <a:gd name="T50" fmla="*/ 9647 w 14866"/>
                <a:gd name="T51" fmla="*/ 4138 h 7821"/>
                <a:gd name="T52" fmla="*/ 9558 w 14866"/>
                <a:gd name="T53" fmla="*/ 4573 h 7821"/>
                <a:gd name="T54" fmla="*/ 9390 w 14866"/>
                <a:gd name="T55" fmla="*/ 4973 h 7821"/>
                <a:gd name="T56" fmla="*/ 9150 w 14866"/>
                <a:gd name="T57" fmla="*/ 5328 h 7821"/>
                <a:gd name="T58" fmla="*/ 8849 w 14866"/>
                <a:gd name="T59" fmla="*/ 5631 h 7821"/>
                <a:gd name="T60" fmla="*/ 8493 w 14866"/>
                <a:gd name="T61" fmla="*/ 5871 h 7821"/>
                <a:gd name="T62" fmla="*/ 8095 w 14866"/>
                <a:gd name="T63" fmla="*/ 6040 h 7821"/>
                <a:gd name="T64" fmla="*/ 7661 w 14866"/>
                <a:gd name="T65" fmla="*/ 6128 h 7821"/>
                <a:gd name="T66" fmla="*/ 7205 w 14866"/>
                <a:gd name="T67" fmla="*/ 6128 h 7821"/>
                <a:gd name="T68" fmla="*/ 6771 w 14866"/>
                <a:gd name="T69" fmla="*/ 6040 h 7821"/>
                <a:gd name="T70" fmla="*/ 6373 w 14866"/>
                <a:gd name="T71" fmla="*/ 5871 h 7821"/>
                <a:gd name="T72" fmla="*/ 6018 w 14866"/>
                <a:gd name="T73" fmla="*/ 5631 h 7821"/>
                <a:gd name="T74" fmla="*/ 5716 w 14866"/>
                <a:gd name="T75" fmla="*/ 5328 h 7821"/>
                <a:gd name="T76" fmla="*/ 5476 w 14866"/>
                <a:gd name="T77" fmla="*/ 4973 h 7821"/>
                <a:gd name="T78" fmla="*/ 5308 w 14866"/>
                <a:gd name="T79" fmla="*/ 4573 h 7821"/>
                <a:gd name="T80" fmla="*/ 5219 w 14866"/>
                <a:gd name="T81" fmla="*/ 4138 h 7821"/>
                <a:gd name="T82" fmla="*/ 5219 w 14866"/>
                <a:gd name="T83" fmla="*/ 3683 h 7821"/>
                <a:gd name="T84" fmla="*/ 5308 w 14866"/>
                <a:gd name="T85" fmla="*/ 3248 h 7821"/>
                <a:gd name="T86" fmla="*/ 5476 w 14866"/>
                <a:gd name="T87" fmla="*/ 2848 h 7821"/>
                <a:gd name="T88" fmla="*/ 5716 w 14866"/>
                <a:gd name="T89" fmla="*/ 2493 h 7821"/>
                <a:gd name="T90" fmla="*/ 6018 w 14866"/>
                <a:gd name="T91" fmla="*/ 2191 h 7821"/>
                <a:gd name="T92" fmla="*/ 6373 w 14866"/>
                <a:gd name="T93" fmla="*/ 1950 h 7821"/>
                <a:gd name="T94" fmla="*/ 6771 w 14866"/>
                <a:gd name="T95" fmla="*/ 1782 h 7821"/>
                <a:gd name="T96" fmla="*/ 7205 w 14866"/>
                <a:gd name="T97" fmla="*/ 1693 h 7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66" h="7821">
                  <a:moveTo>
                    <a:pt x="191" y="7821"/>
                  </a:moveTo>
                  <a:lnTo>
                    <a:pt x="14675" y="7821"/>
                  </a:lnTo>
                  <a:lnTo>
                    <a:pt x="14695" y="7820"/>
                  </a:lnTo>
                  <a:lnTo>
                    <a:pt x="14714" y="7818"/>
                  </a:lnTo>
                  <a:lnTo>
                    <a:pt x="14732" y="7813"/>
                  </a:lnTo>
                  <a:lnTo>
                    <a:pt x="14750" y="7807"/>
                  </a:lnTo>
                  <a:lnTo>
                    <a:pt x="14766" y="7798"/>
                  </a:lnTo>
                  <a:lnTo>
                    <a:pt x="14782" y="7788"/>
                  </a:lnTo>
                  <a:lnTo>
                    <a:pt x="14797" y="7777"/>
                  </a:lnTo>
                  <a:lnTo>
                    <a:pt x="14811" y="7765"/>
                  </a:lnTo>
                  <a:lnTo>
                    <a:pt x="14823" y="7752"/>
                  </a:lnTo>
                  <a:lnTo>
                    <a:pt x="14834" y="7737"/>
                  </a:lnTo>
                  <a:lnTo>
                    <a:pt x="14843" y="7721"/>
                  </a:lnTo>
                  <a:lnTo>
                    <a:pt x="14851" y="7704"/>
                  </a:lnTo>
                  <a:lnTo>
                    <a:pt x="14858" y="7686"/>
                  </a:lnTo>
                  <a:lnTo>
                    <a:pt x="14862" y="7668"/>
                  </a:lnTo>
                  <a:lnTo>
                    <a:pt x="14865" y="7650"/>
                  </a:lnTo>
                  <a:lnTo>
                    <a:pt x="14866" y="7629"/>
                  </a:lnTo>
                  <a:lnTo>
                    <a:pt x="14866" y="191"/>
                  </a:lnTo>
                  <a:lnTo>
                    <a:pt x="14865" y="172"/>
                  </a:lnTo>
                  <a:lnTo>
                    <a:pt x="14862" y="153"/>
                  </a:lnTo>
                  <a:lnTo>
                    <a:pt x="14858" y="135"/>
                  </a:lnTo>
                  <a:lnTo>
                    <a:pt x="14851" y="117"/>
                  </a:lnTo>
                  <a:lnTo>
                    <a:pt x="14843" y="100"/>
                  </a:lnTo>
                  <a:lnTo>
                    <a:pt x="14834" y="84"/>
                  </a:lnTo>
                  <a:lnTo>
                    <a:pt x="14823" y="70"/>
                  </a:lnTo>
                  <a:lnTo>
                    <a:pt x="14811" y="56"/>
                  </a:lnTo>
                  <a:lnTo>
                    <a:pt x="14797" y="44"/>
                  </a:lnTo>
                  <a:lnTo>
                    <a:pt x="14782" y="32"/>
                  </a:lnTo>
                  <a:lnTo>
                    <a:pt x="14766" y="23"/>
                  </a:lnTo>
                  <a:lnTo>
                    <a:pt x="14750" y="15"/>
                  </a:lnTo>
                  <a:lnTo>
                    <a:pt x="14732" y="8"/>
                  </a:lnTo>
                  <a:lnTo>
                    <a:pt x="14714" y="4"/>
                  </a:lnTo>
                  <a:lnTo>
                    <a:pt x="14695" y="1"/>
                  </a:lnTo>
                  <a:lnTo>
                    <a:pt x="14675" y="0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4"/>
                  </a:lnTo>
                  <a:lnTo>
                    <a:pt x="134" y="8"/>
                  </a:lnTo>
                  <a:lnTo>
                    <a:pt x="116" y="15"/>
                  </a:lnTo>
                  <a:lnTo>
                    <a:pt x="100" y="23"/>
                  </a:lnTo>
                  <a:lnTo>
                    <a:pt x="84" y="32"/>
                  </a:lnTo>
                  <a:lnTo>
                    <a:pt x="69" y="44"/>
                  </a:lnTo>
                  <a:lnTo>
                    <a:pt x="55" y="56"/>
                  </a:lnTo>
                  <a:lnTo>
                    <a:pt x="43" y="70"/>
                  </a:lnTo>
                  <a:lnTo>
                    <a:pt x="32" y="84"/>
                  </a:lnTo>
                  <a:lnTo>
                    <a:pt x="23" y="100"/>
                  </a:lnTo>
                  <a:lnTo>
                    <a:pt x="15" y="117"/>
                  </a:lnTo>
                  <a:lnTo>
                    <a:pt x="8" y="135"/>
                  </a:lnTo>
                  <a:lnTo>
                    <a:pt x="3" y="153"/>
                  </a:lnTo>
                  <a:lnTo>
                    <a:pt x="1" y="172"/>
                  </a:lnTo>
                  <a:lnTo>
                    <a:pt x="0" y="191"/>
                  </a:lnTo>
                  <a:lnTo>
                    <a:pt x="0" y="7629"/>
                  </a:lnTo>
                  <a:lnTo>
                    <a:pt x="1" y="7650"/>
                  </a:lnTo>
                  <a:lnTo>
                    <a:pt x="3" y="7668"/>
                  </a:lnTo>
                  <a:lnTo>
                    <a:pt x="8" y="7686"/>
                  </a:lnTo>
                  <a:lnTo>
                    <a:pt x="15" y="7704"/>
                  </a:lnTo>
                  <a:lnTo>
                    <a:pt x="23" y="7721"/>
                  </a:lnTo>
                  <a:lnTo>
                    <a:pt x="32" y="7737"/>
                  </a:lnTo>
                  <a:lnTo>
                    <a:pt x="43" y="7752"/>
                  </a:lnTo>
                  <a:lnTo>
                    <a:pt x="55" y="7765"/>
                  </a:lnTo>
                  <a:lnTo>
                    <a:pt x="69" y="7777"/>
                  </a:lnTo>
                  <a:lnTo>
                    <a:pt x="84" y="7788"/>
                  </a:lnTo>
                  <a:lnTo>
                    <a:pt x="100" y="7798"/>
                  </a:lnTo>
                  <a:lnTo>
                    <a:pt x="116" y="7807"/>
                  </a:lnTo>
                  <a:lnTo>
                    <a:pt x="134" y="7813"/>
                  </a:lnTo>
                  <a:lnTo>
                    <a:pt x="152" y="7818"/>
                  </a:lnTo>
                  <a:lnTo>
                    <a:pt x="171" y="7820"/>
                  </a:lnTo>
                  <a:lnTo>
                    <a:pt x="191" y="7821"/>
                  </a:lnTo>
                  <a:close/>
                  <a:moveTo>
                    <a:pt x="7434" y="1682"/>
                  </a:moveTo>
                  <a:lnTo>
                    <a:pt x="7548" y="1685"/>
                  </a:lnTo>
                  <a:lnTo>
                    <a:pt x="7661" y="1693"/>
                  </a:lnTo>
                  <a:lnTo>
                    <a:pt x="7772" y="1707"/>
                  </a:lnTo>
                  <a:lnTo>
                    <a:pt x="7881" y="1726"/>
                  </a:lnTo>
                  <a:lnTo>
                    <a:pt x="7989" y="1752"/>
                  </a:lnTo>
                  <a:lnTo>
                    <a:pt x="8095" y="1782"/>
                  </a:lnTo>
                  <a:lnTo>
                    <a:pt x="8198" y="1817"/>
                  </a:lnTo>
                  <a:lnTo>
                    <a:pt x="8299" y="1857"/>
                  </a:lnTo>
                  <a:lnTo>
                    <a:pt x="8397" y="1902"/>
                  </a:lnTo>
                  <a:lnTo>
                    <a:pt x="8493" y="1950"/>
                  </a:lnTo>
                  <a:lnTo>
                    <a:pt x="8587" y="2005"/>
                  </a:lnTo>
                  <a:lnTo>
                    <a:pt x="8677" y="2062"/>
                  </a:lnTo>
                  <a:lnTo>
                    <a:pt x="8764" y="2124"/>
                  </a:lnTo>
                  <a:lnTo>
                    <a:pt x="8849" y="2191"/>
                  </a:lnTo>
                  <a:lnTo>
                    <a:pt x="8929" y="2261"/>
                  </a:lnTo>
                  <a:lnTo>
                    <a:pt x="9007" y="2335"/>
                  </a:lnTo>
                  <a:lnTo>
                    <a:pt x="9081" y="2412"/>
                  </a:lnTo>
                  <a:lnTo>
                    <a:pt x="9150" y="2493"/>
                  </a:lnTo>
                  <a:lnTo>
                    <a:pt x="9216" y="2577"/>
                  </a:lnTo>
                  <a:lnTo>
                    <a:pt x="9279" y="2665"/>
                  </a:lnTo>
                  <a:lnTo>
                    <a:pt x="9336" y="2755"/>
                  </a:lnTo>
                  <a:lnTo>
                    <a:pt x="9390" y="2848"/>
                  </a:lnTo>
                  <a:lnTo>
                    <a:pt x="9439" y="2944"/>
                  </a:lnTo>
                  <a:lnTo>
                    <a:pt x="9484" y="3043"/>
                  </a:lnTo>
                  <a:lnTo>
                    <a:pt x="9523" y="3144"/>
                  </a:lnTo>
                  <a:lnTo>
                    <a:pt x="9558" y="3248"/>
                  </a:lnTo>
                  <a:lnTo>
                    <a:pt x="9589" y="3354"/>
                  </a:lnTo>
                  <a:lnTo>
                    <a:pt x="9613" y="3461"/>
                  </a:lnTo>
                  <a:lnTo>
                    <a:pt x="9633" y="3571"/>
                  </a:lnTo>
                  <a:lnTo>
                    <a:pt x="9647" y="3683"/>
                  </a:lnTo>
                  <a:lnTo>
                    <a:pt x="9655" y="3796"/>
                  </a:lnTo>
                  <a:lnTo>
                    <a:pt x="9658" y="3910"/>
                  </a:lnTo>
                  <a:lnTo>
                    <a:pt x="9655" y="4026"/>
                  </a:lnTo>
                  <a:lnTo>
                    <a:pt x="9647" y="4138"/>
                  </a:lnTo>
                  <a:lnTo>
                    <a:pt x="9633" y="4250"/>
                  </a:lnTo>
                  <a:lnTo>
                    <a:pt x="9613" y="4360"/>
                  </a:lnTo>
                  <a:lnTo>
                    <a:pt x="9589" y="4468"/>
                  </a:lnTo>
                  <a:lnTo>
                    <a:pt x="9558" y="4573"/>
                  </a:lnTo>
                  <a:lnTo>
                    <a:pt x="9523" y="4677"/>
                  </a:lnTo>
                  <a:lnTo>
                    <a:pt x="9484" y="4779"/>
                  </a:lnTo>
                  <a:lnTo>
                    <a:pt x="9439" y="4877"/>
                  </a:lnTo>
                  <a:lnTo>
                    <a:pt x="9390" y="4973"/>
                  </a:lnTo>
                  <a:lnTo>
                    <a:pt x="9336" y="5066"/>
                  </a:lnTo>
                  <a:lnTo>
                    <a:pt x="9279" y="5157"/>
                  </a:lnTo>
                  <a:lnTo>
                    <a:pt x="9216" y="5244"/>
                  </a:lnTo>
                  <a:lnTo>
                    <a:pt x="9150" y="5328"/>
                  </a:lnTo>
                  <a:lnTo>
                    <a:pt x="9081" y="5409"/>
                  </a:lnTo>
                  <a:lnTo>
                    <a:pt x="9007" y="5487"/>
                  </a:lnTo>
                  <a:lnTo>
                    <a:pt x="8929" y="5561"/>
                  </a:lnTo>
                  <a:lnTo>
                    <a:pt x="8849" y="5631"/>
                  </a:lnTo>
                  <a:lnTo>
                    <a:pt x="8764" y="5697"/>
                  </a:lnTo>
                  <a:lnTo>
                    <a:pt x="8677" y="5759"/>
                  </a:lnTo>
                  <a:lnTo>
                    <a:pt x="8587" y="5817"/>
                  </a:lnTo>
                  <a:lnTo>
                    <a:pt x="8493" y="5871"/>
                  </a:lnTo>
                  <a:lnTo>
                    <a:pt x="8397" y="5920"/>
                  </a:lnTo>
                  <a:lnTo>
                    <a:pt x="8299" y="5965"/>
                  </a:lnTo>
                  <a:lnTo>
                    <a:pt x="8198" y="6004"/>
                  </a:lnTo>
                  <a:lnTo>
                    <a:pt x="8095" y="6040"/>
                  </a:lnTo>
                  <a:lnTo>
                    <a:pt x="7989" y="6069"/>
                  </a:lnTo>
                  <a:lnTo>
                    <a:pt x="7881" y="6094"/>
                  </a:lnTo>
                  <a:lnTo>
                    <a:pt x="7772" y="6113"/>
                  </a:lnTo>
                  <a:lnTo>
                    <a:pt x="7661" y="6128"/>
                  </a:lnTo>
                  <a:lnTo>
                    <a:pt x="7548" y="6137"/>
                  </a:lnTo>
                  <a:lnTo>
                    <a:pt x="7434" y="6140"/>
                  </a:lnTo>
                  <a:lnTo>
                    <a:pt x="7318" y="6137"/>
                  </a:lnTo>
                  <a:lnTo>
                    <a:pt x="7205" y="6128"/>
                  </a:lnTo>
                  <a:lnTo>
                    <a:pt x="7094" y="6113"/>
                  </a:lnTo>
                  <a:lnTo>
                    <a:pt x="6985" y="6094"/>
                  </a:lnTo>
                  <a:lnTo>
                    <a:pt x="6877" y="6069"/>
                  </a:lnTo>
                  <a:lnTo>
                    <a:pt x="6771" y="6040"/>
                  </a:lnTo>
                  <a:lnTo>
                    <a:pt x="6668" y="6004"/>
                  </a:lnTo>
                  <a:lnTo>
                    <a:pt x="6567" y="5965"/>
                  </a:lnTo>
                  <a:lnTo>
                    <a:pt x="6469" y="5920"/>
                  </a:lnTo>
                  <a:lnTo>
                    <a:pt x="6373" y="5871"/>
                  </a:lnTo>
                  <a:lnTo>
                    <a:pt x="6279" y="5817"/>
                  </a:lnTo>
                  <a:lnTo>
                    <a:pt x="6189" y="5759"/>
                  </a:lnTo>
                  <a:lnTo>
                    <a:pt x="6102" y="5697"/>
                  </a:lnTo>
                  <a:lnTo>
                    <a:pt x="6018" y="5631"/>
                  </a:lnTo>
                  <a:lnTo>
                    <a:pt x="5937" y="5561"/>
                  </a:lnTo>
                  <a:lnTo>
                    <a:pt x="5859" y="5487"/>
                  </a:lnTo>
                  <a:lnTo>
                    <a:pt x="5785" y="5409"/>
                  </a:lnTo>
                  <a:lnTo>
                    <a:pt x="5716" y="5328"/>
                  </a:lnTo>
                  <a:lnTo>
                    <a:pt x="5650" y="5244"/>
                  </a:lnTo>
                  <a:lnTo>
                    <a:pt x="5587" y="5157"/>
                  </a:lnTo>
                  <a:lnTo>
                    <a:pt x="5530" y="5066"/>
                  </a:lnTo>
                  <a:lnTo>
                    <a:pt x="5476" y="4973"/>
                  </a:lnTo>
                  <a:lnTo>
                    <a:pt x="5427" y="4877"/>
                  </a:lnTo>
                  <a:lnTo>
                    <a:pt x="5382" y="4779"/>
                  </a:lnTo>
                  <a:lnTo>
                    <a:pt x="5343" y="4677"/>
                  </a:lnTo>
                  <a:lnTo>
                    <a:pt x="5308" y="4573"/>
                  </a:lnTo>
                  <a:lnTo>
                    <a:pt x="5277" y="4468"/>
                  </a:lnTo>
                  <a:lnTo>
                    <a:pt x="5253" y="4360"/>
                  </a:lnTo>
                  <a:lnTo>
                    <a:pt x="5233" y="4250"/>
                  </a:lnTo>
                  <a:lnTo>
                    <a:pt x="5219" y="4138"/>
                  </a:lnTo>
                  <a:lnTo>
                    <a:pt x="5211" y="4026"/>
                  </a:lnTo>
                  <a:lnTo>
                    <a:pt x="5208" y="3910"/>
                  </a:lnTo>
                  <a:lnTo>
                    <a:pt x="5211" y="3796"/>
                  </a:lnTo>
                  <a:lnTo>
                    <a:pt x="5219" y="3683"/>
                  </a:lnTo>
                  <a:lnTo>
                    <a:pt x="5233" y="3571"/>
                  </a:lnTo>
                  <a:lnTo>
                    <a:pt x="5253" y="3461"/>
                  </a:lnTo>
                  <a:lnTo>
                    <a:pt x="5277" y="3354"/>
                  </a:lnTo>
                  <a:lnTo>
                    <a:pt x="5308" y="3248"/>
                  </a:lnTo>
                  <a:lnTo>
                    <a:pt x="5343" y="3144"/>
                  </a:lnTo>
                  <a:lnTo>
                    <a:pt x="5382" y="3043"/>
                  </a:lnTo>
                  <a:lnTo>
                    <a:pt x="5427" y="2944"/>
                  </a:lnTo>
                  <a:lnTo>
                    <a:pt x="5476" y="2848"/>
                  </a:lnTo>
                  <a:lnTo>
                    <a:pt x="5530" y="2755"/>
                  </a:lnTo>
                  <a:lnTo>
                    <a:pt x="5587" y="2665"/>
                  </a:lnTo>
                  <a:lnTo>
                    <a:pt x="5650" y="2577"/>
                  </a:lnTo>
                  <a:lnTo>
                    <a:pt x="5716" y="2493"/>
                  </a:lnTo>
                  <a:lnTo>
                    <a:pt x="5785" y="2412"/>
                  </a:lnTo>
                  <a:lnTo>
                    <a:pt x="5859" y="2335"/>
                  </a:lnTo>
                  <a:lnTo>
                    <a:pt x="5937" y="2261"/>
                  </a:lnTo>
                  <a:lnTo>
                    <a:pt x="6018" y="2191"/>
                  </a:lnTo>
                  <a:lnTo>
                    <a:pt x="6102" y="2124"/>
                  </a:lnTo>
                  <a:lnTo>
                    <a:pt x="6189" y="2062"/>
                  </a:lnTo>
                  <a:lnTo>
                    <a:pt x="6279" y="2005"/>
                  </a:lnTo>
                  <a:lnTo>
                    <a:pt x="6373" y="1950"/>
                  </a:lnTo>
                  <a:lnTo>
                    <a:pt x="6469" y="1902"/>
                  </a:lnTo>
                  <a:lnTo>
                    <a:pt x="6567" y="1857"/>
                  </a:lnTo>
                  <a:lnTo>
                    <a:pt x="6668" y="1817"/>
                  </a:lnTo>
                  <a:lnTo>
                    <a:pt x="6771" y="1782"/>
                  </a:lnTo>
                  <a:lnTo>
                    <a:pt x="6877" y="1752"/>
                  </a:lnTo>
                  <a:lnTo>
                    <a:pt x="6985" y="1726"/>
                  </a:lnTo>
                  <a:lnTo>
                    <a:pt x="7094" y="1707"/>
                  </a:lnTo>
                  <a:lnTo>
                    <a:pt x="7205" y="1693"/>
                  </a:lnTo>
                  <a:lnTo>
                    <a:pt x="7318" y="1685"/>
                  </a:lnTo>
                  <a:lnTo>
                    <a:pt x="7434" y="16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62092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Объект 3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9731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Picture 6" descr="\\gazprom-neft.local\dfs\Газпром нефть\Папки пользователей\Личные папки\Biryulin.DL\My Documents\My Pictures\Клиентский день_2016_РЗБМ\2016-03-24 ╨У╨░╨╖╨┐╤А╨╛╨╝_╨Э╨╡╤Д╤В╨╡╨┐╤А╨╛╨┤╤Г╨║╤В_╨С╨╕╤В╤Г╨╝╨╜╤Л╨╕╠Ж╨Ч╨░╨▓╨╛╨┤-88.jpg"/>
          <p:cNvPicPr>
            <a:picLocks noGrp="1" noChangeAspect="1" noChangeArrowheads="1"/>
          </p:cNvPicPr>
          <p:nvPr>
            <p:ph sz="quarter" idx="4294967295"/>
            <p:custDataLst>
              <p:tags r:id="rId3"/>
            </p:custDataLst>
          </p:nvPr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72" b="1982"/>
          <a:stretch/>
        </p:blipFill>
        <p:spPr bwMode="auto">
          <a:xfrm>
            <a:off x="4716463" y="1683678"/>
            <a:ext cx="4140200" cy="199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" descr="\\gazprom-neft.local\dfs\Газпром нефть\Папки пользователей\Личные папки\Biryulin.DL\My Documents\My Pictures\highway_construction.jpg"/>
          <p:cNvPicPr>
            <a:picLocks noGrp="1" noChangeAspect="1" noChangeArrowheads="1"/>
          </p:cNvPicPr>
          <p:nvPr>
            <p:ph sz="quarter" idx="16"/>
            <p:custDataLst>
              <p:tags r:id="rId4"/>
            </p:custDataLst>
          </p:nvPr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496" b="2794"/>
          <a:stretch/>
        </p:blipFill>
        <p:spPr bwMode="auto">
          <a:xfrm>
            <a:off x="287338" y="1683678"/>
            <a:ext cx="4176712" cy="1997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88000" y="260350"/>
            <a:ext cx="8568000" cy="608400"/>
          </a:xfrm>
        </p:spPr>
        <p:txBody>
          <a:bodyPr/>
          <a:lstStyle/>
          <a:p>
            <a:r>
              <a:rPr lang="ru-RU" dirty="0" smtClean="0"/>
              <a:t>Компании ведут активную работу по всем направлениям взаимодействия</a:t>
            </a:r>
            <a:endParaRPr lang="ru-RU" dirty="0"/>
          </a:p>
        </p:txBody>
      </p:sp>
      <p:pic>
        <p:nvPicPr>
          <p:cNvPr id="10" name="Picture 2" descr="R:\Газпромнефть-Битумные материалы\Общие документы\БИТУМ И ПБВ. Актуальные вопросы 2016\2016.04.07-08_Битум и ПБВ 2016\IMG_3626.jpg"/>
          <p:cNvPicPr>
            <a:picLocks noGrp="1" noChangeAspect="1" noChangeArrowheads="1"/>
          </p:cNvPicPr>
          <p:nvPr>
            <p:ph sz="quarter" idx="17"/>
            <p:custDataLst>
              <p:tags r:id="rId6"/>
            </p:custDataLst>
          </p:nvPr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03" t="14363" r="77" b="21499"/>
          <a:stretch/>
        </p:blipFill>
        <p:spPr bwMode="auto">
          <a:xfrm>
            <a:off x="4716463" y="4349412"/>
            <a:ext cx="4129505" cy="199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konference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4715842" y="3817925"/>
            <a:ext cx="504230" cy="511175"/>
            <a:chOff x="3878" y="1661"/>
            <a:chExt cx="363" cy="368"/>
          </a:xfrm>
          <a:solidFill>
            <a:schemeClr val="tx2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auto">
            <a:xfrm>
              <a:off x="3878" y="1919"/>
              <a:ext cx="93" cy="64"/>
            </a:xfrm>
            <a:custGeom>
              <a:avLst/>
              <a:gdLst>
                <a:gd name="T0" fmla="*/ 2927 w 4110"/>
                <a:gd name="T1" fmla="*/ 2764 h 2799"/>
                <a:gd name="T2" fmla="*/ 2963 w 4110"/>
                <a:gd name="T3" fmla="*/ 2699 h 2799"/>
                <a:gd name="T4" fmla="*/ 3003 w 4110"/>
                <a:gd name="T5" fmla="*/ 2637 h 2799"/>
                <a:gd name="T6" fmla="*/ 3051 w 4110"/>
                <a:gd name="T7" fmla="*/ 2578 h 2799"/>
                <a:gd name="T8" fmla="*/ 3105 w 4110"/>
                <a:gd name="T9" fmla="*/ 2525 h 2799"/>
                <a:gd name="T10" fmla="*/ 3165 w 4110"/>
                <a:gd name="T11" fmla="*/ 2475 h 2799"/>
                <a:gd name="T12" fmla="*/ 3231 w 4110"/>
                <a:gd name="T13" fmla="*/ 2430 h 2799"/>
                <a:gd name="T14" fmla="*/ 3304 w 4110"/>
                <a:gd name="T15" fmla="*/ 2389 h 2799"/>
                <a:gd name="T16" fmla="*/ 3383 w 4110"/>
                <a:gd name="T17" fmla="*/ 2353 h 2799"/>
                <a:gd name="T18" fmla="*/ 4110 w 4110"/>
                <a:gd name="T19" fmla="*/ 2003 h 2799"/>
                <a:gd name="T20" fmla="*/ 4072 w 4110"/>
                <a:gd name="T21" fmla="*/ 1957 h 2799"/>
                <a:gd name="T22" fmla="*/ 4034 w 4110"/>
                <a:gd name="T23" fmla="*/ 1909 h 2799"/>
                <a:gd name="T24" fmla="*/ 3977 w 4110"/>
                <a:gd name="T25" fmla="*/ 1831 h 2799"/>
                <a:gd name="T26" fmla="*/ 3924 w 4110"/>
                <a:gd name="T27" fmla="*/ 1750 h 2799"/>
                <a:gd name="T28" fmla="*/ 3873 w 4110"/>
                <a:gd name="T29" fmla="*/ 1666 h 2799"/>
                <a:gd name="T30" fmla="*/ 3826 w 4110"/>
                <a:gd name="T31" fmla="*/ 1580 h 2799"/>
                <a:gd name="T32" fmla="*/ 3782 w 4110"/>
                <a:gd name="T33" fmla="*/ 1490 h 2799"/>
                <a:gd name="T34" fmla="*/ 3743 w 4110"/>
                <a:gd name="T35" fmla="*/ 1398 h 2799"/>
                <a:gd name="T36" fmla="*/ 3705 w 4110"/>
                <a:gd name="T37" fmla="*/ 1303 h 2799"/>
                <a:gd name="T38" fmla="*/ 3673 w 4110"/>
                <a:gd name="T39" fmla="*/ 1206 h 2799"/>
                <a:gd name="T40" fmla="*/ 3643 w 4110"/>
                <a:gd name="T41" fmla="*/ 1106 h 2799"/>
                <a:gd name="T42" fmla="*/ 3616 w 4110"/>
                <a:gd name="T43" fmla="*/ 1004 h 2799"/>
                <a:gd name="T44" fmla="*/ 3594 w 4110"/>
                <a:gd name="T45" fmla="*/ 899 h 2799"/>
                <a:gd name="T46" fmla="*/ 3575 w 4110"/>
                <a:gd name="T47" fmla="*/ 792 h 2799"/>
                <a:gd name="T48" fmla="*/ 3560 w 4110"/>
                <a:gd name="T49" fmla="*/ 684 h 2799"/>
                <a:gd name="T50" fmla="*/ 3548 w 4110"/>
                <a:gd name="T51" fmla="*/ 572 h 2799"/>
                <a:gd name="T52" fmla="*/ 3540 w 4110"/>
                <a:gd name="T53" fmla="*/ 460 h 2799"/>
                <a:gd name="T54" fmla="*/ 3536 w 4110"/>
                <a:gd name="T55" fmla="*/ 345 h 2799"/>
                <a:gd name="T56" fmla="*/ 3083 w 4110"/>
                <a:gd name="T57" fmla="*/ 0 h 2799"/>
                <a:gd name="T58" fmla="*/ 2443 w 4110"/>
                <a:gd name="T59" fmla="*/ 570 h 2799"/>
                <a:gd name="T60" fmla="*/ 1514 w 4110"/>
                <a:gd name="T61" fmla="*/ 301 h 2799"/>
                <a:gd name="T62" fmla="*/ 751 w 4110"/>
                <a:gd name="T63" fmla="*/ 652 h 2799"/>
                <a:gd name="T64" fmla="*/ 710 w 4110"/>
                <a:gd name="T65" fmla="*/ 672 h 2799"/>
                <a:gd name="T66" fmla="*/ 671 w 4110"/>
                <a:gd name="T67" fmla="*/ 694 h 2799"/>
                <a:gd name="T68" fmla="*/ 634 w 4110"/>
                <a:gd name="T69" fmla="*/ 718 h 2799"/>
                <a:gd name="T70" fmla="*/ 597 w 4110"/>
                <a:gd name="T71" fmla="*/ 746 h 2799"/>
                <a:gd name="T72" fmla="*/ 565 w 4110"/>
                <a:gd name="T73" fmla="*/ 779 h 2799"/>
                <a:gd name="T74" fmla="*/ 536 w 4110"/>
                <a:gd name="T75" fmla="*/ 814 h 2799"/>
                <a:gd name="T76" fmla="*/ 510 w 4110"/>
                <a:gd name="T77" fmla="*/ 855 h 2799"/>
                <a:gd name="T78" fmla="*/ 490 w 4110"/>
                <a:gd name="T79" fmla="*/ 897 h 2799"/>
                <a:gd name="T80" fmla="*/ 427 w 4110"/>
                <a:gd name="T81" fmla="*/ 1053 h 2799"/>
                <a:gd name="T82" fmla="*/ 354 w 4110"/>
                <a:gd name="T83" fmla="*/ 1246 h 2799"/>
                <a:gd name="T84" fmla="*/ 296 w 4110"/>
                <a:gd name="T85" fmla="*/ 1401 h 2799"/>
                <a:gd name="T86" fmla="*/ 237 w 4110"/>
                <a:gd name="T87" fmla="*/ 1570 h 2799"/>
                <a:gd name="T88" fmla="*/ 179 w 4110"/>
                <a:gd name="T89" fmla="*/ 1747 h 2799"/>
                <a:gd name="T90" fmla="*/ 123 w 4110"/>
                <a:gd name="T91" fmla="*/ 1927 h 2799"/>
                <a:gd name="T92" fmla="*/ 76 w 4110"/>
                <a:gd name="T93" fmla="*/ 2105 h 2799"/>
                <a:gd name="T94" fmla="*/ 36 w 4110"/>
                <a:gd name="T95" fmla="*/ 2274 h 2799"/>
                <a:gd name="T96" fmla="*/ 10 w 4110"/>
                <a:gd name="T97" fmla="*/ 2428 h 2799"/>
                <a:gd name="T98" fmla="*/ 0 w 4110"/>
                <a:gd name="T99" fmla="*/ 2563 h 2799"/>
                <a:gd name="T100" fmla="*/ 8 w 4110"/>
                <a:gd name="T101" fmla="*/ 2673 h 2799"/>
                <a:gd name="T102" fmla="*/ 38 w 4110"/>
                <a:gd name="T103" fmla="*/ 2751 h 2799"/>
                <a:gd name="T104" fmla="*/ 93 w 4110"/>
                <a:gd name="T105" fmla="*/ 2794 h 2799"/>
                <a:gd name="T106" fmla="*/ 2913 w 4110"/>
                <a:gd name="T107" fmla="*/ 2799 h 2799"/>
                <a:gd name="T108" fmla="*/ 2922 w 4110"/>
                <a:gd name="T109" fmla="*/ 2777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110" h="2799">
                  <a:moveTo>
                    <a:pt x="2922" y="2777"/>
                  </a:moveTo>
                  <a:lnTo>
                    <a:pt x="2927" y="2764"/>
                  </a:lnTo>
                  <a:lnTo>
                    <a:pt x="2944" y="2731"/>
                  </a:lnTo>
                  <a:lnTo>
                    <a:pt x="2963" y="2699"/>
                  </a:lnTo>
                  <a:lnTo>
                    <a:pt x="2982" y="2667"/>
                  </a:lnTo>
                  <a:lnTo>
                    <a:pt x="3003" y="2637"/>
                  </a:lnTo>
                  <a:lnTo>
                    <a:pt x="3026" y="2607"/>
                  </a:lnTo>
                  <a:lnTo>
                    <a:pt x="3051" y="2578"/>
                  </a:lnTo>
                  <a:lnTo>
                    <a:pt x="3077" y="2551"/>
                  </a:lnTo>
                  <a:lnTo>
                    <a:pt x="3105" y="2525"/>
                  </a:lnTo>
                  <a:lnTo>
                    <a:pt x="3134" y="2499"/>
                  </a:lnTo>
                  <a:lnTo>
                    <a:pt x="3165" y="2475"/>
                  </a:lnTo>
                  <a:lnTo>
                    <a:pt x="3197" y="2453"/>
                  </a:lnTo>
                  <a:lnTo>
                    <a:pt x="3231" y="2430"/>
                  </a:lnTo>
                  <a:lnTo>
                    <a:pt x="3267" y="2409"/>
                  </a:lnTo>
                  <a:lnTo>
                    <a:pt x="3304" y="2389"/>
                  </a:lnTo>
                  <a:lnTo>
                    <a:pt x="3343" y="2371"/>
                  </a:lnTo>
                  <a:lnTo>
                    <a:pt x="3383" y="2353"/>
                  </a:lnTo>
                  <a:lnTo>
                    <a:pt x="4074" y="2034"/>
                  </a:lnTo>
                  <a:lnTo>
                    <a:pt x="4110" y="2003"/>
                  </a:lnTo>
                  <a:lnTo>
                    <a:pt x="4091" y="1980"/>
                  </a:lnTo>
                  <a:lnTo>
                    <a:pt x="4072" y="1957"/>
                  </a:lnTo>
                  <a:lnTo>
                    <a:pt x="4053" y="1934"/>
                  </a:lnTo>
                  <a:lnTo>
                    <a:pt x="4034" y="1909"/>
                  </a:lnTo>
                  <a:lnTo>
                    <a:pt x="4005" y="1871"/>
                  </a:lnTo>
                  <a:lnTo>
                    <a:pt x="3977" y="1831"/>
                  </a:lnTo>
                  <a:lnTo>
                    <a:pt x="3950" y="1791"/>
                  </a:lnTo>
                  <a:lnTo>
                    <a:pt x="3924" y="1750"/>
                  </a:lnTo>
                  <a:lnTo>
                    <a:pt x="3897" y="1709"/>
                  </a:lnTo>
                  <a:lnTo>
                    <a:pt x="3873" y="1666"/>
                  </a:lnTo>
                  <a:lnTo>
                    <a:pt x="3849" y="1624"/>
                  </a:lnTo>
                  <a:lnTo>
                    <a:pt x="3826" y="1580"/>
                  </a:lnTo>
                  <a:lnTo>
                    <a:pt x="3804" y="1536"/>
                  </a:lnTo>
                  <a:lnTo>
                    <a:pt x="3782" y="1490"/>
                  </a:lnTo>
                  <a:lnTo>
                    <a:pt x="3762" y="1445"/>
                  </a:lnTo>
                  <a:lnTo>
                    <a:pt x="3743" y="1398"/>
                  </a:lnTo>
                  <a:lnTo>
                    <a:pt x="3723" y="1351"/>
                  </a:lnTo>
                  <a:lnTo>
                    <a:pt x="3705" y="1303"/>
                  </a:lnTo>
                  <a:lnTo>
                    <a:pt x="3689" y="1254"/>
                  </a:lnTo>
                  <a:lnTo>
                    <a:pt x="3673" y="1206"/>
                  </a:lnTo>
                  <a:lnTo>
                    <a:pt x="3657" y="1156"/>
                  </a:lnTo>
                  <a:lnTo>
                    <a:pt x="3643" y="1106"/>
                  </a:lnTo>
                  <a:lnTo>
                    <a:pt x="3629" y="1055"/>
                  </a:lnTo>
                  <a:lnTo>
                    <a:pt x="3616" y="1004"/>
                  </a:lnTo>
                  <a:lnTo>
                    <a:pt x="3605" y="952"/>
                  </a:lnTo>
                  <a:lnTo>
                    <a:pt x="3594" y="899"/>
                  </a:lnTo>
                  <a:lnTo>
                    <a:pt x="3584" y="846"/>
                  </a:lnTo>
                  <a:lnTo>
                    <a:pt x="3575" y="792"/>
                  </a:lnTo>
                  <a:lnTo>
                    <a:pt x="3567" y="738"/>
                  </a:lnTo>
                  <a:lnTo>
                    <a:pt x="3560" y="684"/>
                  </a:lnTo>
                  <a:lnTo>
                    <a:pt x="3553" y="628"/>
                  </a:lnTo>
                  <a:lnTo>
                    <a:pt x="3548" y="572"/>
                  </a:lnTo>
                  <a:lnTo>
                    <a:pt x="3544" y="517"/>
                  </a:lnTo>
                  <a:lnTo>
                    <a:pt x="3540" y="460"/>
                  </a:lnTo>
                  <a:lnTo>
                    <a:pt x="3537" y="402"/>
                  </a:lnTo>
                  <a:lnTo>
                    <a:pt x="3536" y="345"/>
                  </a:lnTo>
                  <a:lnTo>
                    <a:pt x="3440" y="301"/>
                  </a:lnTo>
                  <a:lnTo>
                    <a:pt x="3083" y="0"/>
                  </a:lnTo>
                  <a:lnTo>
                    <a:pt x="2510" y="570"/>
                  </a:lnTo>
                  <a:lnTo>
                    <a:pt x="2443" y="570"/>
                  </a:lnTo>
                  <a:lnTo>
                    <a:pt x="1870" y="0"/>
                  </a:lnTo>
                  <a:lnTo>
                    <a:pt x="1514" y="301"/>
                  </a:lnTo>
                  <a:lnTo>
                    <a:pt x="772" y="643"/>
                  </a:lnTo>
                  <a:lnTo>
                    <a:pt x="751" y="652"/>
                  </a:lnTo>
                  <a:lnTo>
                    <a:pt x="731" y="661"/>
                  </a:lnTo>
                  <a:lnTo>
                    <a:pt x="710" y="672"/>
                  </a:lnTo>
                  <a:lnTo>
                    <a:pt x="690" y="682"/>
                  </a:lnTo>
                  <a:lnTo>
                    <a:pt x="671" y="694"/>
                  </a:lnTo>
                  <a:lnTo>
                    <a:pt x="652" y="705"/>
                  </a:lnTo>
                  <a:lnTo>
                    <a:pt x="634" y="718"/>
                  </a:lnTo>
                  <a:lnTo>
                    <a:pt x="615" y="732"/>
                  </a:lnTo>
                  <a:lnTo>
                    <a:pt x="597" y="746"/>
                  </a:lnTo>
                  <a:lnTo>
                    <a:pt x="581" y="762"/>
                  </a:lnTo>
                  <a:lnTo>
                    <a:pt x="565" y="779"/>
                  </a:lnTo>
                  <a:lnTo>
                    <a:pt x="550" y="796"/>
                  </a:lnTo>
                  <a:lnTo>
                    <a:pt x="536" y="814"/>
                  </a:lnTo>
                  <a:lnTo>
                    <a:pt x="522" y="834"/>
                  </a:lnTo>
                  <a:lnTo>
                    <a:pt x="510" y="855"/>
                  </a:lnTo>
                  <a:lnTo>
                    <a:pt x="499" y="876"/>
                  </a:lnTo>
                  <a:lnTo>
                    <a:pt x="490" y="897"/>
                  </a:lnTo>
                  <a:lnTo>
                    <a:pt x="466" y="959"/>
                  </a:lnTo>
                  <a:lnTo>
                    <a:pt x="427" y="1053"/>
                  </a:lnTo>
                  <a:lnTo>
                    <a:pt x="380" y="1177"/>
                  </a:lnTo>
                  <a:lnTo>
                    <a:pt x="354" y="1246"/>
                  </a:lnTo>
                  <a:lnTo>
                    <a:pt x="325" y="1322"/>
                  </a:lnTo>
                  <a:lnTo>
                    <a:pt x="296" y="1401"/>
                  </a:lnTo>
                  <a:lnTo>
                    <a:pt x="267" y="1484"/>
                  </a:lnTo>
                  <a:lnTo>
                    <a:pt x="237" y="1570"/>
                  </a:lnTo>
                  <a:lnTo>
                    <a:pt x="208" y="1658"/>
                  </a:lnTo>
                  <a:lnTo>
                    <a:pt x="179" y="1747"/>
                  </a:lnTo>
                  <a:lnTo>
                    <a:pt x="151" y="1837"/>
                  </a:lnTo>
                  <a:lnTo>
                    <a:pt x="123" y="1927"/>
                  </a:lnTo>
                  <a:lnTo>
                    <a:pt x="99" y="2017"/>
                  </a:lnTo>
                  <a:lnTo>
                    <a:pt x="76" y="2105"/>
                  </a:lnTo>
                  <a:lnTo>
                    <a:pt x="55" y="2191"/>
                  </a:lnTo>
                  <a:lnTo>
                    <a:pt x="36" y="2274"/>
                  </a:lnTo>
                  <a:lnTo>
                    <a:pt x="22" y="2354"/>
                  </a:lnTo>
                  <a:lnTo>
                    <a:pt x="10" y="2428"/>
                  </a:lnTo>
                  <a:lnTo>
                    <a:pt x="3" y="2499"/>
                  </a:lnTo>
                  <a:lnTo>
                    <a:pt x="0" y="2563"/>
                  </a:lnTo>
                  <a:lnTo>
                    <a:pt x="2" y="2622"/>
                  </a:lnTo>
                  <a:lnTo>
                    <a:pt x="8" y="2673"/>
                  </a:lnTo>
                  <a:lnTo>
                    <a:pt x="20" y="2717"/>
                  </a:lnTo>
                  <a:lnTo>
                    <a:pt x="38" y="2751"/>
                  </a:lnTo>
                  <a:lnTo>
                    <a:pt x="63" y="2778"/>
                  </a:lnTo>
                  <a:lnTo>
                    <a:pt x="93" y="2794"/>
                  </a:lnTo>
                  <a:lnTo>
                    <a:pt x="130" y="2799"/>
                  </a:lnTo>
                  <a:lnTo>
                    <a:pt x="2913" y="2799"/>
                  </a:lnTo>
                  <a:lnTo>
                    <a:pt x="2919" y="2784"/>
                  </a:lnTo>
                  <a:lnTo>
                    <a:pt x="2922" y="27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904" y="1849"/>
              <a:ext cx="61" cy="73"/>
            </a:xfrm>
            <a:custGeom>
              <a:avLst/>
              <a:gdLst>
                <a:gd name="T0" fmla="*/ 9 w 2675"/>
                <a:gd name="T1" fmla="*/ 1535 h 3213"/>
                <a:gd name="T2" fmla="*/ 50 w 2675"/>
                <a:gd name="T3" fmla="*/ 1839 h 3213"/>
                <a:gd name="T4" fmla="*/ 121 w 2675"/>
                <a:gd name="T5" fmla="*/ 2115 h 3213"/>
                <a:gd name="T6" fmla="*/ 217 w 2675"/>
                <a:gd name="T7" fmla="*/ 2363 h 3213"/>
                <a:gd name="T8" fmla="*/ 335 w 2675"/>
                <a:gd name="T9" fmla="*/ 2582 h 3213"/>
                <a:gd name="T10" fmla="*/ 473 w 2675"/>
                <a:gd name="T11" fmla="*/ 2770 h 3213"/>
                <a:gd name="T12" fmla="*/ 626 w 2675"/>
                <a:gd name="T13" fmla="*/ 2927 h 3213"/>
                <a:gd name="T14" fmla="*/ 793 w 2675"/>
                <a:gd name="T15" fmla="*/ 3050 h 3213"/>
                <a:gd name="T16" fmla="*/ 969 w 2675"/>
                <a:gd name="T17" fmla="*/ 3141 h 3213"/>
                <a:gd name="T18" fmla="*/ 1152 w 2675"/>
                <a:gd name="T19" fmla="*/ 3195 h 3213"/>
                <a:gd name="T20" fmla="*/ 1338 w 2675"/>
                <a:gd name="T21" fmla="*/ 3213 h 3213"/>
                <a:gd name="T22" fmla="*/ 1501 w 2675"/>
                <a:gd name="T23" fmla="*/ 3195 h 3213"/>
                <a:gd name="T24" fmla="*/ 1670 w 2675"/>
                <a:gd name="T25" fmla="*/ 3141 h 3213"/>
                <a:gd name="T26" fmla="*/ 1840 w 2675"/>
                <a:gd name="T27" fmla="*/ 3050 h 3213"/>
                <a:gd name="T28" fmla="*/ 2006 w 2675"/>
                <a:gd name="T29" fmla="*/ 2927 h 3213"/>
                <a:gd name="T30" fmla="*/ 2164 w 2675"/>
                <a:gd name="T31" fmla="*/ 2770 h 3213"/>
                <a:gd name="T32" fmla="*/ 2309 w 2675"/>
                <a:gd name="T33" fmla="*/ 2582 h 3213"/>
                <a:gd name="T34" fmla="*/ 2436 w 2675"/>
                <a:gd name="T35" fmla="*/ 2363 h 3213"/>
                <a:gd name="T36" fmla="*/ 2541 w 2675"/>
                <a:gd name="T37" fmla="*/ 2115 h 3213"/>
                <a:gd name="T38" fmla="*/ 2619 w 2675"/>
                <a:gd name="T39" fmla="*/ 1839 h 3213"/>
                <a:gd name="T40" fmla="*/ 2665 w 2675"/>
                <a:gd name="T41" fmla="*/ 1535 h 3213"/>
                <a:gd name="T42" fmla="*/ 2675 w 2675"/>
                <a:gd name="T43" fmla="*/ 1242 h 3213"/>
                <a:gd name="T44" fmla="*/ 2660 w 2675"/>
                <a:gd name="T45" fmla="*/ 1024 h 3213"/>
                <a:gd name="T46" fmla="*/ 2622 w 2675"/>
                <a:gd name="T47" fmla="*/ 826 h 3213"/>
                <a:gd name="T48" fmla="*/ 2561 w 2675"/>
                <a:gd name="T49" fmla="*/ 647 h 3213"/>
                <a:gd name="T50" fmla="*/ 2477 w 2675"/>
                <a:gd name="T51" fmla="*/ 488 h 3213"/>
                <a:gd name="T52" fmla="*/ 2368 w 2675"/>
                <a:gd name="T53" fmla="*/ 350 h 3213"/>
                <a:gd name="T54" fmla="*/ 2233 w 2675"/>
                <a:gd name="T55" fmla="*/ 234 h 3213"/>
                <a:gd name="T56" fmla="*/ 2072 w 2675"/>
                <a:gd name="T57" fmla="*/ 140 h 3213"/>
                <a:gd name="T58" fmla="*/ 1885 w 2675"/>
                <a:gd name="T59" fmla="*/ 69 h 3213"/>
                <a:gd name="T60" fmla="*/ 1669 w 2675"/>
                <a:gd name="T61" fmla="*/ 24 h 3213"/>
                <a:gd name="T62" fmla="*/ 1425 w 2675"/>
                <a:gd name="T63" fmla="*/ 2 h 3213"/>
                <a:gd name="T64" fmla="*/ 1165 w 2675"/>
                <a:gd name="T65" fmla="*/ 6 h 3213"/>
                <a:gd name="T66" fmla="*/ 930 w 2675"/>
                <a:gd name="T67" fmla="*/ 36 h 3213"/>
                <a:gd name="T68" fmla="*/ 724 w 2675"/>
                <a:gd name="T69" fmla="*/ 90 h 3213"/>
                <a:gd name="T70" fmla="*/ 546 w 2675"/>
                <a:gd name="T71" fmla="*/ 168 h 3213"/>
                <a:gd name="T72" fmla="*/ 394 w 2675"/>
                <a:gd name="T73" fmla="*/ 271 h 3213"/>
                <a:gd name="T74" fmla="*/ 269 w 2675"/>
                <a:gd name="T75" fmla="*/ 394 h 3213"/>
                <a:gd name="T76" fmla="*/ 167 w 2675"/>
                <a:gd name="T77" fmla="*/ 539 h 3213"/>
                <a:gd name="T78" fmla="*/ 91 w 2675"/>
                <a:gd name="T79" fmla="*/ 705 h 3213"/>
                <a:gd name="T80" fmla="*/ 38 w 2675"/>
                <a:gd name="T81" fmla="*/ 890 h 3213"/>
                <a:gd name="T82" fmla="*/ 8 w 2675"/>
                <a:gd name="T83" fmla="*/ 1095 h 3213"/>
                <a:gd name="T84" fmla="*/ 0 w 2675"/>
                <a:gd name="T85" fmla="*/ 1318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5" h="3213">
                  <a:moveTo>
                    <a:pt x="0" y="1318"/>
                  </a:moveTo>
                  <a:lnTo>
                    <a:pt x="3" y="1428"/>
                  </a:lnTo>
                  <a:lnTo>
                    <a:pt x="9" y="1535"/>
                  </a:lnTo>
                  <a:lnTo>
                    <a:pt x="20" y="1639"/>
                  </a:lnTo>
                  <a:lnTo>
                    <a:pt x="33" y="1740"/>
                  </a:lnTo>
                  <a:lnTo>
                    <a:pt x="50" y="1839"/>
                  </a:lnTo>
                  <a:lnTo>
                    <a:pt x="70" y="1934"/>
                  </a:lnTo>
                  <a:lnTo>
                    <a:pt x="95" y="2026"/>
                  </a:lnTo>
                  <a:lnTo>
                    <a:pt x="121" y="2115"/>
                  </a:lnTo>
                  <a:lnTo>
                    <a:pt x="150" y="2201"/>
                  </a:lnTo>
                  <a:lnTo>
                    <a:pt x="182" y="2284"/>
                  </a:lnTo>
                  <a:lnTo>
                    <a:pt x="217" y="2363"/>
                  </a:lnTo>
                  <a:lnTo>
                    <a:pt x="253" y="2440"/>
                  </a:lnTo>
                  <a:lnTo>
                    <a:pt x="293" y="2513"/>
                  </a:lnTo>
                  <a:lnTo>
                    <a:pt x="335" y="2582"/>
                  </a:lnTo>
                  <a:lnTo>
                    <a:pt x="379" y="2649"/>
                  </a:lnTo>
                  <a:lnTo>
                    <a:pt x="425" y="2711"/>
                  </a:lnTo>
                  <a:lnTo>
                    <a:pt x="473" y="2770"/>
                  </a:lnTo>
                  <a:lnTo>
                    <a:pt x="522" y="2826"/>
                  </a:lnTo>
                  <a:lnTo>
                    <a:pt x="574" y="2878"/>
                  </a:lnTo>
                  <a:lnTo>
                    <a:pt x="626" y="2927"/>
                  </a:lnTo>
                  <a:lnTo>
                    <a:pt x="681" y="2972"/>
                  </a:lnTo>
                  <a:lnTo>
                    <a:pt x="736" y="3013"/>
                  </a:lnTo>
                  <a:lnTo>
                    <a:pt x="793" y="3050"/>
                  </a:lnTo>
                  <a:lnTo>
                    <a:pt x="851" y="3085"/>
                  </a:lnTo>
                  <a:lnTo>
                    <a:pt x="909" y="3114"/>
                  </a:lnTo>
                  <a:lnTo>
                    <a:pt x="969" y="3141"/>
                  </a:lnTo>
                  <a:lnTo>
                    <a:pt x="1029" y="3163"/>
                  </a:lnTo>
                  <a:lnTo>
                    <a:pt x="1090" y="3181"/>
                  </a:lnTo>
                  <a:lnTo>
                    <a:pt x="1152" y="3195"/>
                  </a:lnTo>
                  <a:lnTo>
                    <a:pt x="1213" y="3205"/>
                  </a:lnTo>
                  <a:lnTo>
                    <a:pt x="1276" y="3211"/>
                  </a:lnTo>
                  <a:lnTo>
                    <a:pt x="1338" y="3213"/>
                  </a:lnTo>
                  <a:lnTo>
                    <a:pt x="1391" y="3211"/>
                  </a:lnTo>
                  <a:lnTo>
                    <a:pt x="1446" y="3205"/>
                  </a:lnTo>
                  <a:lnTo>
                    <a:pt x="1501" y="3195"/>
                  </a:lnTo>
                  <a:lnTo>
                    <a:pt x="1557" y="3181"/>
                  </a:lnTo>
                  <a:lnTo>
                    <a:pt x="1613" y="3163"/>
                  </a:lnTo>
                  <a:lnTo>
                    <a:pt x="1670" y="3141"/>
                  </a:lnTo>
                  <a:lnTo>
                    <a:pt x="1727" y="3114"/>
                  </a:lnTo>
                  <a:lnTo>
                    <a:pt x="1783" y="3085"/>
                  </a:lnTo>
                  <a:lnTo>
                    <a:pt x="1840" y="3050"/>
                  </a:lnTo>
                  <a:lnTo>
                    <a:pt x="1896" y="3013"/>
                  </a:lnTo>
                  <a:lnTo>
                    <a:pt x="1952" y="2972"/>
                  </a:lnTo>
                  <a:lnTo>
                    <a:pt x="2006" y="2927"/>
                  </a:lnTo>
                  <a:lnTo>
                    <a:pt x="2060" y="2878"/>
                  </a:lnTo>
                  <a:lnTo>
                    <a:pt x="2113" y="2826"/>
                  </a:lnTo>
                  <a:lnTo>
                    <a:pt x="2164" y="2770"/>
                  </a:lnTo>
                  <a:lnTo>
                    <a:pt x="2215" y="2711"/>
                  </a:lnTo>
                  <a:lnTo>
                    <a:pt x="2262" y="2649"/>
                  </a:lnTo>
                  <a:lnTo>
                    <a:pt x="2309" y="2582"/>
                  </a:lnTo>
                  <a:lnTo>
                    <a:pt x="2353" y="2513"/>
                  </a:lnTo>
                  <a:lnTo>
                    <a:pt x="2397" y="2440"/>
                  </a:lnTo>
                  <a:lnTo>
                    <a:pt x="2436" y="2363"/>
                  </a:lnTo>
                  <a:lnTo>
                    <a:pt x="2473" y="2284"/>
                  </a:lnTo>
                  <a:lnTo>
                    <a:pt x="2509" y="2201"/>
                  </a:lnTo>
                  <a:lnTo>
                    <a:pt x="2541" y="2115"/>
                  </a:lnTo>
                  <a:lnTo>
                    <a:pt x="2570" y="2026"/>
                  </a:lnTo>
                  <a:lnTo>
                    <a:pt x="2597" y="1934"/>
                  </a:lnTo>
                  <a:lnTo>
                    <a:pt x="2619" y="1839"/>
                  </a:lnTo>
                  <a:lnTo>
                    <a:pt x="2638" y="1740"/>
                  </a:lnTo>
                  <a:lnTo>
                    <a:pt x="2653" y="1639"/>
                  </a:lnTo>
                  <a:lnTo>
                    <a:pt x="2665" y="1535"/>
                  </a:lnTo>
                  <a:lnTo>
                    <a:pt x="2672" y="1428"/>
                  </a:lnTo>
                  <a:lnTo>
                    <a:pt x="2675" y="1318"/>
                  </a:lnTo>
                  <a:lnTo>
                    <a:pt x="2675" y="1242"/>
                  </a:lnTo>
                  <a:lnTo>
                    <a:pt x="2672" y="1167"/>
                  </a:lnTo>
                  <a:lnTo>
                    <a:pt x="2667" y="1095"/>
                  </a:lnTo>
                  <a:lnTo>
                    <a:pt x="2660" y="1024"/>
                  </a:lnTo>
                  <a:lnTo>
                    <a:pt x="2650" y="957"/>
                  </a:lnTo>
                  <a:lnTo>
                    <a:pt x="2637" y="890"/>
                  </a:lnTo>
                  <a:lnTo>
                    <a:pt x="2622" y="826"/>
                  </a:lnTo>
                  <a:lnTo>
                    <a:pt x="2605" y="764"/>
                  </a:lnTo>
                  <a:lnTo>
                    <a:pt x="2584" y="705"/>
                  </a:lnTo>
                  <a:lnTo>
                    <a:pt x="2561" y="647"/>
                  </a:lnTo>
                  <a:lnTo>
                    <a:pt x="2536" y="592"/>
                  </a:lnTo>
                  <a:lnTo>
                    <a:pt x="2508" y="539"/>
                  </a:lnTo>
                  <a:lnTo>
                    <a:pt x="2477" y="488"/>
                  </a:lnTo>
                  <a:lnTo>
                    <a:pt x="2443" y="440"/>
                  </a:lnTo>
                  <a:lnTo>
                    <a:pt x="2407" y="394"/>
                  </a:lnTo>
                  <a:lnTo>
                    <a:pt x="2368" y="350"/>
                  </a:lnTo>
                  <a:lnTo>
                    <a:pt x="2326" y="309"/>
                  </a:lnTo>
                  <a:lnTo>
                    <a:pt x="2281" y="271"/>
                  </a:lnTo>
                  <a:lnTo>
                    <a:pt x="2233" y="234"/>
                  </a:lnTo>
                  <a:lnTo>
                    <a:pt x="2182" y="200"/>
                  </a:lnTo>
                  <a:lnTo>
                    <a:pt x="2129" y="168"/>
                  </a:lnTo>
                  <a:lnTo>
                    <a:pt x="2072" y="140"/>
                  </a:lnTo>
                  <a:lnTo>
                    <a:pt x="2014" y="114"/>
                  </a:lnTo>
                  <a:lnTo>
                    <a:pt x="1951" y="90"/>
                  </a:lnTo>
                  <a:lnTo>
                    <a:pt x="1885" y="69"/>
                  </a:lnTo>
                  <a:lnTo>
                    <a:pt x="1817" y="52"/>
                  </a:lnTo>
                  <a:lnTo>
                    <a:pt x="1745" y="36"/>
                  </a:lnTo>
                  <a:lnTo>
                    <a:pt x="1669" y="24"/>
                  </a:lnTo>
                  <a:lnTo>
                    <a:pt x="1591" y="13"/>
                  </a:lnTo>
                  <a:lnTo>
                    <a:pt x="1510" y="6"/>
                  </a:lnTo>
                  <a:lnTo>
                    <a:pt x="1425" y="2"/>
                  </a:lnTo>
                  <a:lnTo>
                    <a:pt x="1338" y="0"/>
                  </a:lnTo>
                  <a:lnTo>
                    <a:pt x="1250" y="2"/>
                  </a:lnTo>
                  <a:lnTo>
                    <a:pt x="1165" y="6"/>
                  </a:lnTo>
                  <a:lnTo>
                    <a:pt x="1084" y="13"/>
                  </a:lnTo>
                  <a:lnTo>
                    <a:pt x="1005" y="24"/>
                  </a:lnTo>
                  <a:lnTo>
                    <a:pt x="930" y="36"/>
                  </a:lnTo>
                  <a:lnTo>
                    <a:pt x="859" y="52"/>
                  </a:lnTo>
                  <a:lnTo>
                    <a:pt x="790" y="69"/>
                  </a:lnTo>
                  <a:lnTo>
                    <a:pt x="724" y="90"/>
                  </a:lnTo>
                  <a:lnTo>
                    <a:pt x="662" y="114"/>
                  </a:lnTo>
                  <a:lnTo>
                    <a:pt x="602" y="140"/>
                  </a:lnTo>
                  <a:lnTo>
                    <a:pt x="546" y="168"/>
                  </a:lnTo>
                  <a:lnTo>
                    <a:pt x="493" y="200"/>
                  </a:lnTo>
                  <a:lnTo>
                    <a:pt x="441" y="234"/>
                  </a:lnTo>
                  <a:lnTo>
                    <a:pt x="394" y="271"/>
                  </a:lnTo>
                  <a:lnTo>
                    <a:pt x="349" y="309"/>
                  </a:lnTo>
                  <a:lnTo>
                    <a:pt x="307" y="350"/>
                  </a:lnTo>
                  <a:lnTo>
                    <a:pt x="269" y="394"/>
                  </a:lnTo>
                  <a:lnTo>
                    <a:pt x="232" y="440"/>
                  </a:lnTo>
                  <a:lnTo>
                    <a:pt x="198" y="488"/>
                  </a:lnTo>
                  <a:lnTo>
                    <a:pt x="167" y="539"/>
                  </a:lnTo>
                  <a:lnTo>
                    <a:pt x="139" y="592"/>
                  </a:lnTo>
                  <a:lnTo>
                    <a:pt x="114" y="647"/>
                  </a:lnTo>
                  <a:lnTo>
                    <a:pt x="91" y="705"/>
                  </a:lnTo>
                  <a:lnTo>
                    <a:pt x="70" y="764"/>
                  </a:lnTo>
                  <a:lnTo>
                    <a:pt x="53" y="826"/>
                  </a:lnTo>
                  <a:lnTo>
                    <a:pt x="38" y="890"/>
                  </a:lnTo>
                  <a:lnTo>
                    <a:pt x="25" y="957"/>
                  </a:lnTo>
                  <a:lnTo>
                    <a:pt x="15" y="1024"/>
                  </a:lnTo>
                  <a:lnTo>
                    <a:pt x="8" y="1095"/>
                  </a:lnTo>
                  <a:lnTo>
                    <a:pt x="3" y="1167"/>
                  </a:lnTo>
                  <a:lnTo>
                    <a:pt x="0" y="1242"/>
                  </a:lnTo>
                  <a:lnTo>
                    <a:pt x="0" y="13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4022" y="1919"/>
              <a:ext cx="75" cy="64"/>
            </a:xfrm>
            <a:custGeom>
              <a:avLst/>
              <a:gdLst>
                <a:gd name="T0" fmla="*/ 832 w 3291"/>
                <a:gd name="T1" fmla="*/ 2391 h 2799"/>
                <a:gd name="T2" fmla="*/ 942 w 3291"/>
                <a:gd name="T3" fmla="*/ 2456 h 2799"/>
                <a:gd name="T4" fmla="*/ 1036 w 3291"/>
                <a:gd name="T5" fmla="*/ 2532 h 2799"/>
                <a:gd name="T6" fmla="*/ 1104 w 3291"/>
                <a:gd name="T7" fmla="*/ 2601 h 2799"/>
                <a:gd name="T8" fmla="*/ 1138 w 3291"/>
                <a:gd name="T9" fmla="*/ 2646 h 2799"/>
                <a:gd name="T10" fmla="*/ 1169 w 3291"/>
                <a:gd name="T11" fmla="*/ 2694 h 2799"/>
                <a:gd name="T12" fmla="*/ 1196 w 3291"/>
                <a:gd name="T13" fmla="*/ 2743 h 2799"/>
                <a:gd name="T14" fmla="*/ 1214 w 3291"/>
                <a:gd name="T15" fmla="*/ 2784 h 2799"/>
                <a:gd name="T16" fmla="*/ 2100 w 3291"/>
                <a:gd name="T17" fmla="*/ 2784 h 2799"/>
                <a:gd name="T18" fmla="*/ 2124 w 3291"/>
                <a:gd name="T19" fmla="*/ 2731 h 2799"/>
                <a:gd name="T20" fmla="*/ 2184 w 3291"/>
                <a:gd name="T21" fmla="*/ 2637 h 2799"/>
                <a:gd name="T22" fmla="*/ 2258 w 3291"/>
                <a:gd name="T23" fmla="*/ 2551 h 2799"/>
                <a:gd name="T24" fmla="*/ 2346 w 3291"/>
                <a:gd name="T25" fmla="*/ 2475 h 2799"/>
                <a:gd name="T26" fmla="*/ 2448 w 3291"/>
                <a:gd name="T27" fmla="*/ 2409 h 2799"/>
                <a:gd name="T28" fmla="*/ 2563 w 3291"/>
                <a:gd name="T29" fmla="*/ 2353 h 2799"/>
                <a:gd name="T30" fmla="*/ 3271 w 3291"/>
                <a:gd name="T31" fmla="*/ 1980 h 2799"/>
                <a:gd name="T32" fmla="*/ 3215 w 3291"/>
                <a:gd name="T33" fmla="*/ 1909 h 2799"/>
                <a:gd name="T34" fmla="*/ 3130 w 3291"/>
                <a:gd name="T35" fmla="*/ 1791 h 2799"/>
                <a:gd name="T36" fmla="*/ 3054 w 3291"/>
                <a:gd name="T37" fmla="*/ 1666 h 2799"/>
                <a:gd name="T38" fmla="*/ 2984 w 3291"/>
                <a:gd name="T39" fmla="*/ 1536 h 2799"/>
                <a:gd name="T40" fmla="*/ 2923 w 3291"/>
                <a:gd name="T41" fmla="*/ 1398 h 2799"/>
                <a:gd name="T42" fmla="*/ 2869 w 3291"/>
                <a:gd name="T43" fmla="*/ 1254 h 2799"/>
                <a:gd name="T44" fmla="*/ 2824 w 3291"/>
                <a:gd name="T45" fmla="*/ 1106 h 2799"/>
                <a:gd name="T46" fmla="*/ 2785 w 3291"/>
                <a:gd name="T47" fmla="*/ 952 h 2799"/>
                <a:gd name="T48" fmla="*/ 2756 w 3291"/>
                <a:gd name="T49" fmla="*/ 792 h 2799"/>
                <a:gd name="T50" fmla="*/ 2734 w 3291"/>
                <a:gd name="T51" fmla="*/ 628 h 2799"/>
                <a:gd name="T52" fmla="*/ 2720 w 3291"/>
                <a:gd name="T53" fmla="*/ 460 h 2799"/>
                <a:gd name="T54" fmla="*/ 2619 w 3291"/>
                <a:gd name="T55" fmla="*/ 301 h 2799"/>
                <a:gd name="T56" fmla="*/ 1624 w 3291"/>
                <a:gd name="T57" fmla="*/ 570 h 2799"/>
                <a:gd name="T58" fmla="*/ 599 w 3291"/>
                <a:gd name="T59" fmla="*/ 345 h 2799"/>
                <a:gd name="T60" fmla="*/ 589 w 3291"/>
                <a:gd name="T61" fmla="*/ 513 h 2799"/>
                <a:gd name="T62" fmla="*/ 571 w 3291"/>
                <a:gd name="T63" fmla="*/ 678 h 2799"/>
                <a:gd name="T64" fmla="*/ 545 w 3291"/>
                <a:gd name="T65" fmla="*/ 839 h 2799"/>
                <a:gd name="T66" fmla="*/ 509 w 3291"/>
                <a:gd name="T67" fmla="*/ 996 h 2799"/>
                <a:gd name="T68" fmla="*/ 465 w 3291"/>
                <a:gd name="T69" fmla="*/ 1149 h 2799"/>
                <a:gd name="T70" fmla="*/ 412 w 3291"/>
                <a:gd name="T71" fmla="*/ 1298 h 2799"/>
                <a:gd name="T72" fmla="*/ 351 w 3291"/>
                <a:gd name="T73" fmla="*/ 1442 h 2799"/>
                <a:gd name="T74" fmla="*/ 281 w 3291"/>
                <a:gd name="T75" fmla="*/ 1579 h 2799"/>
                <a:gd name="T76" fmla="*/ 204 w 3291"/>
                <a:gd name="T77" fmla="*/ 1711 h 2799"/>
                <a:gd name="T78" fmla="*/ 120 w 3291"/>
                <a:gd name="T79" fmla="*/ 1836 h 2799"/>
                <a:gd name="T80" fmla="*/ 44 w 3291"/>
                <a:gd name="T81" fmla="*/ 1934 h 2799"/>
                <a:gd name="T82" fmla="*/ 0 w 3291"/>
                <a:gd name="T83" fmla="*/ 1984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291" h="2799">
                  <a:moveTo>
                    <a:pt x="751" y="2353"/>
                  </a:moveTo>
                  <a:lnTo>
                    <a:pt x="793" y="2371"/>
                  </a:lnTo>
                  <a:lnTo>
                    <a:pt x="832" y="2391"/>
                  </a:lnTo>
                  <a:lnTo>
                    <a:pt x="870" y="2411"/>
                  </a:lnTo>
                  <a:lnTo>
                    <a:pt x="907" y="2433"/>
                  </a:lnTo>
                  <a:lnTo>
                    <a:pt x="942" y="2456"/>
                  </a:lnTo>
                  <a:lnTo>
                    <a:pt x="975" y="2480"/>
                  </a:lnTo>
                  <a:lnTo>
                    <a:pt x="1007" y="2505"/>
                  </a:lnTo>
                  <a:lnTo>
                    <a:pt x="1036" y="2532"/>
                  </a:lnTo>
                  <a:lnTo>
                    <a:pt x="1064" y="2559"/>
                  </a:lnTo>
                  <a:lnTo>
                    <a:pt x="1091" y="2586"/>
                  </a:lnTo>
                  <a:lnTo>
                    <a:pt x="1104" y="2601"/>
                  </a:lnTo>
                  <a:lnTo>
                    <a:pt x="1116" y="2616"/>
                  </a:lnTo>
                  <a:lnTo>
                    <a:pt x="1127" y="2631"/>
                  </a:lnTo>
                  <a:lnTo>
                    <a:pt x="1138" y="2646"/>
                  </a:lnTo>
                  <a:lnTo>
                    <a:pt x="1149" y="2662"/>
                  </a:lnTo>
                  <a:lnTo>
                    <a:pt x="1159" y="2677"/>
                  </a:lnTo>
                  <a:lnTo>
                    <a:pt x="1169" y="2694"/>
                  </a:lnTo>
                  <a:lnTo>
                    <a:pt x="1179" y="2710"/>
                  </a:lnTo>
                  <a:lnTo>
                    <a:pt x="1188" y="2726"/>
                  </a:lnTo>
                  <a:lnTo>
                    <a:pt x="1196" y="2743"/>
                  </a:lnTo>
                  <a:lnTo>
                    <a:pt x="1204" y="2759"/>
                  </a:lnTo>
                  <a:lnTo>
                    <a:pt x="1211" y="2777"/>
                  </a:lnTo>
                  <a:lnTo>
                    <a:pt x="1214" y="2784"/>
                  </a:lnTo>
                  <a:lnTo>
                    <a:pt x="1221" y="2799"/>
                  </a:lnTo>
                  <a:lnTo>
                    <a:pt x="2093" y="2799"/>
                  </a:lnTo>
                  <a:lnTo>
                    <a:pt x="2100" y="2784"/>
                  </a:lnTo>
                  <a:lnTo>
                    <a:pt x="2103" y="2777"/>
                  </a:lnTo>
                  <a:lnTo>
                    <a:pt x="2108" y="2764"/>
                  </a:lnTo>
                  <a:lnTo>
                    <a:pt x="2124" y="2731"/>
                  </a:lnTo>
                  <a:lnTo>
                    <a:pt x="2143" y="2699"/>
                  </a:lnTo>
                  <a:lnTo>
                    <a:pt x="2163" y="2667"/>
                  </a:lnTo>
                  <a:lnTo>
                    <a:pt x="2184" y="2637"/>
                  </a:lnTo>
                  <a:lnTo>
                    <a:pt x="2207" y="2607"/>
                  </a:lnTo>
                  <a:lnTo>
                    <a:pt x="2231" y="2578"/>
                  </a:lnTo>
                  <a:lnTo>
                    <a:pt x="2258" y="2551"/>
                  </a:lnTo>
                  <a:lnTo>
                    <a:pt x="2285" y="2525"/>
                  </a:lnTo>
                  <a:lnTo>
                    <a:pt x="2314" y="2499"/>
                  </a:lnTo>
                  <a:lnTo>
                    <a:pt x="2346" y="2475"/>
                  </a:lnTo>
                  <a:lnTo>
                    <a:pt x="2378" y="2453"/>
                  </a:lnTo>
                  <a:lnTo>
                    <a:pt x="2411" y="2430"/>
                  </a:lnTo>
                  <a:lnTo>
                    <a:pt x="2448" y="2409"/>
                  </a:lnTo>
                  <a:lnTo>
                    <a:pt x="2484" y="2389"/>
                  </a:lnTo>
                  <a:lnTo>
                    <a:pt x="2522" y="2371"/>
                  </a:lnTo>
                  <a:lnTo>
                    <a:pt x="2563" y="2353"/>
                  </a:lnTo>
                  <a:lnTo>
                    <a:pt x="3255" y="2034"/>
                  </a:lnTo>
                  <a:lnTo>
                    <a:pt x="3291" y="2003"/>
                  </a:lnTo>
                  <a:lnTo>
                    <a:pt x="3271" y="1980"/>
                  </a:lnTo>
                  <a:lnTo>
                    <a:pt x="3252" y="1957"/>
                  </a:lnTo>
                  <a:lnTo>
                    <a:pt x="3233" y="1934"/>
                  </a:lnTo>
                  <a:lnTo>
                    <a:pt x="3215" y="1909"/>
                  </a:lnTo>
                  <a:lnTo>
                    <a:pt x="3185" y="1871"/>
                  </a:lnTo>
                  <a:lnTo>
                    <a:pt x="3157" y="1831"/>
                  </a:lnTo>
                  <a:lnTo>
                    <a:pt x="3130" y="1791"/>
                  </a:lnTo>
                  <a:lnTo>
                    <a:pt x="3103" y="1750"/>
                  </a:lnTo>
                  <a:lnTo>
                    <a:pt x="3078" y="1709"/>
                  </a:lnTo>
                  <a:lnTo>
                    <a:pt x="3054" y="1666"/>
                  </a:lnTo>
                  <a:lnTo>
                    <a:pt x="3030" y="1624"/>
                  </a:lnTo>
                  <a:lnTo>
                    <a:pt x="3006" y="1580"/>
                  </a:lnTo>
                  <a:lnTo>
                    <a:pt x="2984" y="1536"/>
                  </a:lnTo>
                  <a:lnTo>
                    <a:pt x="2963" y="1490"/>
                  </a:lnTo>
                  <a:lnTo>
                    <a:pt x="2943" y="1445"/>
                  </a:lnTo>
                  <a:lnTo>
                    <a:pt x="2923" y="1398"/>
                  </a:lnTo>
                  <a:lnTo>
                    <a:pt x="2904" y="1351"/>
                  </a:lnTo>
                  <a:lnTo>
                    <a:pt x="2886" y="1303"/>
                  </a:lnTo>
                  <a:lnTo>
                    <a:pt x="2869" y="1254"/>
                  </a:lnTo>
                  <a:lnTo>
                    <a:pt x="2853" y="1206"/>
                  </a:lnTo>
                  <a:lnTo>
                    <a:pt x="2838" y="1156"/>
                  </a:lnTo>
                  <a:lnTo>
                    <a:pt x="2824" y="1106"/>
                  </a:lnTo>
                  <a:lnTo>
                    <a:pt x="2809" y="1055"/>
                  </a:lnTo>
                  <a:lnTo>
                    <a:pt x="2797" y="1004"/>
                  </a:lnTo>
                  <a:lnTo>
                    <a:pt x="2785" y="952"/>
                  </a:lnTo>
                  <a:lnTo>
                    <a:pt x="2775" y="899"/>
                  </a:lnTo>
                  <a:lnTo>
                    <a:pt x="2765" y="846"/>
                  </a:lnTo>
                  <a:lnTo>
                    <a:pt x="2756" y="792"/>
                  </a:lnTo>
                  <a:lnTo>
                    <a:pt x="2748" y="738"/>
                  </a:lnTo>
                  <a:lnTo>
                    <a:pt x="2740" y="684"/>
                  </a:lnTo>
                  <a:lnTo>
                    <a:pt x="2734" y="628"/>
                  </a:lnTo>
                  <a:lnTo>
                    <a:pt x="2729" y="572"/>
                  </a:lnTo>
                  <a:lnTo>
                    <a:pt x="2724" y="517"/>
                  </a:lnTo>
                  <a:lnTo>
                    <a:pt x="2720" y="460"/>
                  </a:lnTo>
                  <a:lnTo>
                    <a:pt x="2717" y="402"/>
                  </a:lnTo>
                  <a:lnTo>
                    <a:pt x="2715" y="345"/>
                  </a:lnTo>
                  <a:lnTo>
                    <a:pt x="2619" y="301"/>
                  </a:lnTo>
                  <a:lnTo>
                    <a:pt x="2264" y="0"/>
                  </a:lnTo>
                  <a:lnTo>
                    <a:pt x="1690" y="570"/>
                  </a:lnTo>
                  <a:lnTo>
                    <a:pt x="1624" y="570"/>
                  </a:lnTo>
                  <a:lnTo>
                    <a:pt x="1051" y="0"/>
                  </a:lnTo>
                  <a:lnTo>
                    <a:pt x="695" y="301"/>
                  </a:lnTo>
                  <a:lnTo>
                    <a:pt x="599" y="345"/>
                  </a:lnTo>
                  <a:lnTo>
                    <a:pt x="597" y="401"/>
                  </a:lnTo>
                  <a:lnTo>
                    <a:pt x="594" y="457"/>
                  </a:lnTo>
                  <a:lnTo>
                    <a:pt x="589" y="513"/>
                  </a:lnTo>
                  <a:lnTo>
                    <a:pt x="584" y="567"/>
                  </a:lnTo>
                  <a:lnTo>
                    <a:pt x="578" y="623"/>
                  </a:lnTo>
                  <a:lnTo>
                    <a:pt x="571" y="678"/>
                  </a:lnTo>
                  <a:lnTo>
                    <a:pt x="563" y="731"/>
                  </a:lnTo>
                  <a:lnTo>
                    <a:pt x="554" y="785"/>
                  </a:lnTo>
                  <a:lnTo>
                    <a:pt x="545" y="839"/>
                  </a:lnTo>
                  <a:lnTo>
                    <a:pt x="534" y="891"/>
                  </a:lnTo>
                  <a:lnTo>
                    <a:pt x="522" y="944"/>
                  </a:lnTo>
                  <a:lnTo>
                    <a:pt x="509" y="996"/>
                  </a:lnTo>
                  <a:lnTo>
                    <a:pt x="496" y="1048"/>
                  </a:lnTo>
                  <a:lnTo>
                    <a:pt x="480" y="1099"/>
                  </a:lnTo>
                  <a:lnTo>
                    <a:pt x="465" y="1149"/>
                  </a:lnTo>
                  <a:lnTo>
                    <a:pt x="448" y="1200"/>
                  </a:lnTo>
                  <a:lnTo>
                    <a:pt x="431" y="1249"/>
                  </a:lnTo>
                  <a:lnTo>
                    <a:pt x="412" y="1298"/>
                  </a:lnTo>
                  <a:lnTo>
                    <a:pt x="392" y="1347"/>
                  </a:lnTo>
                  <a:lnTo>
                    <a:pt x="372" y="1394"/>
                  </a:lnTo>
                  <a:lnTo>
                    <a:pt x="351" y="1442"/>
                  </a:lnTo>
                  <a:lnTo>
                    <a:pt x="329" y="1488"/>
                  </a:lnTo>
                  <a:lnTo>
                    <a:pt x="306" y="1535"/>
                  </a:lnTo>
                  <a:lnTo>
                    <a:pt x="281" y="1579"/>
                  </a:lnTo>
                  <a:lnTo>
                    <a:pt x="257" y="1624"/>
                  </a:lnTo>
                  <a:lnTo>
                    <a:pt x="231" y="1668"/>
                  </a:lnTo>
                  <a:lnTo>
                    <a:pt x="204" y="1711"/>
                  </a:lnTo>
                  <a:lnTo>
                    <a:pt x="177" y="1753"/>
                  </a:lnTo>
                  <a:lnTo>
                    <a:pt x="149" y="1796"/>
                  </a:lnTo>
                  <a:lnTo>
                    <a:pt x="120" y="1836"/>
                  </a:lnTo>
                  <a:lnTo>
                    <a:pt x="89" y="1877"/>
                  </a:lnTo>
                  <a:lnTo>
                    <a:pt x="59" y="1915"/>
                  </a:lnTo>
                  <a:lnTo>
                    <a:pt x="44" y="1934"/>
                  </a:lnTo>
                  <a:lnTo>
                    <a:pt x="30" y="1951"/>
                  </a:lnTo>
                  <a:lnTo>
                    <a:pt x="16" y="1968"/>
                  </a:lnTo>
                  <a:lnTo>
                    <a:pt x="0" y="1984"/>
                  </a:lnTo>
                  <a:lnTo>
                    <a:pt x="60" y="2034"/>
                  </a:lnTo>
                  <a:lnTo>
                    <a:pt x="751" y="23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4029" y="1849"/>
              <a:ext cx="61" cy="73"/>
            </a:xfrm>
            <a:custGeom>
              <a:avLst/>
              <a:gdLst>
                <a:gd name="T0" fmla="*/ 1447 w 2676"/>
                <a:gd name="T1" fmla="*/ 3205 h 3213"/>
                <a:gd name="T2" fmla="*/ 1614 w 2676"/>
                <a:gd name="T3" fmla="*/ 3163 h 3213"/>
                <a:gd name="T4" fmla="*/ 1784 w 2676"/>
                <a:gd name="T5" fmla="*/ 3085 h 3213"/>
                <a:gd name="T6" fmla="*/ 1952 w 2676"/>
                <a:gd name="T7" fmla="*/ 2972 h 3213"/>
                <a:gd name="T8" fmla="*/ 2114 w 2676"/>
                <a:gd name="T9" fmla="*/ 2826 h 3213"/>
                <a:gd name="T10" fmla="*/ 2263 w 2676"/>
                <a:gd name="T11" fmla="*/ 2649 h 3213"/>
                <a:gd name="T12" fmla="*/ 2396 w 2676"/>
                <a:gd name="T13" fmla="*/ 2439 h 3213"/>
                <a:gd name="T14" fmla="*/ 2510 w 2676"/>
                <a:gd name="T15" fmla="*/ 2201 h 3213"/>
                <a:gd name="T16" fmla="*/ 2597 w 2676"/>
                <a:gd name="T17" fmla="*/ 1934 h 3213"/>
                <a:gd name="T18" fmla="*/ 2654 w 2676"/>
                <a:gd name="T19" fmla="*/ 1639 h 3213"/>
                <a:gd name="T20" fmla="*/ 2676 w 2676"/>
                <a:gd name="T21" fmla="*/ 1318 h 3213"/>
                <a:gd name="T22" fmla="*/ 2668 w 2676"/>
                <a:gd name="T23" fmla="*/ 1095 h 3213"/>
                <a:gd name="T24" fmla="*/ 2638 w 2676"/>
                <a:gd name="T25" fmla="*/ 890 h 3213"/>
                <a:gd name="T26" fmla="*/ 2584 w 2676"/>
                <a:gd name="T27" fmla="*/ 705 h 3213"/>
                <a:gd name="T28" fmla="*/ 2509 w 2676"/>
                <a:gd name="T29" fmla="*/ 539 h 3213"/>
                <a:gd name="T30" fmla="*/ 2408 w 2676"/>
                <a:gd name="T31" fmla="*/ 394 h 3213"/>
                <a:gd name="T32" fmla="*/ 2281 w 2676"/>
                <a:gd name="T33" fmla="*/ 271 h 3213"/>
                <a:gd name="T34" fmla="*/ 2130 w 2676"/>
                <a:gd name="T35" fmla="*/ 168 h 3213"/>
                <a:gd name="T36" fmla="*/ 1951 w 2676"/>
                <a:gd name="T37" fmla="*/ 90 h 3213"/>
                <a:gd name="T38" fmla="*/ 1745 w 2676"/>
                <a:gd name="T39" fmla="*/ 36 h 3213"/>
                <a:gd name="T40" fmla="*/ 1510 w 2676"/>
                <a:gd name="T41" fmla="*/ 6 h 3213"/>
                <a:gd name="T42" fmla="*/ 1251 w 2676"/>
                <a:gd name="T43" fmla="*/ 2 h 3213"/>
                <a:gd name="T44" fmla="*/ 1006 w 2676"/>
                <a:gd name="T45" fmla="*/ 24 h 3213"/>
                <a:gd name="T46" fmla="*/ 791 w 2676"/>
                <a:gd name="T47" fmla="*/ 69 h 3213"/>
                <a:gd name="T48" fmla="*/ 603 w 2676"/>
                <a:gd name="T49" fmla="*/ 140 h 3213"/>
                <a:gd name="T50" fmla="*/ 442 w 2676"/>
                <a:gd name="T51" fmla="*/ 234 h 3213"/>
                <a:gd name="T52" fmla="*/ 308 w 2676"/>
                <a:gd name="T53" fmla="*/ 350 h 3213"/>
                <a:gd name="T54" fmla="*/ 199 w 2676"/>
                <a:gd name="T55" fmla="*/ 488 h 3213"/>
                <a:gd name="T56" fmla="*/ 114 w 2676"/>
                <a:gd name="T57" fmla="*/ 647 h 3213"/>
                <a:gd name="T58" fmla="*/ 53 w 2676"/>
                <a:gd name="T59" fmla="*/ 826 h 3213"/>
                <a:gd name="T60" fmla="*/ 16 w 2676"/>
                <a:gd name="T61" fmla="*/ 1024 h 3213"/>
                <a:gd name="T62" fmla="*/ 1 w 2676"/>
                <a:gd name="T63" fmla="*/ 1242 h 3213"/>
                <a:gd name="T64" fmla="*/ 10 w 2676"/>
                <a:gd name="T65" fmla="*/ 1535 h 3213"/>
                <a:gd name="T66" fmla="*/ 51 w 2676"/>
                <a:gd name="T67" fmla="*/ 1839 h 3213"/>
                <a:gd name="T68" fmla="*/ 121 w 2676"/>
                <a:gd name="T69" fmla="*/ 2115 h 3213"/>
                <a:gd name="T70" fmla="*/ 217 w 2676"/>
                <a:gd name="T71" fmla="*/ 2363 h 3213"/>
                <a:gd name="T72" fmla="*/ 335 w 2676"/>
                <a:gd name="T73" fmla="*/ 2582 h 3213"/>
                <a:gd name="T74" fmla="*/ 473 w 2676"/>
                <a:gd name="T75" fmla="*/ 2770 h 3213"/>
                <a:gd name="T76" fmla="*/ 627 w 2676"/>
                <a:gd name="T77" fmla="*/ 2927 h 3213"/>
                <a:gd name="T78" fmla="*/ 793 w 2676"/>
                <a:gd name="T79" fmla="*/ 3050 h 3213"/>
                <a:gd name="T80" fmla="*/ 970 w 2676"/>
                <a:gd name="T81" fmla="*/ 3141 h 3213"/>
                <a:gd name="T82" fmla="*/ 1153 w 2676"/>
                <a:gd name="T83" fmla="*/ 3195 h 3213"/>
                <a:gd name="T84" fmla="*/ 1339 w 2676"/>
                <a:gd name="T85" fmla="*/ 3213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6" h="3213">
                  <a:moveTo>
                    <a:pt x="1339" y="3213"/>
                  </a:moveTo>
                  <a:lnTo>
                    <a:pt x="1392" y="3211"/>
                  </a:lnTo>
                  <a:lnTo>
                    <a:pt x="1447" y="3205"/>
                  </a:lnTo>
                  <a:lnTo>
                    <a:pt x="1501" y="3195"/>
                  </a:lnTo>
                  <a:lnTo>
                    <a:pt x="1558" y="3181"/>
                  </a:lnTo>
                  <a:lnTo>
                    <a:pt x="1614" y="3163"/>
                  </a:lnTo>
                  <a:lnTo>
                    <a:pt x="1671" y="3141"/>
                  </a:lnTo>
                  <a:lnTo>
                    <a:pt x="1728" y="3114"/>
                  </a:lnTo>
                  <a:lnTo>
                    <a:pt x="1784" y="3085"/>
                  </a:lnTo>
                  <a:lnTo>
                    <a:pt x="1841" y="3050"/>
                  </a:lnTo>
                  <a:lnTo>
                    <a:pt x="1896" y="3013"/>
                  </a:lnTo>
                  <a:lnTo>
                    <a:pt x="1952" y="2972"/>
                  </a:lnTo>
                  <a:lnTo>
                    <a:pt x="2006" y="2927"/>
                  </a:lnTo>
                  <a:lnTo>
                    <a:pt x="2061" y="2878"/>
                  </a:lnTo>
                  <a:lnTo>
                    <a:pt x="2114" y="2826"/>
                  </a:lnTo>
                  <a:lnTo>
                    <a:pt x="2165" y="2770"/>
                  </a:lnTo>
                  <a:lnTo>
                    <a:pt x="2215" y="2711"/>
                  </a:lnTo>
                  <a:lnTo>
                    <a:pt x="2263" y="2649"/>
                  </a:lnTo>
                  <a:lnTo>
                    <a:pt x="2310" y="2582"/>
                  </a:lnTo>
                  <a:lnTo>
                    <a:pt x="2354" y="2513"/>
                  </a:lnTo>
                  <a:lnTo>
                    <a:pt x="2396" y="2439"/>
                  </a:lnTo>
                  <a:lnTo>
                    <a:pt x="2437" y="2363"/>
                  </a:lnTo>
                  <a:lnTo>
                    <a:pt x="2474" y="2284"/>
                  </a:lnTo>
                  <a:lnTo>
                    <a:pt x="2510" y="2201"/>
                  </a:lnTo>
                  <a:lnTo>
                    <a:pt x="2541" y="2115"/>
                  </a:lnTo>
                  <a:lnTo>
                    <a:pt x="2570" y="2026"/>
                  </a:lnTo>
                  <a:lnTo>
                    <a:pt x="2597" y="1934"/>
                  </a:lnTo>
                  <a:lnTo>
                    <a:pt x="2619" y="1839"/>
                  </a:lnTo>
                  <a:lnTo>
                    <a:pt x="2638" y="1740"/>
                  </a:lnTo>
                  <a:lnTo>
                    <a:pt x="2654" y="1639"/>
                  </a:lnTo>
                  <a:lnTo>
                    <a:pt x="2665" y="1535"/>
                  </a:lnTo>
                  <a:lnTo>
                    <a:pt x="2673" y="1428"/>
                  </a:lnTo>
                  <a:lnTo>
                    <a:pt x="2676" y="1318"/>
                  </a:lnTo>
                  <a:lnTo>
                    <a:pt x="2675" y="1242"/>
                  </a:lnTo>
                  <a:lnTo>
                    <a:pt x="2673" y="1167"/>
                  </a:lnTo>
                  <a:lnTo>
                    <a:pt x="2668" y="1095"/>
                  </a:lnTo>
                  <a:lnTo>
                    <a:pt x="2660" y="1024"/>
                  </a:lnTo>
                  <a:lnTo>
                    <a:pt x="2650" y="957"/>
                  </a:lnTo>
                  <a:lnTo>
                    <a:pt x="2638" y="890"/>
                  </a:lnTo>
                  <a:lnTo>
                    <a:pt x="2623" y="826"/>
                  </a:lnTo>
                  <a:lnTo>
                    <a:pt x="2605" y="764"/>
                  </a:lnTo>
                  <a:lnTo>
                    <a:pt x="2584" y="705"/>
                  </a:lnTo>
                  <a:lnTo>
                    <a:pt x="2562" y="647"/>
                  </a:lnTo>
                  <a:lnTo>
                    <a:pt x="2536" y="592"/>
                  </a:lnTo>
                  <a:lnTo>
                    <a:pt x="2509" y="539"/>
                  </a:lnTo>
                  <a:lnTo>
                    <a:pt x="2477" y="488"/>
                  </a:lnTo>
                  <a:lnTo>
                    <a:pt x="2444" y="440"/>
                  </a:lnTo>
                  <a:lnTo>
                    <a:pt x="2408" y="394"/>
                  </a:lnTo>
                  <a:lnTo>
                    <a:pt x="2368" y="350"/>
                  </a:lnTo>
                  <a:lnTo>
                    <a:pt x="2326" y="309"/>
                  </a:lnTo>
                  <a:lnTo>
                    <a:pt x="2281" y="271"/>
                  </a:lnTo>
                  <a:lnTo>
                    <a:pt x="2234" y="234"/>
                  </a:lnTo>
                  <a:lnTo>
                    <a:pt x="2183" y="200"/>
                  </a:lnTo>
                  <a:lnTo>
                    <a:pt x="2130" y="168"/>
                  </a:lnTo>
                  <a:lnTo>
                    <a:pt x="2073" y="140"/>
                  </a:lnTo>
                  <a:lnTo>
                    <a:pt x="2013" y="114"/>
                  </a:lnTo>
                  <a:lnTo>
                    <a:pt x="1951" y="90"/>
                  </a:lnTo>
                  <a:lnTo>
                    <a:pt x="1885" y="69"/>
                  </a:lnTo>
                  <a:lnTo>
                    <a:pt x="1816" y="52"/>
                  </a:lnTo>
                  <a:lnTo>
                    <a:pt x="1745" y="36"/>
                  </a:lnTo>
                  <a:lnTo>
                    <a:pt x="1670" y="24"/>
                  </a:lnTo>
                  <a:lnTo>
                    <a:pt x="1592" y="13"/>
                  </a:lnTo>
                  <a:lnTo>
                    <a:pt x="1510" y="6"/>
                  </a:lnTo>
                  <a:lnTo>
                    <a:pt x="1425" y="2"/>
                  </a:lnTo>
                  <a:lnTo>
                    <a:pt x="1339" y="0"/>
                  </a:lnTo>
                  <a:lnTo>
                    <a:pt x="1251" y="2"/>
                  </a:lnTo>
                  <a:lnTo>
                    <a:pt x="1166" y="6"/>
                  </a:lnTo>
                  <a:lnTo>
                    <a:pt x="1084" y="13"/>
                  </a:lnTo>
                  <a:lnTo>
                    <a:pt x="1006" y="24"/>
                  </a:lnTo>
                  <a:lnTo>
                    <a:pt x="931" y="36"/>
                  </a:lnTo>
                  <a:lnTo>
                    <a:pt x="860" y="52"/>
                  </a:lnTo>
                  <a:lnTo>
                    <a:pt x="791" y="69"/>
                  </a:lnTo>
                  <a:lnTo>
                    <a:pt x="725" y="90"/>
                  </a:lnTo>
                  <a:lnTo>
                    <a:pt x="663" y="114"/>
                  </a:lnTo>
                  <a:lnTo>
                    <a:pt x="603" y="140"/>
                  </a:lnTo>
                  <a:lnTo>
                    <a:pt x="546" y="168"/>
                  </a:lnTo>
                  <a:lnTo>
                    <a:pt x="493" y="200"/>
                  </a:lnTo>
                  <a:lnTo>
                    <a:pt x="442" y="234"/>
                  </a:lnTo>
                  <a:lnTo>
                    <a:pt x="395" y="271"/>
                  </a:lnTo>
                  <a:lnTo>
                    <a:pt x="349" y="309"/>
                  </a:lnTo>
                  <a:lnTo>
                    <a:pt x="308" y="350"/>
                  </a:lnTo>
                  <a:lnTo>
                    <a:pt x="268" y="394"/>
                  </a:lnTo>
                  <a:lnTo>
                    <a:pt x="232" y="440"/>
                  </a:lnTo>
                  <a:lnTo>
                    <a:pt x="199" y="488"/>
                  </a:lnTo>
                  <a:lnTo>
                    <a:pt x="167" y="539"/>
                  </a:lnTo>
                  <a:lnTo>
                    <a:pt x="140" y="592"/>
                  </a:lnTo>
                  <a:lnTo>
                    <a:pt x="114" y="647"/>
                  </a:lnTo>
                  <a:lnTo>
                    <a:pt x="92" y="705"/>
                  </a:lnTo>
                  <a:lnTo>
                    <a:pt x="71" y="764"/>
                  </a:lnTo>
                  <a:lnTo>
                    <a:pt x="53" y="826"/>
                  </a:lnTo>
                  <a:lnTo>
                    <a:pt x="38" y="890"/>
                  </a:lnTo>
                  <a:lnTo>
                    <a:pt x="26" y="957"/>
                  </a:lnTo>
                  <a:lnTo>
                    <a:pt x="16" y="1024"/>
                  </a:lnTo>
                  <a:lnTo>
                    <a:pt x="8" y="1095"/>
                  </a:lnTo>
                  <a:lnTo>
                    <a:pt x="3" y="1167"/>
                  </a:lnTo>
                  <a:lnTo>
                    <a:pt x="1" y="1242"/>
                  </a:lnTo>
                  <a:lnTo>
                    <a:pt x="0" y="1318"/>
                  </a:lnTo>
                  <a:lnTo>
                    <a:pt x="3" y="1428"/>
                  </a:lnTo>
                  <a:lnTo>
                    <a:pt x="10" y="1535"/>
                  </a:lnTo>
                  <a:lnTo>
                    <a:pt x="20" y="1639"/>
                  </a:lnTo>
                  <a:lnTo>
                    <a:pt x="34" y="1740"/>
                  </a:lnTo>
                  <a:lnTo>
                    <a:pt x="51" y="1839"/>
                  </a:lnTo>
                  <a:lnTo>
                    <a:pt x="71" y="1934"/>
                  </a:lnTo>
                  <a:lnTo>
                    <a:pt x="95" y="2026"/>
                  </a:lnTo>
                  <a:lnTo>
                    <a:pt x="121" y="2115"/>
                  </a:lnTo>
                  <a:lnTo>
                    <a:pt x="150" y="2201"/>
                  </a:lnTo>
                  <a:lnTo>
                    <a:pt x="183" y="2284"/>
                  </a:lnTo>
                  <a:lnTo>
                    <a:pt x="217" y="2363"/>
                  </a:lnTo>
                  <a:lnTo>
                    <a:pt x="254" y="2440"/>
                  </a:lnTo>
                  <a:lnTo>
                    <a:pt x="294" y="2513"/>
                  </a:lnTo>
                  <a:lnTo>
                    <a:pt x="335" y="2582"/>
                  </a:lnTo>
                  <a:lnTo>
                    <a:pt x="380" y="2649"/>
                  </a:lnTo>
                  <a:lnTo>
                    <a:pt x="425" y="2711"/>
                  </a:lnTo>
                  <a:lnTo>
                    <a:pt x="473" y="2770"/>
                  </a:lnTo>
                  <a:lnTo>
                    <a:pt x="523" y="2826"/>
                  </a:lnTo>
                  <a:lnTo>
                    <a:pt x="574" y="2878"/>
                  </a:lnTo>
                  <a:lnTo>
                    <a:pt x="627" y="2927"/>
                  </a:lnTo>
                  <a:lnTo>
                    <a:pt x="681" y="2972"/>
                  </a:lnTo>
                  <a:lnTo>
                    <a:pt x="736" y="3013"/>
                  </a:lnTo>
                  <a:lnTo>
                    <a:pt x="793" y="3050"/>
                  </a:lnTo>
                  <a:lnTo>
                    <a:pt x="851" y="3085"/>
                  </a:lnTo>
                  <a:lnTo>
                    <a:pt x="910" y="3114"/>
                  </a:lnTo>
                  <a:lnTo>
                    <a:pt x="970" y="3141"/>
                  </a:lnTo>
                  <a:lnTo>
                    <a:pt x="1030" y="3163"/>
                  </a:lnTo>
                  <a:lnTo>
                    <a:pt x="1091" y="3181"/>
                  </a:lnTo>
                  <a:lnTo>
                    <a:pt x="1153" y="3195"/>
                  </a:lnTo>
                  <a:lnTo>
                    <a:pt x="1214" y="3205"/>
                  </a:lnTo>
                  <a:lnTo>
                    <a:pt x="1276" y="3211"/>
                  </a:lnTo>
                  <a:lnTo>
                    <a:pt x="1339" y="3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9"/>
            <p:cNvSpPr>
              <a:spLocks/>
            </p:cNvSpPr>
            <p:nvPr/>
          </p:nvSpPr>
          <p:spPr bwMode="auto">
            <a:xfrm>
              <a:off x="4147" y="1919"/>
              <a:ext cx="94" cy="64"/>
            </a:xfrm>
            <a:custGeom>
              <a:avLst/>
              <a:gdLst>
                <a:gd name="T0" fmla="*/ 3624 w 4133"/>
                <a:gd name="T1" fmla="*/ 855 h 2799"/>
                <a:gd name="T2" fmla="*/ 3600 w 4133"/>
                <a:gd name="T3" fmla="*/ 816 h 2799"/>
                <a:gd name="T4" fmla="*/ 3571 w 4133"/>
                <a:gd name="T5" fmla="*/ 781 h 2799"/>
                <a:gd name="T6" fmla="*/ 3539 w 4133"/>
                <a:gd name="T7" fmla="*/ 748 h 2799"/>
                <a:gd name="T8" fmla="*/ 3502 w 4133"/>
                <a:gd name="T9" fmla="*/ 720 h 2799"/>
                <a:gd name="T10" fmla="*/ 3463 w 4133"/>
                <a:gd name="T11" fmla="*/ 695 h 2799"/>
                <a:gd name="T12" fmla="*/ 3423 w 4133"/>
                <a:gd name="T13" fmla="*/ 672 h 2799"/>
                <a:gd name="T14" fmla="*/ 3382 w 4133"/>
                <a:gd name="T15" fmla="*/ 652 h 2799"/>
                <a:gd name="T16" fmla="*/ 2619 w 4133"/>
                <a:gd name="T17" fmla="*/ 301 h 2799"/>
                <a:gd name="T18" fmla="*/ 1690 w 4133"/>
                <a:gd name="T19" fmla="*/ 570 h 2799"/>
                <a:gd name="T20" fmla="*/ 1050 w 4133"/>
                <a:gd name="T21" fmla="*/ 0 h 2799"/>
                <a:gd name="T22" fmla="*/ 598 w 4133"/>
                <a:gd name="T23" fmla="*/ 345 h 2799"/>
                <a:gd name="T24" fmla="*/ 593 w 4133"/>
                <a:gd name="T25" fmla="*/ 457 h 2799"/>
                <a:gd name="T26" fmla="*/ 584 w 4133"/>
                <a:gd name="T27" fmla="*/ 567 h 2799"/>
                <a:gd name="T28" fmla="*/ 571 w 4133"/>
                <a:gd name="T29" fmla="*/ 678 h 2799"/>
                <a:gd name="T30" fmla="*/ 554 w 4133"/>
                <a:gd name="T31" fmla="*/ 785 h 2799"/>
                <a:gd name="T32" fmla="*/ 533 w 4133"/>
                <a:gd name="T33" fmla="*/ 891 h 2799"/>
                <a:gd name="T34" fmla="*/ 509 w 4133"/>
                <a:gd name="T35" fmla="*/ 996 h 2799"/>
                <a:gd name="T36" fmla="*/ 480 w 4133"/>
                <a:gd name="T37" fmla="*/ 1099 h 2799"/>
                <a:gd name="T38" fmla="*/ 447 w 4133"/>
                <a:gd name="T39" fmla="*/ 1200 h 2799"/>
                <a:gd name="T40" fmla="*/ 412 w 4133"/>
                <a:gd name="T41" fmla="*/ 1298 h 2799"/>
                <a:gd name="T42" fmla="*/ 371 w 4133"/>
                <a:gd name="T43" fmla="*/ 1394 h 2799"/>
                <a:gd name="T44" fmla="*/ 328 w 4133"/>
                <a:gd name="T45" fmla="*/ 1488 h 2799"/>
                <a:gd name="T46" fmla="*/ 281 w 4133"/>
                <a:gd name="T47" fmla="*/ 1579 h 2799"/>
                <a:gd name="T48" fmla="*/ 231 w 4133"/>
                <a:gd name="T49" fmla="*/ 1668 h 2799"/>
                <a:gd name="T50" fmla="*/ 176 w 4133"/>
                <a:gd name="T51" fmla="*/ 1753 h 2799"/>
                <a:gd name="T52" fmla="*/ 119 w 4133"/>
                <a:gd name="T53" fmla="*/ 1836 h 2799"/>
                <a:gd name="T54" fmla="*/ 58 w 4133"/>
                <a:gd name="T55" fmla="*/ 1915 h 2799"/>
                <a:gd name="T56" fmla="*/ 30 w 4133"/>
                <a:gd name="T57" fmla="*/ 1951 h 2799"/>
                <a:gd name="T58" fmla="*/ 0 w 4133"/>
                <a:gd name="T59" fmla="*/ 1984 h 2799"/>
                <a:gd name="T60" fmla="*/ 750 w 4133"/>
                <a:gd name="T61" fmla="*/ 2353 h 2799"/>
                <a:gd name="T62" fmla="*/ 832 w 4133"/>
                <a:gd name="T63" fmla="*/ 2391 h 2799"/>
                <a:gd name="T64" fmla="*/ 907 w 4133"/>
                <a:gd name="T65" fmla="*/ 2433 h 2799"/>
                <a:gd name="T66" fmla="*/ 974 w 4133"/>
                <a:gd name="T67" fmla="*/ 2480 h 2799"/>
                <a:gd name="T68" fmla="*/ 1036 w 4133"/>
                <a:gd name="T69" fmla="*/ 2532 h 2799"/>
                <a:gd name="T70" fmla="*/ 1091 w 4133"/>
                <a:gd name="T71" fmla="*/ 2586 h 2799"/>
                <a:gd name="T72" fmla="*/ 1115 w 4133"/>
                <a:gd name="T73" fmla="*/ 2616 h 2799"/>
                <a:gd name="T74" fmla="*/ 1138 w 4133"/>
                <a:gd name="T75" fmla="*/ 2646 h 2799"/>
                <a:gd name="T76" fmla="*/ 1159 w 4133"/>
                <a:gd name="T77" fmla="*/ 2677 h 2799"/>
                <a:gd name="T78" fmla="*/ 1178 w 4133"/>
                <a:gd name="T79" fmla="*/ 2710 h 2799"/>
                <a:gd name="T80" fmla="*/ 1196 w 4133"/>
                <a:gd name="T81" fmla="*/ 2743 h 2799"/>
                <a:gd name="T82" fmla="*/ 1211 w 4133"/>
                <a:gd name="T83" fmla="*/ 2777 h 2799"/>
                <a:gd name="T84" fmla="*/ 1220 w 4133"/>
                <a:gd name="T85" fmla="*/ 2799 h 2799"/>
                <a:gd name="T86" fmla="*/ 4040 w 4133"/>
                <a:gd name="T87" fmla="*/ 2794 h 2799"/>
                <a:gd name="T88" fmla="*/ 4095 w 4133"/>
                <a:gd name="T89" fmla="*/ 2751 h 2799"/>
                <a:gd name="T90" fmla="*/ 4125 w 4133"/>
                <a:gd name="T91" fmla="*/ 2673 h 2799"/>
                <a:gd name="T92" fmla="*/ 4133 w 4133"/>
                <a:gd name="T93" fmla="*/ 2563 h 2799"/>
                <a:gd name="T94" fmla="*/ 4123 w 4133"/>
                <a:gd name="T95" fmla="*/ 2428 h 2799"/>
                <a:gd name="T96" fmla="*/ 4097 w 4133"/>
                <a:gd name="T97" fmla="*/ 2274 h 2799"/>
                <a:gd name="T98" fmla="*/ 4057 w 4133"/>
                <a:gd name="T99" fmla="*/ 2105 h 2799"/>
                <a:gd name="T100" fmla="*/ 4010 w 4133"/>
                <a:gd name="T101" fmla="*/ 1927 h 2799"/>
                <a:gd name="T102" fmla="*/ 3954 w 4133"/>
                <a:gd name="T103" fmla="*/ 1747 h 2799"/>
                <a:gd name="T104" fmla="*/ 3896 w 4133"/>
                <a:gd name="T105" fmla="*/ 1570 h 2799"/>
                <a:gd name="T106" fmla="*/ 3837 w 4133"/>
                <a:gd name="T107" fmla="*/ 1401 h 2799"/>
                <a:gd name="T108" fmla="*/ 3779 w 4133"/>
                <a:gd name="T109" fmla="*/ 1246 h 2799"/>
                <a:gd name="T110" fmla="*/ 3706 w 4133"/>
                <a:gd name="T111" fmla="*/ 1053 h 2799"/>
                <a:gd name="T112" fmla="*/ 3643 w 4133"/>
                <a:gd name="T113" fmla="*/ 897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133" h="2799">
                  <a:moveTo>
                    <a:pt x="3634" y="876"/>
                  </a:moveTo>
                  <a:lnTo>
                    <a:pt x="3624" y="855"/>
                  </a:lnTo>
                  <a:lnTo>
                    <a:pt x="3613" y="836"/>
                  </a:lnTo>
                  <a:lnTo>
                    <a:pt x="3600" y="816"/>
                  </a:lnTo>
                  <a:lnTo>
                    <a:pt x="3586" y="798"/>
                  </a:lnTo>
                  <a:lnTo>
                    <a:pt x="3571" y="781"/>
                  </a:lnTo>
                  <a:lnTo>
                    <a:pt x="3555" y="765"/>
                  </a:lnTo>
                  <a:lnTo>
                    <a:pt x="3539" y="748"/>
                  </a:lnTo>
                  <a:lnTo>
                    <a:pt x="3521" y="734"/>
                  </a:lnTo>
                  <a:lnTo>
                    <a:pt x="3502" y="720"/>
                  </a:lnTo>
                  <a:lnTo>
                    <a:pt x="3483" y="707"/>
                  </a:lnTo>
                  <a:lnTo>
                    <a:pt x="3463" y="695"/>
                  </a:lnTo>
                  <a:lnTo>
                    <a:pt x="3444" y="683"/>
                  </a:lnTo>
                  <a:lnTo>
                    <a:pt x="3423" y="672"/>
                  </a:lnTo>
                  <a:lnTo>
                    <a:pt x="3402" y="661"/>
                  </a:lnTo>
                  <a:lnTo>
                    <a:pt x="3382" y="652"/>
                  </a:lnTo>
                  <a:lnTo>
                    <a:pt x="3361" y="643"/>
                  </a:lnTo>
                  <a:lnTo>
                    <a:pt x="2619" y="301"/>
                  </a:lnTo>
                  <a:lnTo>
                    <a:pt x="2263" y="0"/>
                  </a:lnTo>
                  <a:lnTo>
                    <a:pt x="1690" y="570"/>
                  </a:lnTo>
                  <a:lnTo>
                    <a:pt x="1623" y="570"/>
                  </a:lnTo>
                  <a:lnTo>
                    <a:pt x="1050" y="0"/>
                  </a:lnTo>
                  <a:lnTo>
                    <a:pt x="693" y="301"/>
                  </a:lnTo>
                  <a:lnTo>
                    <a:pt x="598" y="345"/>
                  </a:lnTo>
                  <a:lnTo>
                    <a:pt x="596" y="401"/>
                  </a:lnTo>
                  <a:lnTo>
                    <a:pt x="593" y="457"/>
                  </a:lnTo>
                  <a:lnTo>
                    <a:pt x="589" y="513"/>
                  </a:lnTo>
                  <a:lnTo>
                    <a:pt x="584" y="567"/>
                  </a:lnTo>
                  <a:lnTo>
                    <a:pt x="578" y="623"/>
                  </a:lnTo>
                  <a:lnTo>
                    <a:pt x="571" y="678"/>
                  </a:lnTo>
                  <a:lnTo>
                    <a:pt x="563" y="731"/>
                  </a:lnTo>
                  <a:lnTo>
                    <a:pt x="554" y="785"/>
                  </a:lnTo>
                  <a:lnTo>
                    <a:pt x="544" y="839"/>
                  </a:lnTo>
                  <a:lnTo>
                    <a:pt x="533" y="891"/>
                  </a:lnTo>
                  <a:lnTo>
                    <a:pt x="522" y="944"/>
                  </a:lnTo>
                  <a:lnTo>
                    <a:pt x="509" y="996"/>
                  </a:lnTo>
                  <a:lnTo>
                    <a:pt x="494" y="1048"/>
                  </a:lnTo>
                  <a:lnTo>
                    <a:pt x="480" y="1099"/>
                  </a:lnTo>
                  <a:lnTo>
                    <a:pt x="464" y="1149"/>
                  </a:lnTo>
                  <a:lnTo>
                    <a:pt x="447" y="1200"/>
                  </a:lnTo>
                  <a:lnTo>
                    <a:pt x="430" y="1249"/>
                  </a:lnTo>
                  <a:lnTo>
                    <a:pt x="412" y="1298"/>
                  </a:lnTo>
                  <a:lnTo>
                    <a:pt x="392" y="1347"/>
                  </a:lnTo>
                  <a:lnTo>
                    <a:pt x="371" y="1394"/>
                  </a:lnTo>
                  <a:lnTo>
                    <a:pt x="350" y="1442"/>
                  </a:lnTo>
                  <a:lnTo>
                    <a:pt x="328" y="1488"/>
                  </a:lnTo>
                  <a:lnTo>
                    <a:pt x="305" y="1535"/>
                  </a:lnTo>
                  <a:lnTo>
                    <a:pt x="281" y="1579"/>
                  </a:lnTo>
                  <a:lnTo>
                    <a:pt x="256" y="1624"/>
                  </a:lnTo>
                  <a:lnTo>
                    <a:pt x="231" y="1668"/>
                  </a:lnTo>
                  <a:lnTo>
                    <a:pt x="203" y="1711"/>
                  </a:lnTo>
                  <a:lnTo>
                    <a:pt x="176" y="1753"/>
                  </a:lnTo>
                  <a:lnTo>
                    <a:pt x="148" y="1796"/>
                  </a:lnTo>
                  <a:lnTo>
                    <a:pt x="119" y="1836"/>
                  </a:lnTo>
                  <a:lnTo>
                    <a:pt x="89" y="1877"/>
                  </a:lnTo>
                  <a:lnTo>
                    <a:pt x="58" y="1915"/>
                  </a:lnTo>
                  <a:lnTo>
                    <a:pt x="44" y="1934"/>
                  </a:lnTo>
                  <a:lnTo>
                    <a:pt x="30" y="1951"/>
                  </a:lnTo>
                  <a:lnTo>
                    <a:pt x="14" y="1968"/>
                  </a:lnTo>
                  <a:lnTo>
                    <a:pt x="0" y="1984"/>
                  </a:lnTo>
                  <a:lnTo>
                    <a:pt x="59" y="2034"/>
                  </a:lnTo>
                  <a:lnTo>
                    <a:pt x="750" y="2353"/>
                  </a:lnTo>
                  <a:lnTo>
                    <a:pt x="791" y="2371"/>
                  </a:lnTo>
                  <a:lnTo>
                    <a:pt x="832" y="2391"/>
                  </a:lnTo>
                  <a:lnTo>
                    <a:pt x="869" y="2411"/>
                  </a:lnTo>
                  <a:lnTo>
                    <a:pt x="907" y="2433"/>
                  </a:lnTo>
                  <a:lnTo>
                    <a:pt x="941" y="2456"/>
                  </a:lnTo>
                  <a:lnTo>
                    <a:pt x="974" y="2480"/>
                  </a:lnTo>
                  <a:lnTo>
                    <a:pt x="1006" y="2505"/>
                  </a:lnTo>
                  <a:lnTo>
                    <a:pt x="1036" y="2532"/>
                  </a:lnTo>
                  <a:lnTo>
                    <a:pt x="1064" y="2559"/>
                  </a:lnTo>
                  <a:lnTo>
                    <a:pt x="1091" y="2586"/>
                  </a:lnTo>
                  <a:lnTo>
                    <a:pt x="1103" y="2601"/>
                  </a:lnTo>
                  <a:lnTo>
                    <a:pt x="1115" y="2616"/>
                  </a:lnTo>
                  <a:lnTo>
                    <a:pt x="1127" y="2631"/>
                  </a:lnTo>
                  <a:lnTo>
                    <a:pt x="1138" y="2646"/>
                  </a:lnTo>
                  <a:lnTo>
                    <a:pt x="1148" y="2662"/>
                  </a:lnTo>
                  <a:lnTo>
                    <a:pt x="1159" y="2677"/>
                  </a:lnTo>
                  <a:lnTo>
                    <a:pt x="1168" y="2694"/>
                  </a:lnTo>
                  <a:lnTo>
                    <a:pt x="1178" y="2710"/>
                  </a:lnTo>
                  <a:lnTo>
                    <a:pt x="1187" y="2726"/>
                  </a:lnTo>
                  <a:lnTo>
                    <a:pt x="1196" y="2743"/>
                  </a:lnTo>
                  <a:lnTo>
                    <a:pt x="1203" y="2759"/>
                  </a:lnTo>
                  <a:lnTo>
                    <a:pt x="1211" y="2777"/>
                  </a:lnTo>
                  <a:lnTo>
                    <a:pt x="1214" y="2784"/>
                  </a:lnTo>
                  <a:lnTo>
                    <a:pt x="1220" y="2799"/>
                  </a:lnTo>
                  <a:lnTo>
                    <a:pt x="4003" y="2799"/>
                  </a:lnTo>
                  <a:lnTo>
                    <a:pt x="4040" y="2794"/>
                  </a:lnTo>
                  <a:lnTo>
                    <a:pt x="4070" y="2778"/>
                  </a:lnTo>
                  <a:lnTo>
                    <a:pt x="4095" y="2751"/>
                  </a:lnTo>
                  <a:lnTo>
                    <a:pt x="4113" y="2717"/>
                  </a:lnTo>
                  <a:lnTo>
                    <a:pt x="4125" y="2673"/>
                  </a:lnTo>
                  <a:lnTo>
                    <a:pt x="4131" y="2622"/>
                  </a:lnTo>
                  <a:lnTo>
                    <a:pt x="4133" y="2563"/>
                  </a:lnTo>
                  <a:lnTo>
                    <a:pt x="4130" y="2499"/>
                  </a:lnTo>
                  <a:lnTo>
                    <a:pt x="4123" y="2428"/>
                  </a:lnTo>
                  <a:lnTo>
                    <a:pt x="4111" y="2354"/>
                  </a:lnTo>
                  <a:lnTo>
                    <a:pt x="4097" y="2274"/>
                  </a:lnTo>
                  <a:lnTo>
                    <a:pt x="4078" y="2191"/>
                  </a:lnTo>
                  <a:lnTo>
                    <a:pt x="4057" y="2105"/>
                  </a:lnTo>
                  <a:lnTo>
                    <a:pt x="4035" y="2017"/>
                  </a:lnTo>
                  <a:lnTo>
                    <a:pt x="4010" y="1927"/>
                  </a:lnTo>
                  <a:lnTo>
                    <a:pt x="3982" y="1837"/>
                  </a:lnTo>
                  <a:lnTo>
                    <a:pt x="3954" y="1747"/>
                  </a:lnTo>
                  <a:lnTo>
                    <a:pt x="3925" y="1658"/>
                  </a:lnTo>
                  <a:lnTo>
                    <a:pt x="3896" y="1570"/>
                  </a:lnTo>
                  <a:lnTo>
                    <a:pt x="3866" y="1484"/>
                  </a:lnTo>
                  <a:lnTo>
                    <a:pt x="3837" y="1401"/>
                  </a:lnTo>
                  <a:lnTo>
                    <a:pt x="3808" y="1322"/>
                  </a:lnTo>
                  <a:lnTo>
                    <a:pt x="3779" y="1246"/>
                  </a:lnTo>
                  <a:lnTo>
                    <a:pt x="3753" y="1177"/>
                  </a:lnTo>
                  <a:lnTo>
                    <a:pt x="3706" y="1053"/>
                  </a:lnTo>
                  <a:lnTo>
                    <a:pt x="3667" y="959"/>
                  </a:lnTo>
                  <a:lnTo>
                    <a:pt x="3643" y="897"/>
                  </a:lnTo>
                  <a:lnTo>
                    <a:pt x="3634" y="8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10"/>
            <p:cNvSpPr>
              <a:spLocks/>
            </p:cNvSpPr>
            <p:nvPr/>
          </p:nvSpPr>
          <p:spPr bwMode="auto">
            <a:xfrm>
              <a:off x="4154" y="1849"/>
              <a:ext cx="61" cy="73"/>
            </a:xfrm>
            <a:custGeom>
              <a:avLst/>
              <a:gdLst>
                <a:gd name="T0" fmla="*/ 9 w 2675"/>
                <a:gd name="T1" fmla="*/ 1535 h 3213"/>
                <a:gd name="T2" fmla="*/ 50 w 2675"/>
                <a:gd name="T3" fmla="*/ 1839 h 3213"/>
                <a:gd name="T4" fmla="*/ 121 w 2675"/>
                <a:gd name="T5" fmla="*/ 2115 h 3213"/>
                <a:gd name="T6" fmla="*/ 217 w 2675"/>
                <a:gd name="T7" fmla="*/ 2363 h 3213"/>
                <a:gd name="T8" fmla="*/ 335 w 2675"/>
                <a:gd name="T9" fmla="*/ 2582 h 3213"/>
                <a:gd name="T10" fmla="*/ 472 w 2675"/>
                <a:gd name="T11" fmla="*/ 2770 h 3213"/>
                <a:gd name="T12" fmla="*/ 626 w 2675"/>
                <a:gd name="T13" fmla="*/ 2927 h 3213"/>
                <a:gd name="T14" fmla="*/ 793 w 2675"/>
                <a:gd name="T15" fmla="*/ 3050 h 3213"/>
                <a:gd name="T16" fmla="*/ 969 w 2675"/>
                <a:gd name="T17" fmla="*/ 3141 h 3213"/>
                <a:gd name="T18" fmla="*/ 1151 w 2675"/>
                <a:gd name="T19" fmla="*/ 3195 h 3213"/>
                <a:gd name="T20" fmla="*/ 1337 w 2675"/>
                <a:gd name="T21" fmla="*/ 3213 h 3213"/>
                <a:gd name="T22" fmla="*/ 1501 w 2675"/>
                <a:gd name="T23" fmla="*/ 3195 h 3213"/>
                <a:gd name="T24" fmla="*/ 1670 w 2675"/>
                <a:gd name="T25" fmla="*/ 3141 h 3213"/>
                <a:gd name="T26" fmla="*/ 1840 w 2675"/>
                <a:gd name="T27" fmla="*/ 3050 h 3213"/>
                <a:gd name="T28" fmla="*/ 2006 w 2675"/>
                <a:gd name="T29" fmla="*/ 2927 h 3213"/>
                <a:gd name="T30" fmla="*/ 2164 w 2675"/>
                <a:gd name="T31" fmla="*/ 2770 h 3213"/>
                <a:gd name="T32" fmla="*/ 2308 w 2675"/>
                <a:gd name="T33" fmla="*/ 2582 h 3213"/>
                <a:gd name="T34" fmla="*/ 2436 w 2675"/>
                <a:gd name="T35" fmla="*/ 2363 h 3213"/>
                <a:gd name="T36" fmla="*/ 2541 w 2675"/>
                <a:gd name="T37" fmla="*/ 2115 h 3213"/>
                <a:gd name="T38" fmla="*/ 2619 w 2675"/>
                <a:gd name="T39" fmla="*/ 1839 h 3213"/>
                <a:gd name="T40" fmla="*/ 2665 w 2675"/>
                <a:gd name="T41" fmla="*/ 1535 h 3213"/>
                <a:gd name="T42" fmla="*/ 2675 w 2675"/>
                <a:gd name="T43" fmla="*/ 1242 h 3213"/>
                <a:gd name="T44" fmla="*/ 2660 w 2675"/>
                <a:gd name="T45" fmla="*/ 1024 h 3213"/>
                <a:gd name="T46" fmla="*/ 2622 w 2675"/>
                <a:gd name="T47" fmla="*/ 826 h 3213"/>
                <a:gd name="T48" fmla="*/ 2561 w 2675"/>
                <a:gd name="T49" fmla="*/ 647 h 3213"/>
                <a:gd name="T50" fmla="*/ 2477 w 2675"/>
                <a:gd name="T51" fmla="*/ 488 h 3213"/>
                <a:gd name="T52" fmla="*/ 2368 w 2675"/>
                <a:gd name="T53" fmla="*/ 350 h 3213"/>
                <a:gd name="T54" fmla="*/ 2234 w 2675"/>
                <a:gd name="T55" fmla="*/ 234 h 3213"/>
                <a:gd name="T56" fmla="*/ 2072 w 2675"/>
                <a:gd name="T57" fmla="*/ 140 h 3213"/>
                <a:gd name="T58" fmla="*/ 1885 w 2675"/>
                <a:gd name="T59" fmla="*/ 69 h 3213"/>
                <a:gd name="T60" fmla="*/ 1670 w 2675"/>
                <a:gd name="T61" fmla="*/ 24 h 3213"/>
                <a:gd name="T62" fmla="*/ 1425 w 2675"/>
                <a:gd name="T63" fmla="*/ 2 h 3213"/>
                <a:gd name="T64" fmla="*/ 1165 w 2675"/>
                <a:gd name="T65" fmla="*/ 6 h 3213"/>
                <a:gd name="T66" fmla="*/ 930 w 2675"/>
                <a:gd name="T67" fmla="*/ 36 h 3213"/>
                <a:gd name="T68" fmla="*/ 724 w 2675"/>
                <a:gd name="T69" fmla="*/ 90 h 3213"/>
                <a:gd name="T70" fmla="*/ 546 w 2675"/>
                <a:gd name="T71" fmla="*/ 168 h 3213"/>
                <a:gd name="T72" fmla="*/ 394 w 2675"/>
                <a:gd name="T73" fmla="*/ 271 h 3213"/>
                <a:gd name="T74" fmla="*/ 268 w 2675"/>
                <a:gd name="T75" fmla="*/ 394 h 3213"/>
                <a:gd name="T76" fmla="*/ 167 w 2675"/>
                <a:gd name="T77" fmla="*/ 539 h 3213"/>
                <a:gd name="T78" fmla="*/ 91 w 2675"/>
                <a:gd name="T79" fmla="*/ 705 h 3213"/>
                <a:gd name="T80" fmla="*/ 38 w 2675"/>
                <a:gd name="T81" fmla="*/ 890 h 3213"/>
                <a:gd name="T82" fmla="*/ 8 w 2675"/>
                <a:gd name="T83" fmla="*/ 1095 h 3213"/>
                <a:gd name="T84" fmla="*/ 0 w 2675"/>
                <a:gd name="T85" fmla="*/ 1318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5" h="3213">
                  <a:moveTo>
                    <a:pt x="0" y="1318"/>
                  </a:moveTo>
                  <a:lnTo>
                    <a:pt x="3" y="1428"/>
                  </a:lnTo>
                  <a:lnTo>
                    <a:pt x="9" y="1535"/>
                  </a:lnTo>
                  <a:lnTo>
                    <a:pt x="20" y="1639"/>
                  </a:lnTo>
                  <a:lnTo>
                    <a:pt x="33" y="1740"/>
                  </a:lnTo>
                  <a:lnTo>
                    <a:pt x="50" y="1839"/>
                  </a:lnTo>
                  <a:lnTo>
                    <a:pt x="70" y="1934"/>
                  </a:lnTo>
                  <a:lnTo>
                    <a:pt x="95" y="2026"/>
                  </a:lnTo>
                  <a:lnTo>
                    <a:pt x="121" y="2115"/>
                  </a:lnTo>
                  <a:lnTo>
                    <a:pt x="150" y="2201"/>
                  </a:lnTo>
                  <a:lnTo>
                    <a:pt x="181" y="2284"/>
                  </a:lnTo>
                  <a:lnTo>
                    <a:pt x="217" y="2363"/>
                  </a:lnTo>
                  <a:lnTo>
                    <a:pt x="253" y="2440"/>
                  </a:lnTo>
                  <a:lnTo>
                    <a:pt x="293" y="2513"/>
                  </a:lnTo>
                  <a:lnTo>
                    <a:pt x="335" y="2582"/>
                  </a:lnTo>
                  <a:lnTo>
                    <a:pt x="379" y="2649"/>
                  </a:lnTo>
                  <a:lnTo>
                    <a:pt x="425" y="2711"/>
                  </a:lnTo>
                  <a:lnTo>
                    <a:pt x="472" y="2770"/>
                  </a:lnTo>
                  <a:lnTo>
                    <a:pt x="522" y="2826"/>
                  </a:lnTo>
                  <a:lnTo>
                    <a:pt x="574" y="2878"/>
                  </a:lnTo>
                  <a:lnTo>
                    <a:pt x="626" y="2927"/>
                  </a:lnTo>
                  <a:lnTo>
                    <a:pt x="681" y="2972"/>
                  </a:lnTo>
                  <a:lnTo>
                    <a:pt x="736" y="3013"/>
                  </a:lnTo>
                  <a:lnTo>
                    <a:pt x="793" y="3050"/>
                  </a:lnTo>
                  <a:lnTo>
                    <a:pt x="850" y="3085"/>
                  </a:lnTo>
                  <a:lnTo>
                    <a:pt x="909" y="3114"/>
                  </a:lnTo>
                  <a:lnTo>
                    <a:pt x="969" y="3141"/>
                  </a:lnTo>
                  <a:lnTo>
                    <a:pt x="1029" y="3163"/>
                  </a:lnTo>
                  <a:lnTo>
                    <a:pt x="1090" y="3181"/>
                  </a:lnTo>
                  <a:lnTo>
                    <a:pt x="1151" y="3195"/>
                  </a:lnTo>
                  <a:lnTo>
                    <a:pt x="1213" y="3205"/>
                  </a:lnTo>
                  <a:lnTo>
                    <a:pt x="1276" y="3211"/>
                  </a:lnTo>
                  <a:lnTo>
                    <a:pt x="1337" y="3213"/>
                  </a:lnTo>
                  <a:lnTo>
                    <a:pt x="1391" y="3211"/>
                  </a:lnTo>
                  <a:lnTo>
                    <a:pt x="1446" y="3205"/>
                  </a:lnTo>
                  <a:lnTo>
                    <a:pt x="1501" y="3195"/>
                  </a:lnTo>
                  <a:lnTo>
                    <a:pt x="1557" y="3181"/>
                  </a:lnTo>
                  <a:lnTo>
                    <a:pt x="1613" y="3163"/>
                  </a:lnTo>
                  <a:lnTo>
                    <a:pt x="1670" y="3141"/>
                  </a:lnTo>
                  <a:lnTo>
                    <a:pt x="1726" y="3114"/>
                  </a:lnTo>
                  <a:lnTo>
                    <a:pt x="1784" y="3085"/>
                  </a:lnTo>
                  <a:lnTo>
                    <a:pt x="1840" y="3050"/>
                  </a:lnTo>
                  <a:lnTo>
                    <a:pt x="1896" y="3013"/>
                  </a:lnTo>
                  <a:lnTo>
                    <a:pt x="1952" y="2972"/>
                  </a:lnTo>
                  <a:lnTo>
                    <a:pt x="2006" y="2927"/>
                  </a:lnTo>
                  <a:lnTo>
                    <a:pt x="2060" y="2878"/>
                  </a:lnTo>
                  <a:lnTo>
                    <a:pt x="2112" y="2826"/>
                  </a:lnTo>
                  <a:lnTo>
                    <a:pt x="2164" y="2770"/>
                  </a:lnTo>
                  <a:lnTo>
                    <a:pt x="2214" y="2711"/>
                  </a:lnTo>
                  <a:lnTo>
                    <a:pt x="2262" y="2649"/>
                  </a:lnTo>
                  <a:lnTo>
                    <a:pt x="2308" y="2582"/>
                  </a:lnTo>
                  <a:lnTo>
                    <a:pt x="2353" y="2513"/>
                  </a:lnTo>
                  <a:lnTo>
                    <a:pt x="2396" y="2440"/>
                  </a:lnTo>
                  <a:lnTo>
                    <a:pt x="2436" y="2363"/>
                  </a:lnTo>
                  <a:lnTo>
                    <a:pt x="2473" y="2284"/>
                  </a:lnTo>
                  <a:lnTo>
                    <a:pt x="2509" y="2201"/>
                  </a:lnTo>
                  <a:lnTo>
                    <a:pt x="2541" y="2115"/>
                  </a:lnTo>
                  <a:lnTo>
                    <a:pt x="2570" y="2026"/>
                  </a:lnTo>
                  <a:lnTo>
                    <a:pt x="2596" y="1934"/>
                  </a:lnTo>
                  <a:lnTo>
                    <a:pt x="2619" y="1839"/>
                  </a:lnTo>
                  <a:lnTo>
                    <a:pt x="2638" y="1740"/>
                  </a:lnTo>
                  <a:lnTo>
                    <a:pt x="2653" y="1639"/>
                  </a:lnTo>
                  <a:lnTo>
                    <a:pt x="2665" y="1535"/>
                  </a:lnTo>
                  <a:lnTo>
                    <a:pt x="2672" y="1428"/>
                  </a:lnTo>
                  <a:lnTo>
                    <a:pt x="2675" y="1318"/>
                  </a:lnTo>
                  <a:lnTo>
                    <a:pt x="2675" y="1242"/>
                  </a:lnTo>
                  <a:lnTo>
                    <a:pt x="2672" y="1167"/>
                  </a:lnTo>
                  <a:lnTo>
                    <a:pt x="2667" y="1095"/>
                  </a:lnTo>
                  <a:lnTo>
                    <a:pt x="2660" y="1024"/>
                  </a:lnTo>
                  <a:lnTo>
                    <a:pt x="2650" y="957"/>
                  </a:lnTo>
                  <a:lnTo>
                    <a:pt x="2637" y="890"/>
                  </a:lnTo>
                  <a:lnTo>
                    <a:pt x="2622" y="826"/>
                  </a:lnTo>
                  <a:lnTo>
                    <a:pt x="2605" y="764"/>
                  </a:lnTo>
                  <a:lnTo>
                    <a:pt x="2584" y="705"/>
                  </a:lnTo>
                  <a:lnTo>
                    <a:pt x="2561" y="647"/>
                  </a:lnTo>
                  <a:lnTo>
                    <a:pt x="2536" y="592"/>
                  </a:lnTo>
                  <a:lnTo>
                    <a:pt x="2508" y="539"/>
                  </a:lnTo>
                  <a:lnTo>
                    <a:pt x="2477" y="488"/>
                  </a:lnTo>
                  <a:lnTo>
                    <a:pt x="2443" y="440"/>
                  </a:lnTo>
                  <a:lnTo>
                    <a:pt x="2406" y="394"/>
                  </a:lnTo>
                  <a:lnTo>
                    <a:pt x="2368" y="350"/>
                  </a:lnTo>
                  <a:lnTo>
                    <a:pt x="2326" y="309"/>
                  </a:lnTo>
                  <a:lnTo>
                    <a:pt x="2281" y="271"/>
                  </a:lnTo>
                  <a:lnTo>
                    <a:pt x="2234" y="234"/>
                  </a:lnTo>
                  <a:lnTo>
                    <a:pt x="2182" y="200"/>
                  </a:lnTo>
                  <a:lnTo>
                    <a:pt x="2129" y="168"/>
                  </a:lnTo>
                  <a:lnTo>
                    <a:pt x="2072" y="140"/>
                  </a:lnTo>
                  <a:lnTo>
                    <a:pt x="2013" y="114"/>
                  </a:lnTo>
                  <a:lnTo>
                    <a:pt x="1951" y="90"/>
                  </a:lnTo>
                  <a:lnTo>
                    <a:pt x="1885" y="69"/>
                  </a:lnTo>
                  <a:lnTo>
                    <a:pt x="1816" y="52"/>
                  </a:lnTo>
                  <a:lnTo>
                    <a:pt x="1745" y="36"/>
                  </a:lnTo>
                  <a:lnTo>
                    <a:pt x="1670" y="24"/>
                  </a:lnTo>
                  <a:lnTo>
                    <a:pt x="1591" y="13"/>
                  </a:lnTo>
                  <a:lnTo>
                    <a:pt x="1510" y="6"/>
                  </a:lnTo>
                  <a:lnTo>
                    <a:pt x="1425" y="2"/>
                  </a:lnTo>
                  <a:lnTo>
                    <a:pt x="1337" y="0"/>
                  </a:lnTo>
                  <a:lnTo>
                    <a:pt x="1250" y="2"/>
                  </a:lnTo>
                  <a:lnTo>
                    <a:pt x="1165" y="6"/>
                  </a:lnTo>
                  <a:lnTo>
                    <a:pt x="1084" y="13"/>
                  </a:lnTo>
                  <a:lnTo>
                    <a:pt x="1006" y="24"/>
                  </a:lnTo>
                  <a:lnTo>
                    <a:pt x="930" y="36"/>
                  </a:lnTo>
                  <a:lnTo>
                    <a:pt x="858" y="52"/>
                  </a:lnTo>
                  <a:lnTo>
                    <a:pt x="790" y="69"/>
                  </a:lnTo>
                  <a:lnTo>
                    <a:pt x="724" y="90"/>
                  </a:lnTo>
                  <a:lnTo>
                    <a:pt x="661" y="114"/>
                  </a:lnTo>
                  <a:lnTo>
                    <a:pt x="603" y="140"/>
                  </a:lnTo>
                  <a:lnTo>
                    <a:pt x="546" y="168"/>
                  </a:lnTo>
                  <a:lnTo>
                    <a:pt x="493" y="200"/>
                  </a:lnTo>
                  <a:lnTo>
                    <a:pt x="442" y="234"/>
                  </a:lnTo>
                  <a:lnTo>
                    <a:pt x="394" y="271"/>
                  </a:lnTo>
                  <a:lnTo>
                    <a:pt x="349" y="309"/>
                  </a:lnTo>
                  <a:lnTo>
                    <a:pt x="307" y="350"/>
                  </a:lnTo>
                  <a:lnTo>
                    <a:pt x="268" y="394"/>
                  </a:lnTo>
                  <a:lnTo>
                    <a:pt x="232" y="440"/>
                  </a:lnTo>
                  <a:lnTo>
                    <a:pt x="198" y="488"/>
                  </a:lnTo>
                  <a:lnTo>
                    <a:pt x="167" y="539"/>
                  </a:lnTo>
                  <a:lnTo>
                    <a:pt x="139" y="592"/>
                  </a:lnTo>
                  <a:lnTo>
                    <a:pt x="114" y="647"/>
                  </a:lnTo>
                  <a:lnTo>
                    <a:pt x="91" y="705"/>
                  </a:lnTo>
                  <a:lnTo>
                    <a:pt x="70" y="764"/>
                  </a:lnTo>
                  <a:lnTo>
                    <a:pt x="53" y="826"/>
                  </a:lnTo>
                  <a:lnTo>
                    <a:pt x="38" y="890"/>
                  </a:lnTo>
                  <a:lnTo>
                    <a:pt x="25" y="957"/>
                  </a:lnTo>
                  <a:lnTo>
                    <a:pt x="15" y="1024"/>
                  </a:lnTo>
                  <a:lnTo>
                    <a:pt x="8" y="1095"/>
                  </a:lnTo>
                  <a:lnTo>
                    <a:pt x="3" y="1167"/>
                  </a:lnTo>
                  <a:lnTo>
                    <a:pt x="0" y="1242"/>
                  </a:lnTo>
                  <a:lnTo>
                    <a:pt x="0" y="13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3941" y="1965"/>
              <a:ext cx="112" cy="64"/>
            </a:xfrm>
            <a:custGeom>
              <a:avLst/>
              <a:gdLst>
                <a:gd name="T0" fmla="*/ 3440 w 4954"/>
                <a:gd name="T1" fmla="*/ 300 h 2799"/>
                <a:gd name="T2" fmla="*/ 2510 w 4954"/>
                <a:gd name="T3" fmla="*/ 570 h 2799"/>
                <a:gd name="T4" fmla="*/ 1871 w 4954"/>
                <a:gd name="T5" fmla="*/ 0 h 2799"/>
                <a:gd name="T6" fmla="*/ 772 w 4954"/>
                <a:gd name="T7" fmla="*/ 642 h 2799"/>
                <a:gd name="T8" fmla="*/ 732 w 4954"/>
                <a:gd name="T9" fmla="*/ 661 h 2799"/>
                <a:gd name="T10" fmla="*/ 692 w 4954"/>
                <a:gd name="T11" fmla="*/ 681 h 2799"/>
                <a:gd name="T12" fmla="*/ 652 w 4954"/>
                <a:gd name="T13" fmla="*/ 704 h 2799"/>
                <a:gd name="T14" fmla="*/ 616 w 4954"/>
                <a:gd name="T15" fmla="*/ 731 h 2799"/>
                <a:gd name="T16" fmla="*/ 581 w 4954"/>
                <a:gd name="T17" fmla="*/ 761 h 2799"/>
                <a:gd name="T18" fmla="*/ 550 w 4954"/>
                <a:gd name="T19" fmla="*/ 795 h 2799"/>
                <a:gd name="T20" fmla="*/ 523 w 4954"/>
                <a:gd name="T21" fmla="*/ 833 h 2799"/>
                <a:gd name="T22" fmla="*/ 500 w 4954"/>
                <a:gd name="T23" fmla="*/ 875 h 2799"/>
                <a:gd name="T24" fmla="*/ 466 w 4954"/>
                <a:gd name="T25" fmla="*/ 958 h 2799"/>
                <a:gd name="T26" fmla="*/ 380 w 4954"/>
                <a:gd name="T27" fmla="*/ 1176 h 2799"/>
                <a:gd name="T28" fmla="*/ 326 w 4954"/>
                <a:gd name="T29" fmla="*/ 1321 h 2799"/>
                <a:gd name="T30" fmla="*/ 268 w 4954"/>
                <a:gd name="T31" fmla="*/ 1484 h 2799"/>
                <a:gd name="T32" fmla="*/ 209 w 4954"/>
                <a:gd name="T33" fmla="*/ 1657 h 2799"/>
                <a:gd name="T34" fmla="*/ 151 w 4954"/>
                <a:gd name="T35" fmla="*/ 1838 h 2799"/>
                <a:gd name="T36" fmla="*/ 99 w 4954"/>
                <a:gd name="T37" fmla="*/ 2017 h 2799"/>
                <a:gd name="T38" fmla="*/ 55 w 4954"/>
                <a:gd name="T39" fmla="*/ 2191 h 2799"/>
                <a:gd name="T40" fmla="*/ 23 w 4954"/>
                <a:gd name="T41" fmla="*/ 2353 h 2799"/>
                <a:gd name="T42" fmla="*/ 3 w 4954"/>
                <a:gd name="T43" fmla="*/ 2498 h 2799"/>
                <a:gd name="T44" fmla="*/ 2 w 4954"/>
                <a:gd name="T45" fmla="*/ 2622 h 2799"/>
                <a:gd name="T46" fmla="*/ 21 w 4954"/>
                <a:gd name="T47" fmla="*/ 2716 h 2799"/>
                <a:gd name="T48" fmla="*/ 63 w 4954"/>
                <a:gd name="T49" fmla="*/ 2778 h 2799"/>
                <a:gd name="T50" fmla="*/ 131 w 4954"/>
                <a:gd name="T51" fmla="*/ 2799 h 2799"/>
                <a:gd name="T52" fmla="*/ 4862 w 4954"/>
                <a:gd name="T53" fmla="*/ 2794 h 2799"/>
                <a:gd name="T54" fmla="*/ 4916 w 4954"/>
                <a:gd name="T55" fmla="*/ 2751 h 2799"/>
                <a:gd name="T56" fmla="*/ 4946 w 4954"/>
                <a:gd name="T57" fmla="*/ 2673 h 2799"/>
                <a:gd name="T58" fmla="*/ 4954 w 4954"/>
                <a:gd name="T59" fmla="*/ 2563 h 2799"/>
                <a:gd name="T60" fmla="*/ 4944 w 4954"/>
                <a:gd name="T61" fmla="*/ 2429 h 2799"/>
                <a:gd name="T62" fmla="*/ 4917 w 4954"/>
                <a:gd name="T63" fmla="*/ 2274 h 2799"/>
                <a:gd name="T64" fmla="*/ 4879 w 4954"/>
                <a:gd name="T65" fmla="*/ 2105 h 2799"/>
                <a:gd name="T66" fmla="*/ 4830 w 4954"/>
                <a:gd name="T67" fmla="*/ 1928 h 2799"/>
                <a:gd name="T68" fmla="*/ 4775 w 4954"/>
                <a:gd name="T69" fmla="*/ 1748 h 2799"/>
                <a:gd name="T70" fmla="*/ 4716 w 4954"/>
                <a:gd name="T71" fmla="*/ 1570 h 2799"/>
                <a:gd name="T72" fmla="*/ 4658 w 4954"/>
                <a:gd name="T73" fmla="*/ 1401 h 2799"/>
                <a:gd name="T74" fmla="*/ 4600 w 4954"/>
                <a:gd name="T75" fmla="*/ 1247 h 2799"/>
                <a:gd name="T76" fmla="*/ 4526 w 4954"/>
                <a:gd name="T77" fmla="*/ 1053 h 2799"/>
                <a:gd name="T78" fmla="*/ 4464 w 4954"/>
                <a:gd name="T79" fmla="*/ 897 h 2799"/>
                <a:gd name="T80" fmla="*/ 4444 w 4954"/>
                <a:gd name="T81" fmla="*/ 855 h 2799"/>
                <a:gd name="T82" fmla="*/ 4421 w 4954"/>
                <a:gd name="T83" fmla="*/ 815 h 2799"/>
                <a:gd name="T84" fmla="*/ 4392 w 4954"/>
                <a:gd name="T85" fmla="*/ 780 h 2799"/>
                <a:gd name="T86" fmla="*/ 4359 w 4954"/>
                <a:gd name="T87" fmla="*/ 748 h 2799"/>
                <a:gd name="T88" fmla="*/ 4323 w 4954"/>
                <a:gd name="T89" fmla="*/ 719 h 2799"/>
                <a:gd name="T90" fmla="*/ 4285 w 4954"/>
                <a:gd name="T91" fmla="*/ 694 h 2799"/>
                <a:gd name="T92" fmla="*/ 4244 w 4954"/>
                <a:gd name="T93" fmla="*/ 671 h 2799"/>
                <a:gd name="T94" fmla="*/ 4203 w 4954"/>
                <a:gd name="T95" fmla="*/ 652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54" h="2799">
                  <a:moveTo>
                    <a:pt x="4182" y="642"/>
                  </a:moveTo>
                  <a:lnTo>
                    <a:pt x="3440" y="300"/>
                  </a:lnTo>
                  <a:lnTo>
                    <a:pt x="3083" y="0"/>
                  </a:lnTo>
                  <a:lnTo>
                    <a:pt x="2510" y="570"/>
                  </a:lnTo>
                  <a:lnTo>
                    <a:pt x="2444" y="570"/>
                  </a:lnTo>
                  <a:lnTo>
                    <a:pt x="1871" y="0"/>
                  </a:lnTo>
                  <a:lnTo>
                    <a:pt x="1515" y="300"/>
                  </a:lnTo>
                  <a:lnTo>
                    <a:pt x="772" y="642"/>
                  </a:lnTo>
                  <a:lnTo>
                    <a:pt x="752" y="652"/>
                  </a:lnTo>
                  <a:lnTo>
                    <a:pt x="732" y="661"/>
                  </a:lnTo>
                  <a:lnTo>
                    <a:pt x="712" y="671"/>
                  </a:lnTo>
                  <a:lnTo>
                    <a:pt x="692" y="681"/>
                  </a:lnTo>
                  <a:lnTo>
                    <a:pt x="671" y="693"/>
                  </a:lnTo>
                  <a:lnTo>
                    <a:pt x="652" y="704"/>
                  </a:lnTo>
                  <a:lnTo>
                    <a:pt x="634" y="717"/>
                  </a:lnTo>
                  <a:lnTo>
                    <a:pt x="616" y="731"/>
                  </a:lnTo>
                  <a:lnTo>
                    <a:pt x="599" y="746"/>
                  </a:lnTo>
                  <a:lnTo>
                    <a:pt x="581" y="761"/>
                  </a:lnTo>
                  <a:lnTo>
                    <a:pt x="565" y="778"/>
                  </a:lnTo>
                  <a:lnTo>
                    <a:pt x="550" y="795"/>
                  </a:lnTo>
                  <a:lnTo>
                    <a:pt x="536" y="813"/>
                  </a:lnTo>
                  <a:lnTo>
                    <a:pt x="523" y="833"/>
                  </a:lnTo>
                  <a:lnTo>
                    <a:pt x="511" y="854"/>
                  </a:lnTo>
                  <a:lnTo>
                    <a:pt x="500" y="875"/>
                  </a:lnTo>
                  <a:lnTo>
                    <a:pt x="491" y="897"/>
                  </a:lnTo>
                  <a:lnTo>
                    <a:pt x="466" y="958"/>
                  </a:lnTo>
                  <a:lnTo>
                    <a:pt x="428" y="1053"/>
                  </a:lnTo>
                  <a:lnTo>
                    <a:pt x="380" y="1176"/>
                  </a:lnTo>
                  <a:lnTo>
                    <a:pt x="354" y="1247"/>
                  </a:lnTo>
                  <a:lnTo>
                    <a:pt x="326" y="1321"/>
                  </a:lnTo>
                  <a:lnTo>
                    <a:pt x="298" y="1401"/>
                  </a:lnTo>
                  <a:lnTo>
                    <a:pt x="268" y="1484"/>
                  </a:lnTo>
                  <a:lnTo>
                    <a:pt x="238" y="1570"/>
                  </a:lnTo>
                  <a:lnTo>
                    <a:pt x="209" y="1657"/>
                  </a:lnTo>
                  <a:lnTo>
                    <a:pt x="179" y="1748"/>
                  </a:lnTo>
                  <a:lnTo>
                    <a:pt x="151" y="1838"/>
                  </a:lnTo>
                  <a:lnTo>
                    <a:pt x="125" y="1928"/>
                  </a:lnTo>
                  <a:lnTo>
                    <a:pt x="99" y="2017"/>
                  </a:lnTo>
                  <a:lnTo>
                    <a:pt x="76" y="2105"/>
                  </a:lnTo>
                  <a:lnTo>
                    <a:pt x="55" y="2191"/>
                  </a:lnTo>
                  <a:lnTo>
                    <a:pt x="38" y="2274"/>
                  </a:lnTo>
                  <a:lnTo>
                    <a:pt x="23" y="2353"/>
                  </a:lnTo>
                  <a:lnTo>
                    <a:pt x="12" y="2429"/>
                  </a:lnTo>
                  <a:lnTo>
                    <a:pt x="3" y="2498"/>
                  </a:lnTo>
                  <a:lnTo>
                    <a:pt x="0" y="2563"/>
                  </a:lnTo>
                  <a:lnTo>
                    <a:pt x="2" y="2622"/>
                  </a:lnTo>
                  <a:lnTo>
                    <a:pt x="10" y="2673"/>
                  </a:lnTo>
                  <a:lnTo>
                    <a:pt x="21" y="2716"/>
                  </a:lnTo>
                  <a:lnTo>
                    <a:pt x="39" y="2751"/>
                  </a:lnTo>
                  <a:lnTo>
                    <a:pt x="63" y="2778"/>
                  </a:lnTo>
                  <a:lnTo>
                    <a:pt x="93" y="2794"/>
                  </a:lnTo>
                  <a:lnTo>
                    <a:pt x="131" y="2799"/>
                  </a:lnTo>
                  <a:lnTo>
                    <a:pt x="4824" y="2799"/>
                  </a:lnTo>
                  <a:lnTo>
                    <a:pt x="4862" y="2794"/>
                  </a:lnTo>
                  <a:lnTo>
                    <a:pt x="4892" y="2778"/>
                  </a:lnTo>
                  <a:lnTo>
                    <a:pt x="4916" y="2751"/>
                  </a:lnTo>
                  <a:lnTo>
                    <a:pt x="4933" y="2716"/>
                  </a:lnTo>
                  <a:lnTo>
                    <a:pt x="4946" y="2673"/>
                  </a:lnTo>
                  <a:lnTo>
                    <a:pt x="4953" y="2622"/>
                  </a:lnTo>
                  <a:lnTo>
                    <a:pt x="4954" y="2563"/>
                  </a:lnTo>
                  <a:lnTo>
                    <a:pt x="4951" y="2498"/>
                  </a:lnTo>
                  <a:lnTo>
                    <a:pt x="4944" y="2429"/>
                  </a:lnTo>
                  <a:lnTo>
                    <a:pt x="4932" y="2353"/>
                  </a:lnTo>
                  <a:lnTo>
                    <a:pt x="4917" y="2274"/>
                  </a:lnTo>
                  <a:lnTo>
                    <a:pt x="4899" y="2191"/>
                  </a:lnTo>
                  <a:lnTo>
                    <a:pt x="4879" y="2105"/>
                  </a:lnTo>
                  <a:lnTo>
                    <a:pt x="4856" y="2017"/>
                  </a:lnTo>
                  <a:lnTo>
                    <a:pt x="4830" y="1928"/>
                  </a:lnTo>
                  <a:lnTo>
                    <a:pt x="4803" y="1838"/>
                  </a:lnTo>
                  <a:lnTo>
                    <a:pt x="4775" y="1748"/>
                  </a:lnTo>
                  <a:lnTo>
                    <a:pt x="4746" y="1657"/>
                  </a:lnTo>
                  <a:lnTo>
                    <a:pt x="4716" y="1570"/>
                  </a:lnTo>
                  <a:lnTo>
                    <a:pt x="4687" y="1484"/>
                  </a:lnTo>
                  <a:lnTo>
                    <a:pt x="4658" y="1401"/>
                  </a:lnTo>
                  <a:lnTo>
                    <a:pt x="4628" y="1321"/>
                  </a:lnTo>
                  <a:lnTo>
                    <a:pt x="4600" y="1247"/>
                  </a:lnTo>
                  <a:lnTo>
                    <a:pt x="4574" y="1176"/>
                  </a:lnTo>
                  <a:lnTo>
                    <a:pt x="4526" y="1053"/>
                  </a:lnTo>
                  <a:lnTo>
                    <a:pt x="4489" y="958"/>
                  </a:lnTo>
                  <a:lnTo>
                    <a:pt x="4464" y="897"/>
                  </a:lnTo>
                  <a:lnTo>
                    <a:pt x="4454" y="875"/>
                  </a:lnTo>
                  <a:lnTo>
                    <a:pt x="4444" y="855"/>
                  </a:lnTo>
                  <a:lnTo>
                    <a:pt x="4433" y="835"/>
                  </a:lnTo>
                  <a:lnTo>
                    <a:pt x="4421" y="815"/>
                  </a:lnTo>
                  <a:lnTo>
                    <a:pt x="4407" y="797"/>
                  </a:lnTo>
                  <a:lnTo>
                    <a:pt x="4392" y="780"/>
                  </a:lnTo>
                  <a:lnTo>
                    <a:pt x="4377" y="764"/>
                  </a:lnTo>
                  <a:lnTo>
                    <a:pt x="4359" y="748"/>
                  </a:lnTo>
                  <a:lnTo>
                    <a:pt x="4341" y="732"/>
                  </a:lnTo>
                  <a:lnTo>
                    <a:pt x="4323" y="719"/>
                  </a:lnTo>
                  <a:lnTo>
                    <a:pt x="4304" y="706"/>
                  </a:lnTo>
                  <a:lnTo>
                    <a:pt x="4285" y="694"/>
                  </a:lnTo>
                  <a:lnTo>
                    <a:pt x="4265" y="682"/>
                  </a:lnTo>
                  <a:lnTo>
                    <a:pt x="4244" y="671"/>
                  </a:lnTo>
                  <a:lnTo>
                    <a:pt x="4223" y="661"/>
                  </a:lnTo>
                  <a:lnTo>
                    <a:pt x="4203" y="652"/>
                  </a:lnTo>
                  <a:lnTo>
                    <a:pt x="4182" y="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3966" y="1896"/>
              <a:ext cx="61" cy="73"/>
            </a:xfrm>
            <a:custGeom>
              <a:avLst/>
              <a:gdLst>
                <a:gd name="T0" fmla="*/ 1166 w 2677"/>
                <a:gd name="T1" fmla="*/ 5 h 3213"/>
                <a:gd name="T2" fmla="*/ 932 w 2677"/>
                <a:gd name="T3" fmla="*/ 35 h 3213"/>
                <a:gd name="T4" fmla="*/ 726 w 2677"/>
                <a:gd name="T5" fmla="*/ 90 h 3213"/>
                <a:gd name="T6" fmla="*/ 547 w 2677"/>
                <a:gd name="T7" fmla="*/ 168 h 3213"/>
                <a:gd name="T8" fmla="*/ 395 w 2677"/>
                <a:gd name="T9" fmla="*/ 269 h 3213"/>
                <a:gd name="T10" fmla="*/ 269 w 2677"/>
                <a:gd name="T11" fmla="*/ 392 h 3213"/>
                <a:gd name="T12" fmla="*/ 168 w 2677"/>
                <a:gd name="T13" fmla="*/ 538 h 3213"/>
                <a:gd name="T14" fmla="*/ 92 w 2677"/>
                <a:gd name="T15" fmla="*/ 703 h 3213"/>
                <a:gd name="T16" fmla="*/ 39 w 2677"/>
                <a:gd name="T17" fmla="*/ 889 h 3213"/>
                <a:gd name="T18" fmla="*/ 8 w 2677"/>
                <a:gd name="T19" fmla="*/ 1093 h 3213"/>
                <a:gd name="T20" fmla="*/ 0 w 2677"/>
                <a:gd name="T21" fmla="*/ 1316 h 3213"/>
                <a:gd name="T22" fmla="*/ 20 w 2677"/>
                <a:gd name="T23" fmla="*/ 1638 h 3213"/>
                <a:gd name="T24" fmla="*/ 72 w 2677"/>
                <a:gd name="T25" fmla="*/ 1932 h 3213"/>
                <a:gd name="T26" fmla="*/ 151 w 2677"/>
                <a:gd name="T27" fmla="*/ 2200 h 3213"/>
                <a:gd name="T28" fmla="*/ 255 w 2677"/>
                <a:gd name="T29" fmla="*/ 2438 h 3213"/>
                <a:gd name="T30" fmla="*/ 380 w 2677"/>
                <a:gd name="T31" fmla="*/ 2647 h 3213"/>
                <a:gd name="T32" fmla="*/ 523 w 2677"/>
                <a:gd name="T33" fmla="*/ 2825 h 3213"/>
                <a:gd name="T34" fmla="*/ 681 w 2677"/>
                <a:gd name="T35" fmla="*/ 2971 h 3213"/>
                <a:gd name="T36" fmla="*/ 852 w 2677"/>
                <a:gd name="T37" fmla="*/ 3083 h 3213"/>
                <a:gd name="T38" fmla="*/ 1030 w 2677"/>
                <a:gd name="T39" fmla="*/ 3161 h 3213"/>
                <a:gd name="T40" fmla="*/ 1214 w 2677"/>
                <a:gd name="T41" fmla="*/ 3205 h 3213"/>
                <a:gd name="T42" fmla="*/ 1392 w 2677"/>
                <a:gd name="T43" fmla="*/ 3211 h 3213"/>
                <a:gd name="T44" fmla="*/ 1557 w 2677"/>
                <a:gd name="T45" fmla="*/ 3179 h 3213"/>
                <a:gd name="T46" fmla="*/ 1728 w 2677"/>
                <a:gd name="T47" fmla="*/ 3113 h 3213"/>
                <a:gd name="T48" fmla="*/ 1897 w 2677"/>
                <a:gd name="T49" fmla="*/ 3012 h 3213"/>
                <a:gd name="T50" fmla="*/ 2061 w 2677"/>
                <a:gd name="T51" fmla="*/ 2877 h 3213"/>
                <a:gd name="T52" fmla="*/ 2215 w 2677"/>
                <a:gd name="T53" fmla="*/ 2710 h 3213"/>
                <a:gd name="T54" fmla="*/ 2355 w 2677"/>
                <a:gd name="T55" fmla="*/ 2511 h 3213"/>
                <a:gd name="T56" fmla="*/ 2475 w 2677"/>
                <a:gd name="T57" fmla="*/ 2283 h 3213"/>
                <a:gd name="T58" fmla="*/ 2571 w 2677"/>
                <a:gd name="T59" fmla="*/ 2025 h 3213"/>
                <a:gd name="T60" fmla="*/ 2638 w 2677"/>
                <a:gd name="T61" fmla="*/ 1739 h 3213"/>
                <a:gd name="T62" fmla="*/ 2673 w 2677"/>
                <a:gd name="T63" fmla="*/ 1426 h 3213"/>
                <a:gd name="T64" fmla="*/ 2673 w 2677"/>
                <a:gd name="T65" fmla="*/ 1165 h 3213"/>
                <a:gd name="T66" fmla="*/ 2651 w 2677"/>
                <a:gd name="T67" fmla="*/ 955 h 3213"/>
                <a:gd name="T68" fmla="*/ 2605 w 2677"/>
                <a:gd name="T69" fmla="*/ 763 h 3213"/>
                <a:gd name="T70" fmla="*/ 2536 w 2677"/>
                <a:gd name="T71" fmla="*/ 591 h 3213"/>
                <a:gd name="T72" fmla="*/ 2443 w 2677"/>
                <a:gd name="T73" fmla="*/ 439 h 3213"/>
                <a:gd name="T74" fmla="*/ 2326 w 2677"/>
                <a:gd name="T75" fmla="*/ 307 h 3213"/>
                <a:gd name="T76" fmla="*/ 2184 w 2677"/>
                <a:gd name="T77" fmla="*/ 199 h 3213"/>
                <a:gd name="T78" fmla="*/ 2014 w 2677"/>
                <a:gd name="T79" fmla="*/ 113 h 3213"/>
                <a:gd name="T80" fmla="*/ 1817 w 2677"/>
                <a:gd name="T81" fmla="*/ 50 h 3213"/>
                <a:gd name="T82" fmla="*/ 1592 w 2677"/>
                <a:gd name="T83" fmla="*/ 12 h 3213"/>
                <a:gd name="T84" fmla="*/ 1338 w 2677"/>
                <a:gd name="T85" fmla="*/ 0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7" h="3213">
                  <a:moveTo>
                    <a:pt x="1338" y="0"/>
                  </a:moveTo>
                  <a:lnTo>
                    <a:pt x="1250" y="1"/>
                  </a:lnTo>
                  <a:lnTo>
                    <a:pt x="1166" y="5"/>
                  </a:lnTo>
                  <a:lnTo>
                    <a:pt x="1084" y="12"/>
                  </a:lnTo>
                  <a:lnTo>
                    <a:pt x="1007" y="22"/>
                  </a:lnTo>
                  <a:lnTo>
                    <a:pt x="932" y="35"/>
                  </a:lnTo>
                  <a:lnTo>
                    <a:pt x="859" y="50"/>
                  </a:lnTo>
                  <a:lnTo>
                    <a:pt x="790" y="68"/>
                  </a:lnTo>
                  <a:lnTo>
                    <a:pt x="726" y="90"/>
                  </a:lnTo>
                  <a:lnTo>
                    <a:pt x="663" y="113"/>
                  </a:lnTo>
                  <a:lnTo>
                    <a:pt x="603" y="139"/>
                  </a:lnTo>
                  <a:lnTo>
                    <a:pt x="547" y="168"/>
                  </a:lnTo>
                  <a:lnTo>
                    <a:pt x="493" y="199"/>
                  </a:lnTo>
                  <a:lnTo>
                    <a:pt x="443" y="232"/>
                  </a:lnTo>
                  <a:lnTo>
                    <a:pt x="395" y="269"/>
                  </a:lnTo>
                  <a:lnTo>
                    <a:pt x="350" y="307"/>
                  </a:lnTo>
                  <a:lnTo>
                    <a:pt x="308" y="349"/>
                  </a:lnTo>
                  <a:lnTo>
                    <a:pt x="269" y="392"/>
                  </a:lnTo>
                  <a:lnTo>
                    <a:pt x="233" y="439"/>
                  </a:lnTo>
                  <a:lnTo>
                    <a:pt x="199" y="486"/>
                  </a:lnTo>
                  <a:lnTo>
                    <a:pt x="168" y="538"/>
                  </a:lnTo>
                  <a:lnTo>
                    <a:pt x="140" y="591"/>
                  </a:lnTo>
                  <a:lnTo>
                    <a:pt x="114" y="646"/>
                  </a:lnTo>
                  <a:lnTo>
                    <a:pt x="92" y="703"/>
                  </a:lnTo>
                  <a:lnTo>
                    <a:pt x="71" y="763"/>
                  </a:lnTo>
                  <a:lnTo>
                    <a:pt x="54" y="825"/>
                  </a:lnTo>
                  <a:lnTo>
                    <a:pt x="39" y="889"/>
                  </a:lnTo>
                  <a:lnTo>
                    <a:pt x="26" y="955"/>
                  </a:lnTo>
                  <a:lnTo>
                    <a:pt x="16" y="1024"/>
                  </a:lnTo>
                  <a:lnTo>
                    <a:pt x="8" y="1093"/>
                  </a:lnTo>
                  <a:lnTo>
                    <a:pt x="3" y="1165"/>
                  </a:lnTo>
                  <a:lnTo>
                    <a:pt x="0" y="1240"/>
                  </a:lnTo>
                  <a:lnTo>
                    <a:pt x="0" y="1316"/>
                  </a:lnTo>
                  <a:lnTo>
                    <a:pt x="3" y="1426"/>
                  </a:lnTo>
                  <a:lnTo>
                    <a:pt x="10" y="1534"/>
                  </a:lnTo>
                  <a:lnTo>
                    <a:pt x="20" y="1638"/>
                  </a:lnTo>
                  <a:lnTo>
                    <a:pt x="35" y="1739"/>
                  </a:lnTo>
                  <a:lnTo>
                    <a:pt x="52" y="1837"/>
                  </a:lnTo>
                  <a:lnTo>
                    <a:pt x="72" y="1932"/>
                  </a:lnTo>
                  <a:lnTo>
                    <a:pt x="95" y="2025"/>
                  </a:lnTo>
                  <a:lnTo>
                    <a:pt x="121" y="2114"/>
                  </a:lnTo>
                  <a:lnTo>
                    <a:pt x="151" y="2200"/>
                  </a:lnTo>
                  <a:lnTo>
                    <a:pt x="183" y="2283"/>
                  </a:lnTo>
                  <a:lnTo>
                    <a:pt x="217" y="2362"/>
                  </a:lnTo>
                  <a:lnTo>
                    <a:pt x="255" y="2438"/>
                  </a:lnTo>
                  <a:lnTo>
                    <a:pt x="294" y="2511"/>
                  </a:lnTo>
                  <a:lnTo>
                    <a:pt x="336" y="2581"/>
                  </a:lnTo>
                  <a:lnTo>
                    <a:pt x="380" y="2647"/>
                  </a:lnTo>
                  <a:lnTo>
                    <a:pt x="426" y="2710"/>
                  </a:lnTo>
                  <a:lnTo>
                    <a:pt x="473" y="2769"/>
                  </a:lnTo>
                  <a:lnTo>
                    <a:pt x="523" y="2825"/>
                  </a:lnTo>
                  <a:lnTo>
                    <a:pt x="574" y="2877"/>
                  </a:lnTo>
                  <a:lnTo>
                    <a:pt x="627" y="2925"/>
                  </a:lnTo>
                  <a:lnTo>
                    <a:pt x="681" y="2971"/>
                  </a:lnTo>
                  <a:lnTo>
                    <a:pt x="737" y="3012"/>
                  </a:lnTo>
                  <a:lnTo>
                    <a:pt x="793" y="3050"/>
                  </a:lnTo>
                  <a:lnTo>
                    <a:pt x="852" y="3083"/>
                  </a:lnTo>
                  <a:lnTo>
                    <a:pt x="911" y="3113"/>
                  </a:lnTo>
                  <a:lnTo>
                    <a:pt x="970" y="3139"/>
                  </a:lnTo>
                  <a:lnTo>
                    <a:pt x="1030" y="3161"/>
                  </a:lnTo>
                  <a:lnTo>
                    <a:pt x="1091" y="3179"/>
                  </a:lnTo>
                  <a:lnTo>
                    <a:pt x="1152" y="3193"/>
                  </a:lnTo>
                  <a:lnTo>
                    <a:pt x="1214" y="3205"/>
                  </a:lnTo>
                  <a:lnTo>
                    <a:pt x="1276" y="3211"/>
                  </a:lnTo>
                  <a:lnTo>
                    <a:pt x="1338" y="3213"/>
                  </a:lnTo>
                  <a:lnTo>
                    <a:pt x="1392" y="3211"/>
                  </a:lnTo>
                  <a:lnTo>
                    <a:pt x="1446" y="3205"/>
                  </a:lnTo>
                  <a:lnTo>
                    <a:pt x="1502" y="3193"/>
                  </a:lnTo>
                  <a:lnTo>
                    <a:pt x="1557" y="3179"/>
                  </a:lnTo>
                  <a:lnTo>
                    <a:pt x="1614" y="3161"/>
                  </a:lnTo>
                  <a:lnTo>
                    <a:pt x="1670" y="3139"/>
                  </a:lnTo>
                  <a:lnTo>
                    <a:pt x="1728" y="3113"/>
                  </a:lnTo>
                  <a:lnTo>
                    <a:pt x="1785" y="3083"/>
                  </a:lnTo>
                  <a:lnTo>
                    <a:pt x="1841" y="3050"/>
                  </a:lnTo>
                  <a:lnTo>
                    <a:pt x="1897" y="3012"/>
                  </a:lnTo>
                  <a:lnTo>
                    <a:pt x="1952" y="2971"/>
                  </a:lnTo>
                  <a:lnTo>
                    <a:pt x="2007" y="2925"/>
                  </a:lnTo>
                  <a:lnTo>
                    <a:pt x="2061" y="2877"/>
                  </a:lnTo>
                  <a:lnTo>
                    <a:pt x="2113" y="2825"/>
                  </a:lnTo>
                  <a:lnTo>
                    <a:pt x="2165" y="2769"/>
                  </a:lnTo>
                  <a:lnTo>
                    <a:pt x="2215" y="2710"/>
                  </a:lnTo>
                  <a:lnTo>
                    <a:pt x="2264" y="2647"/>
                  </a:lnTo>
                  <a:lnTo>
                    <a:pt x="2310" y="2581"/>
                  </a:lnTo>
                  <a:lnTo>
                    <a:pt x="2355" y="2511"/>
                  </a:lnTo>
                  <a:lnTo>
                    <a:pt x="2397" y="2438"/>
                  </a:lnTo>
                  <a:lnTo>
                    <a:pt x="2436" y="2362"/>
                  </a:lnTo>
                  <a:lnTo>
                    <a:pt x="2475" y="2283"/>
                  </a:lnTo>
                  <a:lnTo>
                    <a:pt x="2509" y="2200"/>
                  </a:lnTo>
                  <a:lnTo>
                    <a:pt x="2541" y="2114"/>
                  </a:lnTo>
                  <a:lnTo>
                    <a:pt x="2571" y="2025"/>
                  </a:lnTo>
                  <a:lnTo>
                    <a:pt x="2597" y="1932"/>
                  </a:lnTo>
                  <a:lnTo>
                    <a:pt x="2619" y="1837"/>
                  </a:lnTo>
                  <a:lnTo>
                    <a:pt x="2638" y="1739"/>
                  </a:lnTo>
                  <a:lnTo>
                    <a:pt x="2654" y="1638"/>
                  </a:lnTo>
                  <a:lnTo>
                    <a:pt x="2666" y="1534"/>
                  </a:lnTo>
                  <a:lnTo>
                    <a:pt x="2673" y="1426"/>
                  </a:lnTo>
                  <a:lnTo>
                    <a:pt x="2677" y="1316"/>
                  </a:lnTo>
                  <a:lnTo>
                    <a:pt x="2676" y="1240"/>
                  </a:lnTo>
                  <a:lnTo>
                    <a:pt x="2673" y="1165"/>
                  </a:lnTo>
                  <a:lnTo>
                    <a:pt x="2668" y="1093"/>
                  </a:lnTo>
                  <a:lnTo>
                    <a:pt x="2661" y="1024"/>
                  </a:lnTo>
                  <a:lnTo>
                    <a:pt x="2651" y="955"/>
                  </a:lnTo>
                  <a:lnTo>
                    <a:pt x="2637" y="889"/>
                  </a:lnTo>
                  <a:lnTo>
                    <a:pt x="2622" y="825"/>
                  </a:lnTo>
                  <a:lnTo>
                    <a:pt x="2605" y="763"/>
                  </a:lnTo>
                  <a:lnTo>
                    <a:pt x="2585" y="703"/>
                  </a:lnTo>
                  <a:lnTo>
                    <a:pt x="2562" y="646"/>
                  </a:lnTo>
                  <a:lnTo>
                    <a:pt x="2536" y="591"/>
                  </a:lnTo>
                  <a:lnTo>
                    <a:pt x="2508" y="538"/>
                  </a:lnTo>
                  <a:lnTo>
                    <a:pt x="2478" y="486"/>
                  </a:lnTo>
                  <a:lnTo>
                    <a:pt x="2443" y="439"/>
                  </a:lnTo>
                  <a:lnTo>
                    <a:pt x="2407" y="392"/>
                  </a:lnTo>
                  <a:lnTo>
                    <a:pt x="2369" y="349"/>
                  </a:lnTo>
                  <a:lnTo>
                    <a:pt x="2326" y="307"/>
                  </a:lnTo>
                  <a:lnTo>
                    <a:pt x="2282" y="269"/>
                  </a:lnTo>
                  <a:lnTo>
                    <a:pt x="2234" y="232"/>
                  </a:lnTo>
                  <a:lnTo>
                    <a:pt x="2184" y="199"/>
                  </a:lnTo>
                  <a:lnTo>
                    <a:pt x="2130" y="168"/>
                  </a:lnTo>
                  <a:lnTo>
                    <a:pt x="2074" y="139"/>
                  </a:lnTo>
                  <a:lnTo>
                    <a:pt x="2014" y="113"/>
                  </a:lnTo>
                  <a:lnTo>
                    <a:pt x="1951" y="90"/>
                  </a:lnTo>
                  <a:lnTo>
                    <a:pt x="1886" y="68"/>
                  </a:lnTo>
                  <a:lnTo>
                    <a:pt x="1817" y="50"/>
                  </a:lnTo>
                  <a:lnTo>
                    <a:pt x="1745" y="35"/>
                  </a:lnTo>
                  <a:lnTo>
                    <a:pt x="1670" y="22"/>
                  </a:lnTo>
                  <a:lnTo>
                    <a:pt x="1592" y="12"/>
                  </a:lnTo>
                  <a:lnTo>
                    <a:pt x="1511" y="5"/>
                  </a:lnTo>
                  <a:lnTo>
                    <a:pt x="1426" y="1"/>
                  </a:lnTo>
                  <a:lnTo>
                    <a:pt x="13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4066" y="1965"/>
              <a:ext cx="112" cy="64"/>
            </a:xfrm>
            <a:custGeom>
              <a:avLst/>
              <a:gdLst>
                <a:gd name="T0" fmla="*/ 3439 w 4954"/>
                <a:gd name="T1" fmla="*/ 300 h 2799"/>
                <a:gd name="T2" fmla="*/ 2510 w 4954"/>
                <a:gd name="T3" fmla="*/ 570 h 2799"/>
                <a:gd name="T4" fmla="*/ 1871 w 4954"/>
                <a:gd name="T5" fmla="*/ 0 h 2799"/>
                <a:gd name="T6" fmla="*/ 772 w 4954"/>
                <a:gd name="T7" fmla="*/ 642 h 2799"/>
                <a:gd name="T8" fmla="*/ 731 w 4954"/>
                <a:gd name="T9" fmla="*/ 661 h 2799"/>
                <a:gd name="T10" fmla="*/ 691 w 4954"/>
                <a:gd name="T11" fmla="*/ 681 h 2799"/>
                <a:gd name="T12" fmla="*/ 652 w 4954"/>
                <a:gd name="T13" fmla="*/ 704 h 2799"/>
                <a:gd name="T14" fmla="*/ 615 w 4954"/>
                <a:gd name="T15" fmla="*/ 731 h 2799"/>
                <a:gd name="T16" fmla="*/ 581 w 4954"/>
                <a:gd name="T17" fmla="*/ 761 h 2799"/>
                <a:gd name="T18" fmla="*/ 550 w 4954"/>
                <a:gd name="T19" fmla="*/ 795 h 2799"/>
                <a:gd name="T20" fmla="*/ 523 w 4954"/>
                <a:gd name="T21" fmla="*/ 833 h 2799"/>
                <a:gd name="T22" fmla="*/ 500 w 4954"/>
                <a:gd name="T23" fmla="*/ 875 h 2799"/>
                <a:gd name="T24" fmla="*/ 465 w 4954"/>
                <a:gd name="T25" fmla="*/ 958 h 2799"/>
                <a:gd name="T26" fmla="*/ 380 w 4954"/>
                <a:gd name="T27" fmla="*/ 1176 h 2799"/>
                <a:gd name="T28" fmla="*/ 326 w 4954"/>
                <a:gd name="T29" fmla="*/ 1321 h 2799"/>
                <a:gd name="T30" fmla="*/ 267 w 4954"/>
                <a:gd name="T31" fmla="*/ 1484 h 2799"/>
                <a:gd name="T32" fmla="*/ 208 w 4954"/>
                <a:gd name="T33" fmla="*/ 1657 h 2799"/>
                <a:gd name="T34" fmla="*/ 151 w 4954"/>
                <a:gd name="T35" fmla="*/ 1838 h 2799"/>
                <a:gd name="T36" fmla="*/ 98 w 4954"/>
                <a:gd name="T37" fmla="*/ 2017 h 2799"/>
                <a:gd name="T38" fmla="*/ 55 w 4954"/>
                <a:gd name="T39" fmla="*/ 2191 h 2799"/>
                <a:gd name="T40" fmla="*/ 22 w 4954"/>
                <a:gd name="T41" fmla="*/ 2353 h 2799"/>
                <a:gd name="T42" fmla="*/ 3 w 4954"/>
                <a:gd name="T43" fmla="*/ 2498 h 2799"/>
                <a:gd name="T44" fmla="*/ 2 w 4954"/>
                <a:gd name="T45" fmla="*/ 2622 h 2799"/>
                <a:gd name="T46" fmla="*/ 21 w 4954"/>
                <a:gd name="T47" fmla="*/ 2716 h 2799"/>
                <a:gd name="T48" fmla="*/ 62 w 4954"/>
                <a:gd name="T49" fmla="*/ 2778 h 2799"/>
                <a:gd name="T50" fmla="*/ 131 w 4954"/>
                <a:gd name="T51" fmla="*/ 2799 h 2799"/>
                <a:gd name="T52" fmla="*/ 4861 w 4954"/>
                <a:gd name="T53" fmla="*/ 2794 h 2799"/>
                <a:gd name="T54" fmla="*/ 4915 w 4954"/>
                <a:gd name="T55" fmla="*/ 2751 h 2799"/>
                <a:gd name="T56" fmla="*/ 4945 w 4954"/>
                <a:gd name="T57" fmla="*/ 2673 h 2799"/>
                <a:gd name="T58" fmla="*/ 4954 w 4954"/>
                <a:gd name="T59" fmla="*/ 2563 h 2799"/>
                <a:gd name="T60" fmla="*/ 4942 w 4954"/>
                <a:gd name="T61" fmla="*/ 2429 h 2799"/>
                <a:gd name="T62" fmla="*/ 4917 w 4954"/>
                <a:gd name="T63" fmla="*/ 2274 h 2799"/>
                <a:gd name="T64" fmla="*/ 4878 w 4954"/>
                <a:gd name="T65" fmla="*/ 2105 h 2799"/>
                <a:gd name="T66" fmla="*/ 4829 w 4954"/>
                <a:gd name="T67" fmla="*/ 1928 h 2799"/>
                <a:gd name="T68" fmla="*/ 4775 w 4954"/>
                <a:gd name="T69" fmla="*/ 1748 h 2799"/>
                <a:gd name="T70" fmla="*/ 4716 w 4954"/>
                <a:gd name="T71" fmla="*/ 1570 h 2799"/>
                <a:gd name="T72" fmla="*/ 4656 w 4954"/>
                <a:gd name="T73" fmla="*/ 1401 h 2799"/>
                <a:gd name="T74" fmla="*/ 4600 w 4954"/>
                <a:gd name="T75" fmla="*/ 1247 h 2799"/>
                <a:gd name="T76" fmla="*/ 4526 w 4954"/>
                <a:gd name="T77" fmla="*/ 1053 h 2799"/>
                <a:gd name="T78" fmla="*/ 4463 w 4954"/>
                <a:gd name="T79" fmla="*/ 897 h 2799"/>
                <a:gd name="T80" fmla="*/ 4444 w 4954"/>
                <a:gd name="T81" fmla="*/ 855 h 2799"/>
                <a:gd name="T82" fmla="*/ 4421 w 4954"/>
                <a:gd name="T83" fmla="*/ 815 h 2799"/>
                <a:gd name="T84" fmla="*/ 4392 w 4954"/>
                <a:gd name="T85" fmla="*/ 780 h 2799"/>
                <a:gd name="T86" fmla="*/ 4358 w 4954"/>
                <a:gd name="T87" fmla="*/ 748 h 2799"/>
                <a:gd name="T88" fmla="*/ 4322 w 4954"/>
                <a:gd name="T89" fmla="*/ 719 h 2799"/>
                <a:gd name="T90" fmla="*/ 4284 w 4954"/>
                <a:gd name="T91" fmla="*/ 694 h 2799"/>
                <a:gd name="T92" fmla="*/ 4243 w 4954"/>
                <a:gd name="T93" fmla="*/ 671 h 2799"/>
                <a:gd name="T94" fmla="*/ 4202 w 4954"/>
                <a:gd name="T95" fmla="*/ 652 h 27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954" h="2799">
                  <a:moveTo>
                    <a:pt x="4182" y="642"/>
                  </a:moveTo>
                  <a:lnTo>
                    <a:pt x="3439" y="300"/>
                  </a:lnTo>
                  <a:lnTo>
                    <a:pt x="3083" y="0"/>
                  </a:lnTo>
                  <a:lnTo>
                    <a:pt x="2510" y="570"/>
                  </a:lnTo>
                  <a:lnTo>
                    <a:pt x="2444" y="570"/>
                  </a:lnTo>
                  <a:lnTo>
                    <a:pt x="1871" y="0"/>
                  </a:lnTo>
                  <a:lnTo>
                    <a:pt x="1514" y="300"/>
                  </a:lnTo>
                  <a:lnTo>
                    <a:pt x="772" y="642"/>
                  </a:lnTo>
                  <a:lnTo>
                    <a:pt x="751" y="652"/>
                  </a:lnTo>
                  <a:lnTo>
                    <a:pt x="731" y="661"/>
                  </a:lnTo>
                  <a:lnTo>
                    <a:pt x="711" y="671"/>
                  </a:lnTo>
                  <a:lnTo>
                    <a:pt x="691" y="681"/>
                  </a:lnTo>
                  <a:lnTo>
                    <a:pt x="671" y="693"/>
                  </a:lnTo>
                  <a:lnTo>
                    <a:pt x="652" y="704"/>
                  </a:lnTo>
                  <a:lnTo>
                    <a:pt x="633" y="717"/>
                  </a:lnTo>
                  <a:lnTo>
                    <a:pt x="615" y="731"/>
                  </a:lnTo>
                  <a:lnTo>
                    <a:pt x="598" y="746"/>
                  </a:lnTo>
                  <a:lnTo>
                    <a:pt x="581" y="761"/>
                  </a:lnTo>
                  <a:lnTo>
                    <a:pt x="565" y="778"/>
                  </a:lnTo>
                  <a:lnTo>
                    <a:pt x="550" y="795"/>
                  </a:lnTo>
                  <a:lnTo>
                    <a:pt x="536" y="813"/>
                  </a:lnTo>
                  <a:lnTo>
                    <a:pt x="523" y="833"/>
                  </a:lnTo>
                  <a:lnTo>
                    <a:pt x="511" y="854"/>
                  </a:lnTo>
                  <a:lnTo>
                    <a:pt x="500" y="875"/>
                  </a:lnTo>
                  <a:lnTo>
                    <a:pt x="490" y="897"/>
                  </a:lnTo>
                  <a:lnTo>
                    <a:pt x="465" y="958"/>
                  </a:lnTo>
                  <a:lnTo>
                    <a:pt x="428" y="1053"/>
                  </a:lnTo>
                  <a:lnTo>
                    <a:pt x="380" y="1176"/>
                  </a:lnTo>
                  <a:lnTo>
                    <a:pt x="354" y="1247"/>
                  </a:lnTo>
                  <a:lnTo>
                    <a:pt x="326" y="1321"/>
                  </a:lnTo>
                  <a:lnTo>
                    <a:pt x="296" y="1401"/>
                  </a:lnTo>
                  <a:lnTo>
                    <a:pt x="267" y="1484"/>
                  </a:lnTo>
                  <a:lnTo>
                    <a:pt x="238" y="1570"/>
                  </a:lnTo>
                  <a:lnTo>
                    <a:pt x="208" y="1657"/>
                  </a:lnTo>
                  <a:lnTo>
                    <a:pt x="179" y="1748"/>
                  </a:lnTo>
                  <a:lnTo>
                    <a:pt x="151" y="1838"/>
                  </a:lnTo>
                  <a:lnTo>
                    <a:pt x="124" y="1928"/>
                  </a:lnTo>
                  <a:lnTo>
                    <a:pt x="98" y="2017"/>
                  </a:lnTo>
                  <a:lnTo>
                    <a:pt x="75" y="2105"/>
                  </a:lnTo>
                  <a:lnTo>
                    <a:pt x="55" y="2191"/>
                  </a:lnTo>
                  <a:lnTo>
                    <a:pt x="37" y="2274"/>
                  </a:lnTo>
                  <a:lnTo>
                    <a:pt x="22" y="2353"/>
                  </a:lnTo>
                  <a:lnTo>
                    <a:pt x="10" y="2429"/>
                  </a:lnTo>
                  <a:lnTo>
                    <a:pt x="3" y="2498"/>
                  </a:lnTo>
                  <a:lnTo>
                    <a:pt x="0" y="2563"/>
                  </a:lnTo>
                  <a:lnTo>
                    <a:pt x="2" y="2622"/>
                  </a:lnTo>
                  <a:lnTo>
                    <a:pt x="8" y="2673"/>
                  </a:lnTo>
                  <a:lnTo>
                    <a:pt x="21" y="2716"/>
                  </a:lnTo>
                  <a:lnTo>
                    <a:pt x="39" y="2751"/>
                  </a:lnTo>
                  <a:lnTo>
                    <a:pt x="62" y="2778"/>
                  </a:lnTo>
                  <a:lnTo>
                    <a:pt x="93" y="2794"/>
                  </a:lnTo>
                  <a:lnTo>
                    <a:pt x="131" y="2799"/>
                  </a:lnTo>
                  <a:lnTo>
                    <a:pt x="4823" y="2799"/>
                  </a:lnTo>
                  <a:lnTo>
                    <a:pt x="4861" y="2794"/>
                  </a:lnTo>
                  <a:lnTo>
                    <a:pt x="4891" y="2778"/>
                  </a:lnTo>
                  <a:lnTo>
                    <a:pt x="4915" y="2751"/>
                  </a:lnTo>
                  <a:lnTo>
                    <a:pt x="4933" y="2716"/>
                  </a:lnTo>
                  <a:lnTo>
                    <a:pt x="4945" y="2673"/>
                  </a:lnTo>
                  <a:lnTo>
                    <a:pt x="4952" y="2622"/>
                  </a:lnTo>
                  <a:lnTo>
                    <a:pt x="4954" y="2563"/>
                  </a:lnTo>
                  <a:lnTo>
                    <a:pt x="4951" y="2498"/>
                  </a:lnTo>
                  <a:lnTo>
                    <a:pt x="4942" y="2429"/>
                  </a:lnTo>
                  <a:lnTo>
                    <a:pt x="4931" y="2353"/>
                  </a:lnTo>
                  <a:lnTo>
                    <a:pt x="4917" y="2274"/>
                  </a:lnTo>
                  <a:lnTo>
                    <a:pt x="4899" y="2191"/>
                  </a:lnTo>
                  <a:lnTo>
                    <a:pt x="4878" y="2105"/>
                  </a:lnTo>
                  <a:lnTo>
                    <a:pt x="4855" y="2017"/>
                  </a:lnTo>
                  <a:lnTo>
                    <a:pt x="4829" y="1928"/>
                  </a:lnTo>
                  <a:lnTo>
                    <a:pt x="4803" y="1838"/>
                  </a:lnTo>
                  <a:lnTo>
                    <a:pt x="4775" y="1748"/>
                  </a:lnTo>
                  <a:lnTo>
                    <a:pt x="4745" y="1657"/>
                  </a:lnTo>
                  <a:lnTo>
                    <a:pt x="4716" y="1570"/>
                  </a:lnTo>
                  <a:lnTo>
                    <a:pt x="4686" y="1484"/>
                  </a:lnTo>
                  <a:lnTo>
                    <a:pt x="4656" y="1401"/>
                  </a:lnTo>
                  <a:lnTo>
                    <a:pt x="4628" y="1321"/>
                  </a:lnTo>
                  <a:lnTo>
                    <a:pt x="4600" y="1247"/>
                  </a:lnTo>
                  <a:lnTo>
                    <a:pt x="4574" y="1176"/>
                  </a:lnTo>
                  <a:lnTo>
                    <a:pt x="4526" y="1053"/>
                  </a:lnTo>
                  <a:lnTo>
                    <a:pt x="4488" y="958"/>
                  </a:lnTo>
                  <a:lnTo>
                    <a:pt x="4463" y="897"/>
                  </a:lnTo>
                  <a:lnTo>
                    <a:pt x="4454" y="875"/>
                  </a:lnTo>
                  <a:lnTo>
                    <a:pt x="4444" y="855"/>
                  </a:lnTo>
                  <a:lnTo>
                    <a:pt x="4433" y="835"/>
                  </a:lnTo>
                  <a:lnTo>
                    <a:pt x="4421" y="815"/>
                  </a:lnTo>
                  <a:lnTo>
                    <a:pt x="4407" y="797"/>
                  </a:lnTo>
                  <a:lnTo>
                    <a:pt x="4392" y="780"/>
                  </a:lnTo>
                  <a:lnTo>
                    <a:pt x="4376" y="764"/>
                  </a:lnTo>
                  <a:lnTo>
                    <a:pt x="4358" y="748"/>
                  </a:lnTo>
                  <a:lnTo>
                    <a:pt x="4341" y="732"/>
                  </a:lnTo>
                  <a:lnTo>
                    <a:pt x="4322" y="719"/>
                  </a:lnTo>
                  <a:lnTo>
                    <a:pt x="4304" y="706"/>
                  </a:lnTo>
                  <a:lnTo>
                    <a:pt x="4284" y="694"/>
                  </a:lnTo>
                  <a:lnTo>
                    <a:pt x="4263" y="682"/>
                  </a:lnTo>
                  <a:lnTo>
                    <a:pt x="4243" y="671"/>
                  </a:lnTo>
                  <a:lnTo>
                    <a:pt x="4223" y="661"/>
                  </a:lnTo>
                  <a:lnTo>
                    <a:pt x="4202" y="652"/>
                  </a:lnTo>
                  <a:lnTo>
                    <a:pt x="4182" y="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4092" y="1896"/>
              <a:ext cx="61" cy="73"/>
            </a:xfrm>
            <a:custGeom>
              <a:avLst/>
              <a:gdLst>
                <a:gd name="T0" fmla="*/ 1447 w 2677"/>
                <a:gd name="T1" fmla="*/ 3205 h 3213"/>
                <a:gd name="T2" fmla="*/ 1615 w 2677"/>
                <a:gd name="T3" fmla="*/ 3162 h 3213"/>
                <a:gd name="T4" fmla="*/ 1785 w 2677"/>
                <a:gd name="T5" fmla="*/ 3083 h 3213"/>
                <a:gd name="T6" fmla="*/ 1952 w 2677"/>
                <a:gd name="T7" fmla="*/ 2971 h 3213"/>
                <a:gd name="T8" fmla="*/ 2114 w 2677"/>
                <a:gd name="T9" fmla="*/ 2825 h 3213"/>
                <a:gd name="T10" fmla="*/ 2264 w 2677"/>
                <a:gd name="T11" fmla="*/ 2647 h 3213"/>
                <a:gd name="T12" fmla="*/ 2397 w 2677"/>
                <a:gd name="T13" fmla="*/ 2438 h 3213"/>
                <a:gd name="T14" fmla="*/ 2510 w 2677"/>
                <a:gd name="T15" fmla="*/ 2200 h 3213"/>
                <a:gd name="T16" fmla="*/ 2597 w 2677"/>
                <a:gd name="T17" fmla="*/ 1932 h 3213"/>
                <a:gd name="T18" fmla="*/ 2655 w 2677"/>
                <a:gd name="T19" fmla="*/ 1638 h 3213"/>
                <a:gd name="T20" fmla="*/ 2677 w 2677"/>
                <a:gd name="T21" fmla="*/ 1316 h 3213"/>
                <a:gd name="T22" fmla="*/ 2669 w 2677"/>
                <a:gd name="T23" fmla="*/ 1093 h 3213"/>
                <a:gd name="T24" fmla="*/ 2638 w 2677"/>
                <a:gd name="T25" fmla="*/ 889 h 3213"/>
                <a:gd name="T26" fmla="*/ 2586 w 2677"/>
                <a:gd name="T27" fmla="*/ 703 h 3213"/>
                <a:gd name="T28" fmla="*/ 2509 w 2677"/>
                <a:gd name="T29" fmla="*/ 538 h 3213"/>
                <a:gd name="T30" fmla="*/ 2408 w 2677"/>
                <a:gd name="T31" fmla="*/ 392 h 3213"/>
                <a:gd name="T32" fmla="*/ 2282 w 2677"/>
                <a:gd name="T33" fmla="*/ 269 h 3213"/>
                <a:gd name="T34" fmla="*/ 2130 w 2677"/>
                <a:gd name="T35" fmla="*/ 168 h 3213"/>
                <a:gd name="T36" fmla="*/ 1951 w 2677"/>
                <a:gd name="T37" fmla="*/ 90 h 3213"/>
                <a:gd name="T38" fmla="*/ 1746 w 2677"/>
                <a:gd name="T39" fmla="*/ 35 h 3213"/>
                <a:gd name="T40" fmla="*/ 1511 w 2677"/>
                <a:gd name="T41" fmla="*/ 5 h 3213"/>
                <a:gd name="T42" fmla="*/ 1251 w 2677"/>
                <a:gd name="T43" fmla="*/ 1 h 3213"/>
                <a:gd name="T44" fmla="*/ 1007 w 2677"/>
                <a:gd name="T45" fmla="*/ 22 h 3213"/>
                <a:gd name="T46" fmla="*/ 791 w 2677"/>
                <a:gd name="T47" fmla="*/ 68 h 3213"/>
                <a:gd name="T48" fmla="*/ 603 w 2677"/>
                <a:gd name="T49" fmla="*/ 139 h 3213"/>
                <a:gd name="T50" fmla="*/ 443 w 2677"/>
                <a:gd name="T51" fmla="*/ 232 h 3213"/>
                <a:gd name="T52" fmla="*/ 308 w 2677"/>
                <a:gd name="T53" fmla="*/ 349 h 3213"/>
                <a:gd name="T54" fmla="*/ 199 w 2677"/>
                <a:gd name="T55" fmla="*/ 486 h 3213"/>
                <a:gd name="T56" fmla="*/ 115 w 2677"/>
                <a:gd name="T57" fmla="*/ 646 h 3213"/>
                <a:gd name="T58" fmla="*/ 55 w 2677"/>
                <a:gd name="T59" fmla="*/ 825 h 3213"/>
                <a:gd name="T60" fmla="*/ 16 w 2677"/>
                <a:gd name="T61" fmla="*/ 1024 h 3213"/>
                <a:gd name="T62" fmla="*/ 1 w 2677"/>
                <a:gd name="T63" fmla="*/ 1240 h 3213"/>
                <a:gd name="T64" fmla="*/ 10 w 2677"/>
                <a:gd name="T65" fmla="*/ 1534 h 3213"/>
                <a:gd name="T66" fmla="*/ 52 w 2677"/>
                <a:gd name="T67" fmla="*/ 1837 h 3213"/>
                <a:gd name="T68" fmla="*/ 121 w 2677"/>
                <a:gd name="T69" fmla="*/ 2114 h 3213"/>
                <a:gd name="T70" fmla="*/ 217 w 2677"/>
                <a:gd name="T71" fmla="*/ 2362 h 3213"/>
                <a:gd name="T72" fmla="*/ 337 w 2677"/>
                <a:gd name="T73" fmla="*/ 2581 h 3213"/>
                <a:gd name="T74" fmla="*/ 474 w 2677"/>
                <a:gd name="T75" fmla="*/ 2769 h 3213"/>
                <a:gd name="T76" fmla="*/ 628 w 2677"/>
                <a:gd name="T77" fmla="*/ 2926 h 3213"/>
                <a:gd name="T78" fmla="*/ 794 w 2677"/>
                <a:gd name="T79" fmla="*/ 3050 h 3213"/>
                <a:gd name="T80" fmla="*/ 970 w 2677"/>
                <a:gd name="T81" fmla="*/ 3140 h 3213"/>
                <a:gd name="T82" fmla="*/ 1153 w 2677"/>
                <a:gd name="T83" fmla="*/ 3194 h 3213"/>
                <a:gd name="T84" fmla="*/ 1339 w 2677"/>
                <a:gd name="T85" fmla="*/ 3213 h 3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677" h="3213">
                  <a:moveTo>
                    <a:pt x="1339" y="3213"/>
                  </a:moveTo>
                  <a:lnTo>
                    <a:pt x="1393" y="3211"/>
                  </a:lnTo>
                  <a:lnTo>
                    <a:pt x="1447" y="3205"/>
                  </a:lnTo>
                  <a:lnTo>
                    <a:pt x="1503" y="3194"/>
                  </a:lnTo>
                  <a:lnTo>
                    <a:pt x="1558" y="3180"/>
                  </a:lnTo>
                  <a:lnTo>
                    <a:pt x="1615" y="3162"/>
                  </a:lnTo>
                  <a:lnTo>
                    <a:pt x="1671" y="3140"/>
                  </a:lnTo>
                  <a:lnTo>
                    <a:pt x="1728" y="3113"/>
                  </a:lnTo>
                  <a:lnTo>
                    <a:pt x="1785" y="3083"/>
                  </a:lnTo>
                  <a:lnTo>
                    <a:pt x="1841" y="3050"/>
                  </a:lnTo>
                  <a:lnTo>
                    <a:pt x="1898" y="3012"/>
                  </a:lnTo>
                  <a:lnTo>
                    <a:pt x="1952" y="2971"/>
                  </a:lnTo>
                  <a:lnTo>
                    <a:pt x="2008" y="2926"/>
                  </a:lnTo>
                  <a:lnTo>
                    <a:pt x="2061" y="2877"/>
                  </a:lnTo>
                  <a:lnTo>
                    <a:pt x="2114" y="2825"/>
                  </a:lnTo>
                  <a:lnTo>
                    <a:pt x="2165" y="2769"/>
                  </a:lnTo>
                  <a:lnTo>
                    <a:pt x="2215" y="2710"/>
                  </a:lnTo>
                  <a:lnTo>
                    <a:pt x="2264" y="2647"/>
                  </a:lnTo>
                  <a:lnTo>
                    <a:pt x="2310" y="2581"/>
                  </a:lnTo>
                  <a:lnTo>
                    <a:pt x="2354" y="2511"/>
                  </a:lnTo>
                  <a:lnTo>
                    <a:pt x="2397" y="2438"/>
                  </a:lnTo>
                  <a:lnTo>
                    <a:pt x="2437" y="2362"/>
                  </a:lnTo>
                  <a:lnTo>
                    <a:pt x="2475" y="2283"/>
                  </a:lnTo>
                  <a:lnTo>
                    <a:pt x="2510" y="2200"/>
                  </a:lnTo>
                  <a:lnTo>
                    <a:pt x="2542" y="2114"/>
                  </a:lnTo>
                  <a:lnTo>
                    <a:pt x="2572" y="2025"/>
                  </a:lnTo>
                  <a:lnTo>
                    <a:pt x="2597" y="1932"/>
                  </a:lnTo>
                  <a:lnTo>
                    <a:pt x="2620" y="1837"/>
                  </a:lnTo>
                  <a:lnTo>
                    <a:pt x="2639" y="1739"/>
                  </a:lnTo>
                  <a:lnTo>
                    <a:pt x="2655" y="1638"/>
                  </a:lnTo>
                  <a:lnTo>
                    <a:pt x="2666" y="1534"/>
                  </a:lnTo>
                  <a:lnTo>
                    <a:pt x="2674" y="1426"/>
                  </a:lnTo>
                  <a:lnTo>
                    <a:pt x="2677" y="1316"/>
                  </a:lnTo>
                  <a:lnTo>
                    <a:pt x="2677" y="1240"/>
                  </a:lnTo>
                  <a:lnTo>
                    <a:pt x="2674" y="1165"/>
                  </a:lnTo>
                  <a:lnTo>
                    <a:pt x="2669" y="1093"/>
                  </a:lnTo>
                  <a:lnTo>
                    <a:pt x="2661" y="1024"/>
                  </a:lnTo>
                  <a:lnTo>
                    <a:pt x="2651" y="955"/>
                  </a:lnTo>
                  <a:lnTo>
                    <a:pt x="2638" y="889"/>
                  </a:lnTo>
                  <a:lnTo>
                    <a:pt x="2623" y="825"/>
                  </a:lnTo>
                  <a:lnTo>
                    <a:pt x="2606" y="763"/>
                  </a:lnTo>
                  <a:lnTo>
                    <a:pt x="2586" y="703"/>
                  </a:lnTo>
                  <a:lnTo>
                    <a:pt x="2563" y="646"/>
                  </a:lnTo>
                  <a:lnTo>
                    <a:pt x="2537" y="591"/>
                  </a:lnTo>
                  <a:lnTo>
                    <a:pt x="2509" y="538"/>
                  </a:lnTo>
                  <a:lnTo>
                    <a:pt x="2478" y="486"/>
                  </a:lnTo>
                  <a:lnTo>
                    <a:pt x="2444" y="439"/>
                  </a:lnTo>
                  <a:lnTo>
                    <a:pt x="2408" y="392"/>
                  </a:lnTo>
                  <a:lnTo>
                    <a:pt x="2369" y="349"/>
                  </a:lnTo>
                  <a:lnTo>
                    <a:pt x="2327" y="307"/>
                  </a:lnTo>
                  <a:lnTo>
                    <a:pt x="2282" y="269"/>
                  </a:lnTo>
                  <a:lnTo>
                    <a:pt x="2234" y="232"/>
                  </a:lnTo>
                  <a:lnTo>
                    <a:pt x="2184" y="199"/>
                  </a:lnTo>
                  <a:lnTo>
                    <a:pt x="2130" y="168"/>
                  </a:lnTo>
                  <a:lnTo>
                    <a:pt x="2074" y="139"/>
                  </a:lnTo>
                  <a:lnTo>
                    <a:pt x="2014" y="113"/>
                  </a:lnTo>
                  <a:lnTo>
                    <a:pt x="1951" y="90"/>
                  </a:lnTo>
                  <a:lnTo>
                    <a:pt x="1887" y="68"/>
                  </a:lnTo>
                  <a:lnTo>
                    <a:pt x="1818" y="50"/>
                  </a:lnTo>
                  <a:lnTo>
                    <a:pt x="1746" y="35"/>
                  </a:lnTo>
                  <a:lnTo>
                    <a:pt x="1670" y="22"/>
                  </a:lnTo>
                  <a:lnTo>
                    <a:pt x="1593" y="12"/>
                  </a:lnTo>
                  <a:lnTo>
                    <a:pt x="1511" y="5"/>
                  </a:lnTo>
                  <a:lnTo>
                    <a:pt x="1427" y="1"/>
                  </a:lnTo>
                  <a:lnTo>
                    <a:pt x="1339" y="0"/>
                  </a:lnTo>
                  <a:lnTo>
                    <a:pt x="1251" y="1"/>
                  </a:lnTo>
                  <a:lnTo>
                    <a:pt x="1166" y="5"/>
                  </a:lnTo>
                  <a:lnTo>
                    <a:pt x="1085" y="12"/>
                  </a:lnTo>
                  <a:lnTo>
                    <a:pt x="1007" y="22"/>
                  </a:lnTo>
                  <a:lnTo>
                    <a:pt x="932" y="35"/>
                  </a:lnTo>
                  <a:lnTo>
                    <a:pt x="860" y="50"/>
                  </a:lnTo>
                  <a:lnTo>
                    <a:pt x="791" y="68"/>
                  </a:lnTo>
                  <a:lnTo>
                    <a:pt x="726" y="90"/>
                  </a:lnTo>
                  <a:lnTo>
                    <a:pt x="663" y="113"/>
                  </a:lnTo>
                  <a:lnTo>
                    <a:pt x="603" y="139"/>
                  </a:lnTo>
                  <a:lnTo>
                    <a:pt x="547" y="168"/>
                  </a:lnTo>
                  <a:lnTo>
                    <a:pt x="493" y="199"/>
                  </a:lnTo>
                  <a:lnTo>
                    <a:pt x="443" y="232"/>
                  </a:lnTo>
                  <a:lnTo>
                    <a:pt x="395" y="269"/>
                  </a:lnTo>
                  <a:lnTo>
                    <a:pt x="351" y="307"/>
                  </a:lnTo>
                  <a:lnTo>
                    <a:pt x="308" y="349"/>
                  </a:lnTo>
                  <a:lnTo>
                    <a:pt x="270" y="392"/>
                  </a:lnTo>
                  <a:lnTo>
                    <a:pt x="233" y="439"/>
                  </a:lnTo>
                  <a:lnTo>
                    <a:pt x="199" y="486"/>
                  </a:lnTo>
                  <a:lnTo>
                    <a:pt x="169" y="538"/>
                  </a:lnTo>
                  <a:lnTo>
                    <a:pt x="141" y="591"/>
                  </a:lnTo>
                  <a:lnTo>
                    <a:pt x="115" y="646"/>
                  </a:lnTo>
                  <a:lnTo>
                    <a:pt x="92" y="703"/>
                  </a:lnTo>
                  <a:lnTo>
                    <a:pt x="72" y="763"/>
                  </a:lnTo>
                  <a:lnTo>
                    <a:pt x="55" y="825"/>
                  </a:lnTo>
                  <a:lnTo>
                    <a:pt x="40" y="889"/>
                  </a:lnTo>
                  <a:lnTo>
                    <a:pt x="26" y="955"/>
                  </a:lnTo>
                  <a:lnTo>
                    <a:pt x="16" y="1024"/>
                  </a:lnTo>
                  <a:lnTo>
                    <a:pt x="9" y="1093"/>
                  </a:lnTo>
                  <a:lnTo>
                    <a:pt x="4" y="1165"/>
                  </a:lnTo>
                  <a:lnTo>
                    <a:pt x="1" y="1240"/>
                  </a:lnTo>
                  <a:lnTo>
                    <a:pt x="0" y="1316"/>
                  </a:lnTo>
                  <a:lnTo>
                    <a:pt x="3" y="1426"/>
                  </a:lnTo>
                  <a:lnTo>
                    <a:pt x="10" y="1534"/>
                  </a:lnTo>
                  <a:lnTo>
                    <a:pt x="20" y="1638"/>
                  </a:lnTo>
                  <a:lnTo>
                    <a:pt x="34" y="1739"/>
                  </a:lnTo>
                  <a:lnTo>
                    <a:pt x="52" y="1837"/>
                  </a:lnTo>
                  <a:lnTo>
                    <a:pt x="72" y="1932"/>
                  </a:lnTo>
                  <a:lnTo>
                    <a:pt x="95" y="2025"/>
                  </a:lnTo>
                  <a:lnTo>
                    <a:pt x="121" y="2114"/>
                  </a:lnTo>
                  <a:lnTo>
                    <a:pt x="151" y="2200"/>
                  </a:lnTo>
                  <a:lnTo>
                    <a:pt x="183" y="2283"/>
                  </a:lnTo>
                  <a:lnTo>
                    <a:pt x="217" y="2362"/>
                  </a:lnTo>
                  <a:lnTo>
                    <a:pt x="255" y="2438"/>
                  </a:lnTo>
                  <a:lnTo>
                    <a:pt x="294" y="2511"/>
                  </a:lnTo>
                  <a:lnTo>
                    <a:pt x="337" y="2581"/>
                  </a:lnTo>
                  <a:lnTo>
                    <a:pt x="380" y="2647"/>
                  </a:lnTo>
                  <a:lnTo>
                    <a:pt x="426" y="2710"/>
                  </a:lnTo>
                  <a:lnTo>
                    <a:pt x="474" y="2769"/>
                  </a:lnTo>
                  <a:lnTo>
                    <a:pt x="524" y="2825"/>
                  </a:lnTo>
                  <a:lnTo>
                    <a:pt x="575" y="2877"/>
                  </a:lnTo>
                  <a:lnTo>
                    <a:pt x="628" y="2926"/>
                  </a:lnTo>
                  <a:lnTo>
                    <a:pt x="682" y="2971"/>
                  </a:lnTo>
                  <a:lnTo>
                    <a:pt x="738" y="3012"/>
                  </a:lnTo>
                  <a:lnTo>
                    <a:pt x="794" y="3050"/>
                  </a:lnTo>
                  <a:lnTo>
                    <a:pt x="852" y="3083"/>
                  </a:lnTo>
                  <a:lnTo>
                    <a:pt x="911" y="3113"/>
                  </a:lnTo>
                  <a:lnTo>
                    <a:pt x="970" y="3140"/>
                  </a:lnTo>
                  <a:lnTo>
                    <a:pt x="1031" y="3162"/>
                  </a:lnTo>
                  <a:lnTo>
                    <a:pt x="1091" y="3180"/>
                  </a:lnTo>
                  <a:lnTo>
                    <a:pt x="1153" y="3194"/>
                  </a:lnTo>
                  <a:lnTo>
                    <a:pt x="1215" y="3205"/>
                  </a:lnTo>
                  <a:lnTo>
                    <a:pt x="1276" y="3211"/>
                  </a:lnTo>
                  <a:lnTo>
                    <a:pt x="1339" y="32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4047" y="1722"/>
              <a:ext cx="39" cy="56"/>
            </a:xfrm>
            <a:custGeom>
              <a:avLst/>
              <a:gdLst>
                <a:gd name="T0" fmla="*/ 91 w 1688"/>
                <a:gd name="T1" fmla="*/ 2432 h 2440"/>
                <a:gd name="T2" fmla="*/ 122 w 1688"/>
                <a:gd name="T3" fmla="*/ 2439 h 2440"/>
                <a:gd name="T4" fmla="*/ 148 w 1688"/>
                <a:gd name="T5" fmla="*/ 2439 h 2440"/>
                <a:gd name="T6" fmla="*/ 171 w 1688"/>
                <a:gd name="T7" fmla="*/ 2436 h 2440"/>
                <a:gd name="T8" fmla="*/ 192 w 1688"/>
                <a:gd name="T9" fmla="*/ 2429 h 2440"/>
                <a:gd name="T10" fmla="*/ 211 w 1688"/>
                <a:gd name="T11" fmla="*/ 2418 h 2440"/>
                <a:gd name="T12" fmla="*/ 1635 w 1688"/>
                <a:gd name="T13" fmla="*/ 1329 h 2440"/>
                <a:gd name="T14" fmla="*/ 1657 w 1688"/>
                <a:gd name="T15" fmla="*/ 1306 h 2440"/>
                <a:gd name="T16" fmla="*/ 1674 w 1688"/>
                <a:gd name="T17" fmla="*/ 1280 h 2440"/>
                <a:gd name="T18" fmla="*/ 1684 w 1688"/>
                <a:gd name="T19" fmla="*/ 1251 h 2440"/>
                <a:gd name="T20" fmla="*/ 1688 w 1688"/>
                <a:gd name="T21" fmla="*/ 1219 h 2440"/>
                <a:gd name="T22" fmla="*/ 1684 w 1688"/>
                <a:gd name="T23" fmla="*/ 1188 h 2440"/>
                <a:gd name="T24" fmla="*/ 1674 w 1688"/>
                <a:gd name="T25" fmla="*/ 1159 h 2440"/>
                <a:gd name="T26" fmla="*/ 1657 w 1688"/>
                <a:gd name="T27" fmla="*/ 1132 h 2440"/>
                <a:gd name="T28" fmla="*/ 1635 w 1688"/>
                <a:gd name="T29" fmla="*/ 1110 h 2440"/>
                <a:gd name="T30" fmla="*/ 213 w 1688"/>
                <a:gd name="T31" fmla="*/ 22 h 2440"/>
                <a:gd name="T32" fmla="*/ 196 w 1688"/>
                <a:gd name="T33" fmla="*/ 13 h 2440"/>
                <a:gd name="T34" fmla="*/ 178 w 1688"/>
                <a:gd name="T35" fmla="*/ 6 h 2440"/>
                <a:gd name="T36" fmla="*/ 160 w 1688"/>
                <a:gd name="T37" fmla="*/ 2 h 2440"/>
                <a:gd name="T38" fmla="*/ 141 w 1688"/>
                <a:gd name="T39" fmla="*/ 0 h 2440"/>
                <a:gd name="T40" fmla="*/ 122 w 1688"/>
                <a:gd name="T41" fmla="*/ 1 h 2440"/>
                <a:gd name="T42" fmla="*/ 104 w 1688"/>
                <a:gd name="T43" fmla="*/ 4 h 2440"/>
                <a:gd name="T44" fmla="*/ 86 w 1688"/>
                <a:gd name="T45" fmla="*/ 10 h 2440"/>
                <a:gd name="T46" fmla="*/ 68 w 1688"/>
                <a:gd name="T47" fmla="*/ 19 h 2440"/>
                <a:gd name="T48" fmla="*/ 52 w 1688"/>
                <a:gd name="T49" fmla="*/ 29 h 2440"/>
                <a:gd name="T50" fmla="*/ 38 w 1688"/>
                <a:gd name="T51" fmla="*/ 42 h 2440"/>
                <a:gd name="T52" fmla="*/ 26 w 1688"/>
                <a:gd name="T53" fmla="*/ 57 h 2440"/>
                <a:gd name="T54" fmla="*/ 16 w 1688"/>
                <a:gd name="T55" fmla="*/ 73 h 2440"/>
                <a:gd name="T56" fmla="*/ 8 w 1688"/>
                <a:gd name="T57" fmla="*/ 90 h 2440"/>
                <a:gd name="T58" fmla="*/ 3 w 1688"/>
                <a:gd name="T59" fmla="*/ 108 h 2440"/>
                <a:gd name="T60" fmla="*/ 0 w 1688"/>
                <a:gd name="T61" fmla="*/ 127 h 2440"/>
                <a:gd name="T62" fmla="*/ 0 w 1688"/>
                <a:gd name="T63" fmla="*/ 2302 h 2440"/>
                <a:gd name="T64" fmla="*/ 1 w 1688"/>
                <a:gd name="T65" fmla="*/ 2321 h 2440"/>
                <a:gd name="T66" fmla="*/ 5 w 1688"/>
                <a:gd name="T67" fmla="*/ 2340 h 2440"/>
                <a:gd name="T68" fmla="*/ 12 w 1688"/>
                <a:gd name="T69" fmla="*/ 2358 h 2440"/>
                <a:gd name="T70" fmla="*/ 21 w 1688"/>
                <a:gd name="T71" fmla="*/ 2374 h 2440"/>
                <a:gd name="T72" fmla="*/ 32 w 1688"/>
                <a:gd name="T73" fmla="*/ 2389 h 2440"/>
                <a:gd name="T74" fmla="*/ 44 w 1688"/>
                <a:gd name="T75" fmla="*/ 2403 h 2440"/>
                <a:gd name="T76" fmla="*/ 60 w 1688"/>
                <a:gd name="T77" fmla="*/ 2416 h 2440"/>
                <a:gd name="T78" fmla="*/ 77 w 1688"/>
                <a:gd name="T79" fmla="*/ 2426 h 2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88" h="2440">
                  <a:moveTo>
                    <a:pt x="77" y="2426"/>
                  </a:moveTo>
                  <a:lnTo>
                    <a:pt x="91" y="2432"/>
                  </a:lnTo>
                  <a:lnTo>
                    <a:pt x="106" y="2436"/>
                  </a:lnTo>
                  <a:lnTo>
                    <a:pt x="122" y="2439"/>
                  </a:lnTo>
                  <a:lnTo>
                    <a:pt x="137" y="2440"/>
                  </a:lnTo>
                  <a:lnTo>
                    <a:pt x="148" y="2439"/>
                  </a:lnTo>
                  <a:lnTo>
                    <a:pt x="160" y="2438"/>
                  </a:lnTo>
                  <a:lnTo>
                    <a:pt x="171" y="2436"/>
                  </a:lnTo>
                  <a:lnTo>
                    <a:pt x="181" y="2432"/>
                  </a:lnTo>
                  <a:lnTo>
                    <a:pt x="192" y="2429"/>
                  </a:lnTo>
                  <a:lnTo>
                    <a:pt x="202" y="2424"/>
                  </a:lnTo>
                  <a:lnTo>
                    <a:pt x="211" y="2418"/>
                  </a:lnTo>
                  <a:lnTo>
                    <a:pt x="220" y="2412"/>
                  </a:lnTo>
                  <a:lnTo>
                    <a:pt x="1635" y="1329"/>
                  </a:lnTo>
                  <a:lnTo>
                    <a:pt x="1647" y="1319"/>
                  </a:lnTo>
                  <a:lnTo>
                    <a:pt x="1657" y="1306"/>
                  </a:lnTo>
                  <a:lnTo>
                    <a:pt x="1666" y="1294"/>
                  </a:lnTo>
                  <a:lnTo>
                    <a:pt x="1674" y="1280"/>
                  </a:lnTo>
                  <a:lnTo>
                    <a:pt x="1680" y="1266"/>
                  </a:lnTo>
                  <a:lnTo>
                    <a:pt x="1684" y="1251"/>
                  </a:lnTo>
                  <a:lnTo>
                    <a:pt x="1687" y="1236"/>
                  </a:lnTo>
                  <a:lnTo>
                    <a:pt x="1688" y="1219"/>
                  </a:lnTo>
                  <a:lnTo>
                    <a:pt x="1687" y="1204"/>
                  </a:lnTo>
                  <a:lnTo>
                    <a:pt x="1684" y="1188"/>
                  </a:lnTo>
                  <a:lnTo>
                    <a:pt x="1680" y="1173"/>
                  </a:lnTo>
                  <a:lnTo>
                    <a:pt x="1674" y="1159"/>
                  </a:lnTo>
                  <a:lnTo>
                    <a:pt x="1666" y="1145"/>
                  </a:lnTo>
                  <a:lnTo>
                    <a:pt x="1657" y="1132"/>
                  </a:lnTo>
                  <a:lnTo>
                    <a:pt x="1647" y="1121"/>
                  </a:lnTo>
                  <a:lnTo>
                    <a:pt x="1635" y="1110"/>
                  </a:lnTo>
                  <a:lnTo>
                    <a:pt x="220" y="28"/>
                  </a:lnTo>
                  <a:lnTo>
                    <a:pt x="213" y="22"/>
                  </a:lnTo>
                  <a:lnTo>
                    <a:pt x="204" y="17"/>
                  </a:lnTo>
                  <a:lnTo>
                    <a:pt x="196" y="13"/>
                  </a:lnTo>
                  <a:lnTo>
                    <a:pt x="187" y="9"/>
                  </a:lnTo>
                  <a:lnTo>
                    <a:pt x="178" y="6"/>
                  </a:lnTo>
                  <a:lnTo>
                    <a:pt x="169" y="4"/>
                  </a:lnTo>
                  <a:lnTo>
                    <a:pt x="160" y="2"/>
                  </a:lnTo>
                  <a:lnTo>
                    <a:pt x="150" y="1"/>
                  </a:lnTo>
                  <a:lnTo>
                    <a:pt x="141" y="0"/>
                  </a:lnTo>
                  <a:lnTo>
                    <a:pt x="131" y="0"/>
                  </a:lnTo>
                  <a:lnTo>
                    <a:pt x="122" y="1"/>
                  </a:lnTo>
                  <a:lnTo>
                    <a:pt x="113" y="2"/>
                  </a:lnTo>
                  <a:lnTo>
                    <a:pt x="104" y="4"/>
                  </a:lnTo>
                  <a:lnTo>
                    <a:pt x="95" y="7"/>
                  </a:lnTo>
                  <a:lnTo>
                    <a:pt x="86" y="10"/>
                  </a:lnTo>
                  <a:lnTo>
                    <a:pt x="77" y="14"/>
                  </a:lnTo>
                  <a:lnTo>
                    <a:pt x="68" y="19"/>
                  </a:lnTo>
                  <a:lnTo>
                    <a:pt x="60" y="24"/>
                  </a:lnTo>
                  <a:lnTo>
                    <a:pt x="52" y="29"/>
                  </a:lnTo>
                  <a:lnTo>
                    <a:pt x="44" y="35"/>
                  </a:lnTo>
                  <a:lnTo>
                    <a:pt x="38" y="42"/>
                  </a:lnTo>
                  <a:lnTo>
                    <a:pt x="31" y="49"/>
                  </a:lnTo>
                  <a:lnTo>
                    <a:pt x="26" y="57"/>
                  </a:lnTo>
                  <a:lnTo>
                    <a:pt x="21" y="65"/>
                  </a:lnTo>
                  <a:lnTo>
                    <a:pt x="16" y="73"/>
                  </a:lnTo>
                  <a:lnTo>
                    <a:pt x="12" y="82"/>
                  </a:lnTo>
                  <a:lnTo>
                    <a:pt x="8" y="90"/>
                  </a:lnTo>
                  <a:lnTo>
                    <a:pt x="5" y="99"/>
                  </a:lnTo>
                  <a:lnTo>
                    <a:pt x="3" y="108"/>
                  </a:lnTo>
                  <a:lnTo>
                    <a:pt x="1" y="118"/>
                  </a:lnTo>
                  <a:lnTo>
                    <a:pt x="0" y="127"/>
                  </a:lnTo>
                  <a:lnTo>
                    <a:pt x="0" y="138"/>
                  </a:lnTo>
                  <a:lnTo>
                    <a:pt x="0" y="2302"/>
                  </a:lnTo>
                  <a:lnTo>
                    <a:pt x="0" y="2311"/>
                  </a:lnTo>
                  <a:lnTo>
                    <a:pt x="1" y="2321"/>
                  </a:lnTo>
                  <a:lnTo>
                    <a:pt x="3" y="2331"/>
                  </a:lnTo>
                  <a:lnTo>
                    <a:pt x="5" y="2340"/>
                  </a:lnTo>
                  <a:lnTo>
                    <a:pt x="8" y="2349"/>
                  </a:lnTo>
                  <a:lnTo>
                    <a:pt x="12" y="2358"/>
                  </a:lnTo>
                  <a:lnTo>
                    <a:pt x="16" y="2366"/>
                  </a:lnTo>
                  <a:lnTo>
                    <a:pt x="21" y="2374"/>
                  </a:lnTo>
                  <a:lnTo>
                    <a:pt x="26" y="2382"/>
                  </a:lnTo>
                  <a:lnTo>
                    <a:pt x="32" y="2389"/>
                  </a:lnTo>
                  <a:lnTo>
                    <a:pt x="38" y="2396"/>
                  </a:lnTo>
                  <a:lnTo>
                    <a:pt x="44" y="2403"/>
                  </a:lnTo>
                  <a:lnTo>
                    <a:pt x="52" y="2409"/>
                  </a:lnTo>
                  <a:lnTo>
                    <a:pt x="60" y="2416"/>
                  </a:lnTo>
                  <a:lnTo>
                    <a:pt x="68" y="2421"/>
                  </a:lnTo>
                  <a:lnTo>
                    <a:pt x="77" y="24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3" name="Freeform 16"/>
            <p:cNvSpPr>
              <a:spLocks noEditPoints="1"/>
            </p:cNvSpPr>
            <p:nvPr/>
          </p:nvSpPr>
          <p:spPr bwMode="auto">
            <a:xfrm>
              <a:off x="3891" y="1661"/>
              <a:ext cx="337" cy="178"/>
            </a:xfrm>
            <a:custGeom>
              <a:avLst/>
              <a:gdLst>
                <a:gd name="T0" fmla="*/ 14714 w 14866"/>
                <a:gd name="T1" fmla="*/ 7818 h 7821"/>
                <a:gd name="T2" fmla="*/ 14782 w 14866"/>
                <a:gd name="T3" fmla="*/ 7788 h 7821"/>
                <a:gd name="T4" fmla="*/ 14834 w 14866"/>
                <a:gd name="T5" fmla="*/ 7737 h 7821"/>
                <a:gd name="T6" fmla="*/ 14862 w 14866"/>
                <a:gd name="T7" fmla="*/ 7668 h 7821"/>
                <a:gd name="T8" fmla="*/ 14865 w 14866"/>
                <a:gd name="T9" fmla="*/ 172 h 7821"/>
                <a:gd name="T10" fmla="*/ 14843 w 14866"/>
                <a:gd name="T11" fmla="*/ 100 h 7821"/>
                <a:gd name="T12" fmla="*/ 14797 w 14866"/>
                <a:gd name="T13" fmla="*/ 44 h 7821"/>
                <a:gd name="T14" fmla="*/ 14732 w 14866"/>
                <a:gd name="T15" fmla="*/ 8 h 7821"/>
                <a:gd name="T16" fmla="*/ 191 w 14866"/>
                <a:gd name="T17" fmla="*/ 0 h 7821"/>
                <a:gd name="T18" fmla="*/ 116 w 14866"/>
                <a:gd name="T19" fmla="*/ 15 h 7821"/>
                <a:gd name="T20" fmla="*/ 55 w 14866"/>
                <a:gd name="T21" fmla="*/ 56 h 7821"/>
                <a:gd name="T22" fmla="*/ 15 w 14866"/>
                <a:gd name="T23" fmla="*/ 117 h 7821"/>
                <a:gd name="T24" fmla="*/ 0 w 14866"/>
                <a:gd name="T25" fmla="*/ 191 h 7821"/>
                <a:gd name="T26" fmla="*/ 8 w 14866"/>
                <a:gd name="T27" fmla="*/ 7686 h 7821"/>
                <a:gd name="T28" fmla="*/ 43 w 14866"/>
                <a:gd name="T29" fmla="*/ 7752 h 7821"/>
                <a:gd name="T30" fmla="*/ 100 w 14866"/>
                <a:gd name="T31" fmla="*/ 7798 h 7821"/>
                <a:gd name="T32" fmla="*/ 171 w 14866"/>
                <a:gd name="T33" fmla="*/ 7820 h 7821"/>
                <a:gd name="T34" fmla="*/ 7661 w 14866"/>
                <a:gd name="T35" fmla="*/ 1693 h 7821"/>
                <a:gd name="T36" fmla="*/ 8095 w 14866"/>
                <a:gd name="T37" fmla="*/ 1782 h 7821"/>
                <a:gd name="T38" fmla="*/ 8493 w 14866"/>
                <a:gd name="T39" fmla="*/ 1950 h 7821"/>
                <a:gd name="T40" fmla="*/ 8849 w 14866"/>
                <a:gd name="T41" fmla="*/ 2191 h 7821"/>
                <a:gd name="T42" fmla="*/ 9150 w 14866"/>
                <a:gd name="T43" fmla="*/ 2493 h 7821"/>
                <a:gd name="T44" fmla="*/ 9390 w 14866"/>
                <a:gd name="T45" fmla="*/ 2848 h 7821"/>
                <a:gd name="T46" fmla="*/ 9558 w 14866"/>
                <a:gd name="T47" fmla="*/ 3248 h 7821"/>
                <a:gd name="T48" fmla="*/ 9647 w 14866"/>
                <a:gd name="T49" fmla="*/ 3683 h 7821"/>
                <a:gd name="T50" fmla="*/ 9647 w 14866"/>
                <a:gd name="T51" fmla="*/ 4138 h 7821"/>
                <a:gd name="T52" fmla="*/ 9558 w 14866"/>
                <a:gd name="T53" fmla="*/ 4573 h 7821"/>
                <a:gd name="T54" fmla="*/ 9390 w 14866"/>
                <a:gd name="T55" fmla="*/ 4973 h 7821"/>
                <a:gd name="T56" fmla="*/ 9150 w 14866"/>
                <a:gd name="T57" fmla="*/ 5328 h 7821"/>
                <a:gd name="T58" fmla="*/ 8849 w 14866"/>
                <a:gd name="T59" fmla="*/ 5631 h 7821"/>
                <a:gd name="T60" fmla="*/ 8493 w 14866"/>
                <a:gd name="T61" fmla="*/ 5871 h 7821"/>
                <a:gd name="T62" fmla="*/ 8095 w 14866"/>
                <a:gd name="T63" fmla="*/ 6040 h 7821"/>
                <a:gd name="T64" fmla="*/ 7661 w 14866"/>
                <a:gd name="T65" fmla="*/ 6128 h 7821"/>
                <a:gd name="T66" fmla="*/ 7205 w 14866"/>
                <a:gd name="T67" fmla="*/ 6128 h 7821"/>
                <a:gd name="T68" fmla="*/ 6771 w 14866"/>
                <a:gd name="T69" fmla="*/ 6040 h 7821"/>
                <a:gd name="T70" fmla="*/ 6373 w 14866"/>
                <a:gd name="T71" fmla="*/ 5871 h 7821"/>
                <a:gd name="T72" fmla="*/ 6018 w 14866"/>
                <a:gd name="T73" fmla="*/ 5631 h 7821"/>
                <a:gd name="T74" fmla="*/ 5716 w 14866"/>
                <a:gd name="T75" fmla="*/ 5328 h 7821"/>
                <a:gd name="T76" fmla="*/ 5476 w 14866"/>
                <a:gd name="T77" fmla="*/ 4973 h 7821"/>
                <a:gd name="T78" fmla="*/ 5308 w 14866"/>
                <a:gd name="T79" fmla="*/ 4573 h 7821"/>
                <a:gd name="T80" fmla="*/ 5219 w 14866"/>
                <a:gd name="T81" fmla="*/ 4138 h 7821"/>
                <a:gd name="T82" fmla="*/ 5219 w 14866"/>
                <a:gd name="T83" fmla="*/ 3683 h 7821"/>
                <a:gd name="T84" fmla="*/ 5308 w 14866"/>
                <a:gd name="T85" fmla="*/ 3248 h 7821"/>
                <a:gd name="T86" fmla="*/ 5476 w 14866"/>
                <a:gd name="T87" fmla="*/ 2848 h 7821"/>
                <a:gd name="T88" fmla="*/ 5716 w 14866"/>
                <a:gd name="T89" fmla="*/ 2493 h 7821"/>
                <a:gd name="T90" fmla="*/ 6018 w 14866"/>
                <a:gd name="T91" fmla="*/ 2191 h 7821"/>
                <a:gd name="T92" fmla="*/ 6373 w 14866"/>
                <a:gd name="T93" fmla="*/ 1950 h 7821"/>
                <a:gd name="T94" fmla="*/ 6771 w 14866"/>
                <a:gd name="T95" fmla="*/ 1782 h 7821"/>
                <a:gd name="T96" fmla="*/ 7205 w 14866"/>
                <a:gd name="T97" fmla="*/ 1693 h 78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866" h="7821">
                  <a:moveTo>
                    <a:pt x="191" y="7821"/>
                  </a:moveTo>
                  <a:lnTo>
                    <a:pt x="14675" y="7821"/>
                  </a:lnTo>
                  <a:lnTo>
                    <a:pt x="14695" y="7820"/>
                  </a:lnTo>
                  <a:lnTo>
                    <a:pt x="14714" y="7818"/>
                  </a:lnTo>
                  <a:lnTo>
                    <a:pt x="14732" y="7813"/>
                  </a:lnTo>
                  <a:lnTo>
                    <a:pt x="14750" y="7807"/>
                  </a:lnTo>
                  <a:lnTo>
                    <a:pt x="14766" y="7798"/>
                  </a:lnTo>
                  <a:lnTo>
                    <a:pt x="14782" y="7788"/>
                  </a:lnTo>
                  <a:lnTo>
                    <a:pt x="14797" y="7777"/>
                  </a:lnTo>
                  <a:lnTo>
                    <a:pt x="14811" y="7765"/>
                  </a:lnTo>
                  <a:lnTo>
                    <a:pt x="14823" y="7752"/>
                  </a:lnTo>
                  <a:lnTo>
                    <a:pt x="14834" y="7737"/>
                  </a:lnTo>
                  <a:lnTo>
                    <a:pt x="14843" y="7721"/>
                  </a:lnTo>
                  <a:lnTo>
                    <a:pt x="14851" y="7704"/>
                  </a:lnTo>
                  <a:lnTo>
                    <a:pt x="14858" y="7686"/>
                  </a:lnTo>
                  <a:lnTo>
                    <a:pt x="14862" y="7668"/>
                  </a:lnTo>
                  <a:lnTo>
                    <a:pt x="14865" y="7650"/>
                  </a:lnTo>
                  <a:lnTo>
                    <a:pt x="14866" y="7629"/>
                  </a:lnTo>
                  <a:lnTo>
                    <a:pt x="14866" y="191"/>
                  </a:lnTo>
                  <a:lnTo>
                    <a:pt x="14865" y="172"/>
                  </a:lnTo>
                  <a:lnTo>
                    <a:pt x="14862" y="153"/>
                  </a:lnTo>
                  <a:lnTo>
                    <a:pt x="14858" y="135"/>
                  </a:lnTo>
                  <a:lnTo>
                    <a:pt x="14851" y="117"/>
                  </a:lnTo>
                  <a:lnTo>
                    <a:pt x="14843" y="100"/>
                  </a:lnTo>
                  <a:lnTo>
                    <a:pt x="14834" y="84"/>
                  </a:lnTo>
                  <a:lnTo>
                    <a:pt x="14823" y="70"/>
                  </a:lnTo>
                  <a:lnTo>
                    <a:pt x="14811" y="56"/>
                  </a:lnTo>
                  <a:lnTo>
                    <a:pt x="14797" y="44"/>
                  </a:lnTo>
                  <a:lnTo>
                    <a:pt x="14782" y="32"/>
                  </a:lnTo>
                  <a:lnTo>
                    <a:pt x="14766" y="23"/>
                  </a:lnTo>
                  <a:lnTo>
                    <a:pt x="14750" y="15"/>
                  </a:lnTo>
                  <a:lnTo>
                    <a:pt x="14732" y="8"/>
                  </a:lnTo>
                  <a:lnTo>
                    <a:pt x="14714" y="4"/>
                  </a:lnTo>
                  <a:lnTo>
                    <a:pt x="14695" y="1"/>
                  </a:lnTo>
                  <a:lnTo>
                    <a:pt x="14675" y="0"/>
                  </a:lnTo>
                  <a:lnTo>
                    <a:pt x="191" y="0"/>
                  </a:lnTo>
                  <a:lnTo>
                    <a:pt x="171" y="1"/>
                  </a:lnTo>
                  <a:lnTo>
                    <a:pt x="152" y="4"/>
                  </a:lnTo>
                  <a:lnTo>
                    <a:pt x="134" y="8"/>
                  </a:lnTo>
                  <a:lnTo>
                    <a:pt x="116" y="15"/>
                  </a:lnTo>
                  <a:lnTo>
                    <a:pt x="100" y="23"/>
                  </a:lnTo>
                  <a:lnTo>
                    <a:pt x="84" y="32"/>
                  </a:lnTo>
                  <a:lnTo>
                    <a:pt x="69" y="44"/>
                  </a:lnTo>
                  <a:lnTo>
                    <a:pt x="55" y="56"/>
                  </a:lnTo>
                  <a:lnTo>
                    <a:pt x="43" y="70"/>
                  </a:lnTo>
                  <a:lnTo>
                    <a:pt x="32" y="84"/>
                  </a:lnTo>
                  <a:lnTo>
                    <a:pt x="23" y="100"/>
                  </a:lnTo>
                  <a:lnTo>
                    <a:pt x="15" y="117"/>
                  </a:lnTo>
                  <a:lnTo>
                    <a:pt x="8" y="135"/>
                  </a:lnTo>
                  <a:lnTo>
                    <a:pt x="3" y="153"/>
                  </a:lnTo>
                  <a:lnTo>
                    <a:pt x="1" y="172"/>
                  </a:lnTo>
                  <a:lnTo>
                    <a:pt x="0" y="191"/>
                  </a:lnTo>
                  <a:lnTo>
                    <a:pt x="0" y="7629"/>
                  </a:lnTo>
                  <a:lnTo>
                    <a:pt x="1" y="7650"/>
                  </a:lnTo>
                  <a:lnTo>
                    <a:pt x="3" y="7668"/>
                  </a:lnTo>
                  <a:lnTo>
                    <a:pt x="8" y="7686"/>
                  </a:lnTo>
                  <a:lnTo>
                    <a:pt x="15" y="7704"/>
                  </a:lnTo>
                  <a:lnTo>
                    <a:pt x="23" y="7721"/>
                  </a:lnTo>
                  <a:lnTo>
                    <a:pt x="32" y="7737"/>
                  </a:lnTo>
                  <a:lnTo>
                    <a:pt x="43" y="7752"/>
                  </a:lnTo>
                  <a:lnTo>
                    <a:pt x="55" y="7765"/>
                  </a:lnTo>
                  <a:lnTo>
                    <a:pt x="69" y="7777"/>
                  </a:lnTo>
                  <a:lnTo>
                    <a:pt x="84" y="7788"/>
                  </a:lnTo>
                  <a:lnTo>
                    <a:pt x="100" y="7798"/>
                  </a:lnTo>
                  <a:lnTo>
                    <a:pt x="116" y="7807"/>
                  </a:lnTo>
                  <a:lnTo>
                    <a:pt x="134" y="7813"/>
                  </a:lnTo>
                  <a:lnTo>
                    <a:pt x="152" y="7818"/>
                  </a:lnTo>
                  <a:lnTo>
                    <a:pt x="171" y="7820"/>
                  </a:lnTo>
                  <a:lnTo>
                    <a:pt x="191" y="7821"/>
                  </a:lnTo>
                  <a:close/>
                  <a:moveTo>
                    <a:pt x="7434" y="1682"/>
                  </a:moveTo>
                  <a:lnTo>
                    <a:pt x="7548" y="1685"/>
                  </a:lnTo>
                  <a:lnTo>
                    <a:pt x="7661" y="1693"/>
                  </a:lnTo>
                  <a:lnTo>
                    <a:pt x="7772" y="1707"/>
                  </a:lnTo>
                  <a:lnTo>
                    <a:pt x="7881" y="1726"/>
                  </a:lnTo>
                  <a:lnTo>
                    <a:pt x="7989" y="1752"/>
                  </a:lnTo>
                  <a:lnTo>
                    <a:pt x="8095" y="1782"/>
                  </a:lnTo>
                  <a:lnTo>
                    <a:pt x="8198" y="1817"/>
                  </a:lnTo>
                  <a:lnTo>
                    <a:pt x="8299" y="1857"/>
                  </a:lnTo>
                  <a:lnTo>
                    <a:pt x="8397" y="1902"/>
                  </a:lnTo>
                  <a:lnTo>
                    <a:pt x="8493" y="1950"/>
                  </a:lnTo>
                  <a:lnTo>
                    <a:pt x="8587" y="2005"/>
                  </a:lnTo>
                  <a:lnTo>
                    <a:pt x="8677" y="2062"/>
                  </a:lnTo>
                  <a:lnTo>
                    <a:pt x="8764" y="2124"/>
                  </a:lnTo>
                  <a:lnTo>
                    <a:pt x="8849" y="2191"/>
                  </a:lnTo>
                  <a:lnTo>
                    <a:pt x="8929" y="2261"/>
                  </a:lnTo>
                  <a:lnTo>
                    <a:pt x="9007" y="2335"/>
                  </a:lnTo>
                  <a:lnTo>
                    <a:pt x="9081" y="2412"/>
                  </a:lnTo>
                  <a:lnTo>
                    <a:pt x="9150" y="2493"/>
                  </a:lnTo>
                  <a:lnTo>
                    <a:pt x="9216" y="2577"/>
                  </a:lnTo>
                  <a:lnTo>
                    <a:pt x="9279" y="2665"/>
                  </a:lnTo>
                  <a:lnTo>
                    <a:pt x="9336" y="2755"/>
                  </a:lnTo>
                  <a:lnTo>
                    <a:pt x="9390" y="2848"/>
                  </a:lnTo>
                  <a:lnTo>
                    <a:pt x="9439" y="2944"/>
                  </a:lnTo>
                  <a:lnTo>
                    <a:pt x="9484" y="3043"/>
                  </a:lnTo>
                  <a:lnTo>
                    <a:pt x="9523" y="3144"/>
                  </a:lnTo>
                  <a:lnTo>
                    <a:pt x="9558" y="3248"/>
                  </a:lnTo>
                  <a:lnTo>
                    <a:pt x="9589" y="3354"/>
                  </a:lnTo>
                  <a:lnTo>
                    <a:pt x="9613" y="3461"/>
                  </a:lnTo>
                  <a:lnTo>
                    <a:pt x="9633" y="3571"/>
                  </a:lnTo>
                  <a:lnTo>
                    <a:pt x="9647" y="3683"/>
                  </a:lnTo>
                  <a:lnTo>
                    <a:pt x="9655" y="3796"/>
                  </a:lnTo>
                  <a:lnTo>
                    <a:pt x="9658" y="3910"/>
                  </a:lnTo>
                  <a:lnTo>
                    <a:pt x="9655" y="4026"/>
                  </a:lnTo>
                  <a:lnTo>
                    <a:pt x="9647" y="4138"/>
                  </a:lnTo>
                  <a:lnTo>
                    <a:pt x="9633" y="4250"/>
                  </a:lnTo>
                  <a:lnTo>
                    <a:pt x="9613" y="4360"/>
                  </a:lnTo>
                  <a:lnTo>
                    <a:pt x="9589" y="4468"/>
                  </a:lnTo>
                  <a:lnTo>
                    <a:pt x="9558" y="4573"/>
                  </a:lnTo>
                  <a:lnTo>
                    <a:pt x="9523" y="4677"/>
                  </a:lnTo>
                  <a:lnTo>
                    <a:pt x="9484" y="4779"/>
                  </a:lnTo>
                  <a:lnTo>
                    <a:pt x="9439" y="4877"/>
                  </a:lnTo>
                  <a:lnTo>
                    <a:pt x="9390" y="4973"/>
                  </a:lnTo>
                  <a:lnTo>
                    <a:pt x="9336" y="5066"/>
                  </a:lnTo>
                  <a:lnTo>
                    <a:pt x="9279" y="5157"/>
                  </a:lnTo>
                  <a:lnTo>
                    <a:pt x="9216" y="5244"/>
                  </a:lnTo>
                  <a:lnTo>
                    <a:pt x="9150" y="5328"/>
                  </a:lnTo>
                  <a:lnTo>
                    <a:pt x="9081" y="5409"/>
                  </a:lnTo>
                  <a:lnTo>
                    <a:pt x="9007" y="5487"/>
                  </a:lnTo>
                  <a:lnTo>
                    <a:pt x="8929" y="5561"/>
                  </a:lnTo>
                  <a:lnTo>
                    <a:pt x="8849" y="5631"/>
                  </a:lnTo>
                  <a:lnTo>
                    <a:pt x="8764" y="5697"/>
                  </a:lnTo>
                  <a:lnTo>
                    <a:pt x="8677" y="5759"/>
                  </a:lnTo>
                  <a:lnTo>
                    <a:pt x="8587" y="5817"/>
                  </a:lnTo>
                  <a:lnTo>
                    <a:pt x="8493" y="5871"/>
                  </a:lnTo>
                  <a:lnTo>
                    <a:pt x="8397" y="5920"/>
                  </a:lnTo>
                  <a:lnTo>
                    <a:pt x="8299" y="5965"/>
                  </a:lnTo>
                  <a:lnTo>
                    <a:pt x="8198" y="6004"/>
                  </a:lnTo>
                  <a:lnTo>
                    <a:pt x="8095" y="6040"/>
                  </a:lnTo>
                  <a:lnTo>
                    <a:pt x="7989" y="6069"/>
                  </a:lnTo>
                  <a:lnTo>
                    <a:pt x="7881" y="6094"/>
                  </a:lnTo>
                  <a:lnTo>
                    <a:pt x="7772" y="6113"/>
                  </a:lnTo>
                  <a:lnTo>
                    <a:pt x="7661" y="6128"/>
                  </a:lnTo>
                  <a:lnTo>
                    <a:pt x="7548" y="6137"/>
                  </a:lnTo>
                  <a:lnTo>
                    <a:pt x="7434" y="6140"/>
                  </a:lnTo>
                  <a:lnTo>
                    <a:pt x="7318" y="6137"/>
                  </a:lnTo>
                  <a:lnTo>
                    <a:pt x="7205" y="6128"/>
                  </a:lnTo>
                  <a:lnTo>
                    <a:pt x="7094" y="6113"/>
                  </a:lnTo>
                  <a:lnTo>
                    <a:pt x="6985" y="6094"/>
                  </a:lnTo>
                  <a:lnTo>
                    <a:pt x="6877" y="6069"/>
                  </a:lnTo>
                  <a:lnTo>
                    <a:pt x="6771" y="6040"/>
                  </a:lnTo>
                  <a:lnTo>
                    <a:pt x="6668" y="6004"/>
                  </a:lnTo>
                  <a:lnTo>
                    <a:pt x="6567" y="5965"/>
                  </a:lnTo>
                  <a:lnTo>
                    <a:pt x="6469" y="5920"/>
                  </a:lnTo>
                  <a:lnTo>
                    <a:pt x="6373" y="5871"/>
                  </a:lnTo>
                  <a:lnTo>
                    <a:pt x="6279" y="5817"/>
                  </a:lnTo>
                  <a:lnTo>
                    <a:pt x="6189" y="5759"/>
                  </a:lnTo>
                  <a:lnTo>
                    <a:pt x="6102" y="5697"/>
                  </a:lnTo>
                  <a:lnTo>
                    <a:pt x="6018" y="5631"/>
                  </a:lnTo>
                  <a:lnTo>
                    <a:pt x="5937" y="5561"/>
                  </a:lnTo>
                  <a:lnTo>
                    <a:pt x="5859" y="5487"/>
                  </a:lnTo>
                  <a:lnTo>
                    <a:pt x="5785" y="5409"/>
                  </a:lnTo>
                  <a:lnTo>
                    <a:pt x="5716" y="5328"/>
                  </a:lnTo>
                  <a:lnTo>
                    <a:pt x="5650" y="5244"/>
                  </a:lnTo>
                  <a:lnTo>
                    <a:pt x="5587" y="5157"/>
                  </a:lnTo>
                  <a:lnTo>
                    <a:pt x="5530" y="5066"/>
                  </a:lnTo>
                  <a:lnTo>
                    <a:pt x="5476" y="4973"/>
                  </a:lnTo>
                  <a:lnTo>
                    <a:pt x="5427" y="4877"/>
                  </a:lnTo>
                  <a:lnTo>
                    <a:pt x="5382" y="4779"/>
                  </a:lnTo>
                  <a:lnTo>
                    <a:pt x="5343" y="4677"/>
                  </a:lnTo>
                  <a:lnTo>
                    <a:pt x="5308" y="4573"/>
                  </a:lnTo>
                  <a:lnTo>
                    <a:pt x="5277" y="4468"/>
                  </a:lnTo>
                  <a:lnTo>
                    <a:pt x="5253" y="4360"/>
                  </a:lnTo>
                  <a:lnTo>
                    <a:pt x="5233" y="4250"/>
                  </a:lnTo>
                  <a:lnTo>
                    <a:pt x="5219" y="4138"/>
                  </a:lnTo>
                  <a:lnTo>
                    <a:pt x="5211" y="4026"/>
                  </a:lnTo>
                  <a:lnTo>
                    <a:pt x="5208" y="3910"/>
                  </a:lnTo>
                  <a:lnTo>
                    <a:pt x="5211" y="3796"/>
                  </a:lnTo>
                  <a:lnTo>
                    <a:pt x="5219" y="3683"/>
                  </a:lnTo>
                  <a:lnTo>
                    <a:pt x="5233" y="3571"/>
                  </a:lnTo>
                  <a:lnTo>
                    <a:pt x="5253" y="3461"/>
                  </a:lnTo>
                  <a:lnTo>
                    <a:pt x="5277" y="3354"/>
                  </a:lnTo>
                  <a:lnTo>
                    <a:pt x="5308" y="3248"/>
                  </a:lnTo>
                  <a:lnTo>
                    <a:pt x="5343" y="3144"/>
                  </a:lnTo>
                  <a:lnTo>
                    <a:pt x="5382" y="3043"/>
                  </a:lnTo>
                  <a:lnTo>
                    <a:pt x="5427" y="2944"/>
                  </a:lnTo>
                  <a:lnTo>
                    <a:pt x="5476" y="2848"/>
                  </a:lnTo>
                  <a:lnTo>
                    <a:pt x="5530" y="2755"/>
                  </a:lnTo>
                  <a:lnTo>
                    <a:pt x="5587" y="2665"/>
                  </a:lnTo>
                  <a:lnTo>
                    <a:pt x="5650" y="2577"/>
                  </a:lnTo>
                  <a:lnTo>
                    <a:pt x="5716" y="2493"/>
                  </a:lnTo>
                  <a:lnTo>
                    <a:pt x="5785" y="2412"/>
                  </a:lnTo>
                  <a:lnTo>
                    <a:pt x="5859" y="2335"/>
                  </a:lnTo>
                  <a:lnTo>
                    <a:pt x="5937" y="2261"/>
                  </a:lnTo>
                  <a:lnTo>
                    <a:pt x="6018" y="2191"/>
                  </a:lnTo>
                  <a:lnTo>
                    <a:pt x="6102" y="2124"/>
                  </a:lnTo>
                  <a:lnTo>
                    <a:pt x="6189" y="2062"/>
                  </a:lnTo>
                  <a:lnTo>
                    <a:pt x="6279" y="2005"/>
                  </a:lnTo>
                  <a:lnTo>
                    <a:pt x="6373" y="1950"/>
                  </a:lnTo>
                  <a:lnTo>
                    <a:pt x="6469" y="1902"/>
                  </a:lnTo>
                  <a:lnTo>
                    <a:pt x="6567" y="1857"/>
                  </a:lnTo>
                  <a:lnTo>
                    <a:pt x="6668" y="1817"/>
                  </a:lnTo>
                  <a:lnTo>
                    <a:pt x="6771" y="1782"/>
                  </a:lnTo>
                  <a:lnTo>
                    <a:pt x="6877" y="1752"/>
                  </a:lnTo>
                  <a:lnTo>
                    <a:pt x="6985" y="1726"/>
                  </a:lnTo>
                  <a:lnTo>
                    <a:pt x="7094" y="1707"/>
                  </a:lnTo>
                  <a:lnTo>
                    <a:pt x="7205" y="1693"/>
                  </a:lnTo>
                  <a:lnTo>
                    <a:pt x="7318" y="1685"/>
                  </a:lnTo>
                  <a:lnTo>
                    <a:pt x="7434" y="16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24" name="Прямоугольник 23"/>
          <p:cNvSpPr/>
          <p:nvPr>
            <p:custDataLst>
              <p:tags r:id="rId8"/>
            </p:custDataLst>
          </p:nvPr>
        </p:nvSpPr>
        <p:spPr>
          <a:xfrm>
            <a:off x="5292080" y="3906192"/>
            <a:ext cx="356458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tx2"/>
                </a:solidFill>
              </a:rPr>
              <a:t>Проведение деловых мероприятий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26" name="man_nauka_2"/>
          <p:cNvSpPr>
            <a:spLocks noEditPoints="1"/>
          </p:cNvSpPr>
          <p:nvPr>
            <p:custDataLst>
              <p:tags r:id="rId9"/>
            </p:custDataLst>
          </p:nvPr>
        </p:nvSpPr>
        <p:spPr bwMode="auto">
          <a:xfrm>
            <a:off x="4716016" y="1143618"/>
            <a:ext cx="445054" cy="478158"/>
          </a:xfrm>
          <a:custGeom>
            <a:avLst/>
            <a:gdLst>
              <a:gd name="T0" fmla="*/ 8915 w 15246"/>
              <a:gd name="T1" fmla="*/ 4945 h 16380"/>
              <a:gd name="T2" fmla="*/ 9200 w 15246"/>
              <a:gd name="T3" fmla="*/ 3796 h 16380"/>
              <a:gd name="T4" fmla="*/ 8840 w 15246"/>
              <a:gd name="T5" fmla="*/ 4173 h 16380"/>
              <a:gd name="T6" fmla="*/ 7533 w 15246"/>
              <a:gd name="T7" fmla="*/ 4898 h 16380"/>
              <a:gd name="T8" fmla="*/ 6825 w 15246"/>
              <a:gd name="T9" fmla="*/ 3730 h 16380"/>
              <a:gd name="T10" fmla="*/ 5730 w 15246"/>
              <a:gd name="T11" fmla="*/ 4842 h 16380"/>
              <a:gd name="T12" fmla="*/ 4331 w 15246"/>
              <a:gd name="T13" fmla="*/ 4315 h 16380"/>
              <a:gd name="T14" fmla="*/ 3881 w 15246"/>
              <a:gd name="T15" fmla="*/ 3669 h 16380"/>
              <a:gd name="T16" fmla="*/ 4046 w 15246"/>
              <a:gd name="T17" fmla="*/ 4842 h 16380"/>
              <a:gd name="T18" fmla="*/ 6064 w 15246"/>
              <a:gd name="T19" fmla="*/ 7449 h 16380"/>
              <a:gd name="T20" fmla="*/ 5941 w 15246"/>
              <a:gd name="T21" fmla="*/ 4041 h 16380"/>
              <a:gd name="T22" fmla="*/ 5385 w 15246"/>
              <a:gd name="T23" fmla="*/ 3239 h 16380"/>
              <a:gd name="T24" fmla="*/ 4614 w 15246"/>
              <a:gd name="T25" fmla="*/ 3836 h 16380"/>
              <a:gd name="T26" fmla="*/ 5249 w 15246"/>
              <a:gd name="T27" fmla="*/ 4577 h 16380"/>
              <a:gd name="T28" fmla="*/ 7805 w 15246"/>
              <a:gd name="T29" fmla="*/ 4577 h 16380"/>
              <a:gd name="T30" fmla="*/ 8511 w 15246"/>
              <a:gd name="T31" fmla="*/ 3905 h 16380"/>
              <a:gd name="T32" fmla="*/ 7805 w 15246"/>
              <a:gd name="T33" fmla="*/ 3233 h 16380"/>
              <a:gd name="T34" fmla="*/ 10211 w 15246"/>
              <a:gd name="T35" fmla="*/ 10739 h 16380"/>
              <a:gd name="T36" fmla="*/ 824 w 15246"/>
              <a:gd name="T37" fmla="*/ 9742 h 16380"/>
              <a:gd name="T38" fmla="*/ 22 w 15246"/>
              <a:gd name="T39" fmla="*/ 14314 h 16380"/>
              <a:gd name="T40" fmla="*/ 3072 w 15246"/>
              <a:gd name="T41" fmla="*/ 15699 h 16380"/>
              <a:gd name="T42" fmla="*/ 9048 w 15246"/>
              <a:gd name="T43" fmla="*/ 14094 h 16380"/>
              <a:gd name="T44" fmla="*/ 9836 w 15246"/>
              <a:gd name="T45" fmla="*/ 9961 h 16380"/>
              <a:gd name="T46" fmla="*/ 9172 w 15246"/>
              <a:gd name="T47" fmla="*/ 7828 h 16380"/>
              <a:gd name="T48" fmla="*/ 4290 w 15246"/>
              <a:gd name="T49" fmla="*/ 7577 h 16380"/>
              <a:gd name="T50" fmla="*/ 12215 w 15246"/>
              <a:gd name="T51" fmla="*/ 13179 h 16380"/>
              <a:gd name="T52" fmla="*/ 11362 w 15246"/>
              <a:gd name="T53" fmla="*/ 12990 h 16380"/>
              <a:gd name="T54" fmla="*/ 10669 w 15246"/>
              <a:gd name="T55" fmla="*/ 14018 h 16380"/>
              <a:gd name="T56" fmla="*/ 12897 w 15246"/>
              <a:gd name="T57" fmla="*/ 15373 h 16380"/>
              <a:gd name="T58" fmla="*/ 12300 w 15246"/>
              <a:gd name="T59" fmla="*/ 13558 h 16380"/>
              <a:gd name="T60" fmla="*/ 12276 w 15246"/>
              <a:gd name="T61" fmla="*/ 12201 h 16380"/>
              <a:gd name="T62" fmla="*/ 12210 w 15246"/>
              <a:gd name="T63" fmla="*/ 11820 h 16380"/>
              <a:gd name="T64" fmla="*/ 12539 w 15246"/>
              <a:gd name="T65" fmla="*/ 11985 h 16380"/>
              <a:gd name="T66" fmla="*/ 13010 w 15246"/>
              <a:gd name="T67" fmla="*/ 13197 h 16380"/>
              <a:gd name="T68" fmla="*/ 12618 w 15246"/>
              <a:gd name="T69" fmla="*/ 12823 h 16380"/>
              <a:gd name="T70" fmla="*/ 13010 w 15246"/>
              <a:gd name="T71" fmla="*/ 12451 h 16380"/>
              <a:gd name="T72" fmla="*/ 14700 w 15246"/>
              <a:gd name="T73" fmla="*/ 11907 h 16380"/>
              <a:gd name="T74" fmla="*/ 13734 w 15246"/>
              <a:gd name="T75" fmla="*/ 10487 h 16380"/>
              <a:gd name="T76" fmla="*/ 14419 w 15246"/>
              <a:gd name="T77" fmla="*/ 9358 h 16380"/>
              <a:gd name="T78" fmla="*/ 11158 w 15246"/>
              <a:gd name="T79" fmla="*/ 8674 h 16380"/>
              <a:gd name="T80" fmla="*/ 10462 w 15246"/>
              <a:gd name="T81" fmla="*/ 9790 h 16380"/>
              <a:gd name="T82" fmla="*/ 11286 w 15246"/>
              <a:gd name="T83" fmla="*/ 10487 h 16380"/>
              <a:gd name="T84" fmla="*/ 9649 w 15246"/>
              <a:gd name="T85" fmla="*/ 13578 h 16380"/>
              <a:gd name="T86" fmla="*/ 12593 w 15246"/>
              <a:gd name="T87" fmla="*/ 16376 h 16380"/>
              <a:gd name="T88" fmla="*/ 15244 w 15246"/>
              <a:gd name="T89" fmla="*/ 13466 h 16380"/>
              <a:gd name="T90" fmla="*/ 12231 w 15246"/>
              <a:gd name="T91" fmla="*/ 15717 h 16380"/>
              <a:gd name="T92" fmla="*/ 10316 w 15246"/>
              <a:gd name="T93" fmla="*/ 13326 h 16380"/>
              <a:gd name="T94" fmla="*/ 11808 w 15246"/>
              <a:gd name="T95" fmla="*/ 11502 h 16380"/>
              <a:gd name="T96" fmla="*/ 11818 w 15246"/>
              <a:gd name="T97" fmla="*/ 9871 h 16380"/>
              <a:gd name="T98" fmla="*/ 11129 w 15246"/>
              <a:gd name="T99" fmla="*/ 9397 h 16380"/>
              <a:gd name="T100" fmla="*/ 13771 w 15246"/>
              <a:gd name="T101" fmla="*/ 9740 h 16380"/>
              <a:gd name="T102" fmla="*/ 13012 w 15246"/>
              <a:gd name="T103" fmla="*/ 9924 h 16380"/>
              <a:gd name="T104" fmla="*/ 13328 w 15246"/>
              <a:gd name="T105" fmla="*/ 11614 h 16380"/>
              <a:gd name="T106" fmla="*/ 14572 w 15246"/>
              <a:gd name="T107" fmla="*/ 13905 h 16380"/>
              <a:gd name="T108" fmla="*/ 5382 w 15246"/>
              <a:gd name="T109" fmla="*/ 2850 h 16380"/>
              <a:gd name="T110" fmla="*/ 7042 w 15246"/>
              <a:gd name="T111" fmla="*/ 3230 h 16380"/>
              <a:gd name="T112" fmla="*/ 7970 w 15246"/>
              <a:gd name="T113" fmla="*/ 2854 h 16380"/>
              <a:gd name="T114" fmla="*/ 9065 w 15246"/>
              <a:gd name="T115" fmla="*/ 3307 h 16380"/>
              <a:gd name="T116" fmla="*/ 9190 w 15246"/>
              <a:gd name="T117" fmla="*/ 2025 h 16380"/>
              <a:gd name="T118" fmla="*/ 5769 w 15246"/>
              <a:gd name="T119" fmla="*/ 120 h 16380"/>
              <a:gd name="T120" fmla="*/ 3899 w 15246"/>
              <a:gd name="T121" fmla="*/ 2977 h 16380"/>
              <a:gd name="T122" fmla="*/ 4766 w 15246"/>
              <a:gd name="T123" fmla="*/ 2997 h 16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246" h="16380">
                <a:moveTo>
                  <a:pt x="6446" y="7505"/>
                </a:moveTo>
                <a:lnTo>
                  <a:pt x="6558" y="7501"/>
                </a:lnTo>
                <a:lnTo>
                  <a:pt x="6667" y="7490"/>
                </a:lnTo>
                <a:lnTo>
                  <a:pt x="6775" y="7471"/>
                </a:lnTo>
                <a:lnTo>
                  <a:pt x="6884" y="7445"/>
                </a:lnTo>
                <a:lnTo>
                  <a:pt x="6990" y="7413"/>
                </a:lnTo>
                <a:lnTo>
                  <a:pt x="7095" y="7373"/>
                </a:lnTo>
                <a:lnTo>
                  <a:pt x="7199" y="7328"/>
                </a:lnTo>
                <a:lnTo>
                  <a:pt x="7302" y="7277"/>
                </a:lnTo>
                <a:lnTo>
                  <a:pt x="7403" y="7219"/>
                </a:lnTo>
                <a:lnTo>
                  <a:pt x="7501" y="7158"/>
                </a:lnTo>
                <a:lnTo>
                  <a:pt x="7598" y="7090"/>
                </a:lnTo>
                <a:lnTo>
                  <a:pt x="7692" y="7018"/>
                </a:lnTo>
                <a:lnTo>
                  <a:pt x="7784" y="6940"/>
                </a:lnTo>
                <a:lnTo>
                  <a:pt x="7874" y="6859"/>
                </a:lnTo>
                <a:lnTo>
                  <a:pt x="7962" y="6773"/>
                </a:lnTo>
                <a:lnTo>
                  <a:pt x="8046" y="6684"/>
                </a:lnTo>
                <a:lnTo>
                  <a:pt x="8127" y="6591"/>
                </a:lnTo>
                <a:lnTo>
                  <a:pt x="8206" y="6495"/>
                </a:lnTo>
                <a:lnTo>
                  <a:pt x="8282" y="6394"/>
                </a:lnTo>
                <a:lnTo>
                  <a:pt x="8354" y="6292"/>
                </a:lnTo>
                <a:lnTo>
                  <a:pt x="8423" y="6188"/>
                </a:lnTo>
                <a:lnTo>
                  <a:pt x="8488" y="6081"/>
                </a:lnTo>
                <a:lnTo>
                  <a:pt x="8550" y="5972"/>
                </a:lnTo>
                <a:lnTo>
                  <a:pt x="8607" y="5861"/>
                </a:lnTo>
                <a:lnTo>
                  <a:pt x="8662" y="5748"/>
                </a:lnTo>
                <a:lnTo>
                  <a:pt x="8711" y="5635"/>
                </a:lnTo>
                <a:lnTo>
                  <a:pt x="8757" y="5521"/>
                </a:lnTo>
                <a:lnTo>
                  <a:pt x="8798" y="5405"/>
                </a:lnTo>
                <a:lnTo>
                  <a:pt x="8834" y="5291"/>
                </a:lnTo>
                <a:lnTo>
                  <a:pt x="8866" y="5175"/>
                </a:lnTo>
                <a:lnTo>
                  <a:pt x="8893" y="5059"/>
                </a:lnTo>
                <a:lnTo>
                  <a:pt x="8915" y="4945"/>
                </a:lnTo>
                <a:lnTo>
                  <a:pt x="8931" y="4927"/>
                </a:lnTo>
                <a:lnTo>
                  <a:pt x="8948" y="4909"/>
                </a:lnTo>
                <a:lnTo>
                  <a:pt x="8963" y="4889"/>
                </a:lnTo>
                <a:lnTo>
                  <a:pt x="8979" y="4868"/>
                </a:lnTo>
                <a:lnTo>
                  <a:pt x="8995" y="4845"/>
                </a:lnTo>
                <a:lnTo>
                  <a:pt x="9010" y="4822"/>
                </a:lnTo>
                <a:lnTo>
                  <a:pt x="9024" y="4796"/>
                </a:lnTo>
                <a:lnTo>
                  <a:pt x="9039" y="4769"/>
                </a:lnTo>
                <a:lnTo>
                  <a:pt x="9052" y="4740"/>
                </a:lnTo>
                <a:lnTo>
                  <a:pt x="9065" y="4710"/>
                </a:lnTo>
                <a:lnTo>
                  <a:pt x="9076" y="4679"/>
                </a:lnTo>
                <a:lnTo>
                  <a:pt x="9089" y="4645"/>
                </a:lnTo>
                <a:lnTo>
                  <a:pt x="9099" y="4609"/>
                </a:lnTo>
                <a:lnTo>
                  <a:pt x="9109" y="4572"/>
                </a:lnTo>
                <a:lnTo>
                  <a:pt x="9118" y="4533"/>
                </a:lnTo>
                <a:lnTo>
                  <a:pt x="9127" y="4491"/>
                </a:lnTo>
                <a:lnTo>
                  <a:pt x="9139" y="4445"/>
                </a:lnTo>
                <a:lnTo>
                  <a:pt x="9151" y="4395"/>
                </a:lnTo>
                <a:lnTo>
                  <a:pt x="9163" y="4342"/>
                </a:lnTo>
                <a:lnTo>
                  <a:pt x="9175" y="4286"/>
                </a:lnTo>
                <a:lnTo>
                  <a:pt x="9185" y="4229"/>
                </a:lnTo>
                <a:lnTo>
                  <a:pt x="9194" y="4171"/>
                </a:lnTo>
                <a:lnTo>
                  <a:pt x="9202" y="4111"/>
                </a:lnTo>
                <a:lnTo>
                  <a:pt x="9207" y="4052"/>
                </a:lnTo>
                <a:lnTo>
                  <a:pt x="9209" y="4022"/>
                </a:lnTo>
                <a:lnTo>
                  <a:pt x="9211" y="3993"/>
                </a:lnTo>
                <a:lnTo>
                  <a:pt x="9211" y="3964"/>
                </a:lnTo>
                <a:lnTo>
                  <a:pt x="9211" y="3934"/>
                </a:lnTo>
                <a:lnTo>
                  <a:pt x="9211" y="3906"/>
                </a:lnTo>
                <a:lnTo>
                  <a:pt x="9209" y="3878"/>
                </a:lnTo>
                <a:lnTo>
                  <a:pt x="9207" y="3850"/>
                </a:lnTo>
                <a:lnTo>
                  <a:pt x="9204" y="3823"/>
                </a:lnTo>
                <a:lnTo>
                  <a:pt x="9200" y="3796"/>
                </a:lnTo>
                <a:lnTo>
                  <a:pt x="9195" y="3770"/>
                </a:lnTo>
                <a:lnTo>
                  <a:pt x="9189" y="3745"/>
                </a:lnTo>
                <a:lnTo>
                  <a:pt x="9182" y="3720"/>
                </a:lnTo>
                <a:lnTo>
                  <a:pt x="9174" y="3697"/>
                </a:lnTo>
                <a:lnTo>
                  <a:pt x="9164" y="3674"/>
                </a:lnTo>
                <a:lnTo>
                  <a:pt x="9154" y="3653"/>
                </a:lnTo>
                <a:lnTo>
                  <a:pt x="9143" y="3632"/>
                </a:lnTo>
                <a:lnTo>
                  <a:pt x="9130" y="3647"/>
                </a:lnTo>
                <a:lnTo>
                  <a:pt x="9115" y="3660"/>
                </a:lnTo>
                <a:lnTo>
                  <a:pt x="9101" y="3671"/>
                </a:lnTo>
                <a:lnTo>
                  <a:pt x="9085" y="3681"/>
                </a:lnTo>
                <a:lnTo>
                  <a:pt x="9075" y="3686"/>
                </a:lnTo>
                <a:lnTo>
                  <a:pt x="9067" y="3690"/>
                </a:lnTo>
                <a:lnTo>
                  <a:pt x="9058" y="3693"/>
                </a:lnTo>
                <a:lnTo>
                  <a:pt x="9049" y="3695"/>
                </a:lnTo>
                <a:lnTo>
                  <a:pt x="9040" y="3698"/>
                </a:lnTo>
                <a:lnTo>
                  <a:pt x="9031" y="3699"/>
                </a:lnTo>
                <a:lnTo>
                  <a:pt x="9021" y="3700"/>
                </a:lnTo>
                <a:lnTo>
                  <a:pt x="9011" y="3700"/>
                </a:lnTo>
                <a:lnTo>
                  <a:pt x="8849" y="3700"/>
                </a:lnTo>
                <a:lnTo>
                  <a:pt x="8854" y="3730"/>
                </a:lnTo>
                <a:lnTo>
                  <a:pt x="8859" y="3757"/>
                </a:lnTo>
                <a:lnTo>
                  <a:pt x="8863" y="3784"/>
                </a:lnTo>
                <a:lnTo>
                  <a:pt x="8867" y="3809"/>
                </a:lnTo>
                <a:lnTo>
                  <a:pt x="8869" y="3835"/>
                </a:lnTo>
                <a:lnTo>
                  <a:pt x="8871" y="3861"/>
                </a:lnTo>
                <a:lnTo>
                  <a:pt x="8872" y="3887"/>
                </a:lnTo>
                <a:lnTo>
                  <a:pt x="8873" y="3915"/>
                </a:lnTo>
                <a:lnTo>
                  <a:pt x="8871" y="3968"/>
                </a:lnTo>
                <a:lnTo>
                  <a:pt x="8868" y="4020"/>
                </a:lnTo>
                <a:lnTo>
                  <a:pt x="8861" y="4072"/>
                </a:lnTo>
                <a:lnTo>
                  <a:pt x="8852" y="4123"/>
                </a:lnTo>
                <a:lnTo>
                  <a:pt x="8840" y="4173"/>
                </a:lnTo>
                <a:lnTo>
                  <a:pt x="8826" y="4222"/>
                </a:lnTo>
                <a:lnTo>
                  <a:pt x="8810" y="4270"/>
                </a:lnTo>
                <a:lnTo>
                  <a:pt x="8791" y="4316"/>
                </a:lnTo>
                <a:lnTo>
                  <a:pt x="8771" y="4362"/>
                </a:lnTo>
                <a:lnTo>
                  <a:pt x="8748" y="4406"/>
                </a:lnTo>
                <a:lnTo>
                  <a:pt x="8723" y="4449"/>
                </a:lnTo>
                <a:lnTo>
                  <a:pt x="8696" y="4491"/>
                </a:lnTo>
                <a:lnTo>
                  <a:pt x="8668" y="4531"/>
                </a:lnTo>
                <a:lnTo>
                  <a:pt x="8636" y="4570"/>
                </a:lnTo>
                <a:lnTo>
                  <a:pt x="8604" y="4608"/>
                </a:lnTo>
                <a:lnTo>
                  <a:pt x="8570" y="4644"/>
                </a:lnTo>
                <a:lnTo>
                  <a:pt x="8534" y="4678"/>
                </a:lnTo>
                <a:lnTo>
                  <a:pt x="8496" y="4709"/>
                </a:lnTo>
                <a:lnTo>
                  <a:pt x="8457" y="4740"/>
                </a:lnTo>
                <a:lnTo>
                  <a:pt x="8416" y="4769"/>
                </a:lnTo>
                <a:lnTo>
                  <a:pt x="8375" y="4795"/>
                </a:lnTo>
                <a:lnTo>
                  <a:pt x="8332" y="4820"/>
                </a:lnTo>
                <a:lnTo>
                  <a:pt x="8287" y="4842"/>
                </a:lnTo>
                <a:lnTo>
                  <a:pt x="8242" y="4863"/>
                </a:lnTo>
                <a:lnTo>
                  <a:pt x="8195" y="4881"/>
                </a:lnTo>
                <a:lnTo>
                  <a:pt x="8147" y="4898"/>
                </a:lnTo>
                <a:lnTo>
                  <a:pt x="8098" y="4912"/>
                </a:lnTo>
                <a:lnTo>
                  <a:pt x="8048" y="4923"/>
                </a:lnTo>
                <a:lnTo>
                  <a:pt x="7996" y="4932"/>
                </a:lnTo>
                <a:lnTo>
                  <a:pt x="7945" y="4939"/>
                </a:lnTo>
                <a:lnTo>
                  <a:pt x="7892" y="4943"/>
                </a:lnTo>
                <a:lnTo>
                  <a:pt x="7839" y="4944"/>
                </a:lnTo>
                <a:lnTo>
                  <a:pt x="7787" y="4943"/>
                </a:lnTo>
                <a:lnTo>
                  <a:pt x="7734" y="4939"/>
                </a:lnTo>
                <a:lnTo>
                  <a:pt x="7683" y="4932"/>
                </a:lnTo>
                <a:lnTo>
                  <a:pt x="7632" y="4923"/>
                </a:lnTo>
                <a:lnTo>
                  <a:pt x="7582" y="4911"/>
                </a:lnTo>
                <a:lnTo>
                  <a:pt x="7533" y="4898"/>
                </a:lnTo>
                <a:lnTo>
                  <a:pt x="7485" y="4881"/>
                </a:lnTo>
                <a:lnTo>
                  <a:pt x="7438" y="4863"/>
                </a:lnTo>
                <a:lnTo>
                  <a:pt x="7393" y="4842"/>
                </a:lnTo>
                <a:lnTo>
                  <a:pt x="7348" y="4820"/>
                </a:lnTo>
                <a:lnTo>
                  <a:pt x="7305" y="4795"/>
                </a:lnTo>
                <a:lnTo>
                  <a:pt x="7263" y="4768"/>
                </a:lnTo>
                <a:lnTo>
                  <a:pt x="7222" y="4739"/>
                </a:lnTo>
                <a:lnTo>
                  <a:pt x="7183" y="4709"/>
                </a:lnTo>
                <a:lnTo>
                  <a:pt x="7145" y="4676"/>
                </a:lnTo>
                <a:lnTo>
                  <a:pt x="7110" y="4643"/>
                </a:lnTo>
                <a:lnTo>
                  <a:pt x="7076" y="4607"/>
                </a:lnTo>
                <a:lnTo>
                  <a:pt x="7043" y="4569"/>
                </a:lnTo>
                <a:lnTo>
                  <a:pt x="7012" y="4530"/>
                </a:lnTo>
                <a:lnTo>
                  <a:pt x="6984" y="4490"/>
                </a:lnTo>
                <a:lnTo>
                  <a:pt x="6956" y="4448"/>
                </a:lnTo>
                <a:lnTo>
                  <a:pt x="6932" y="4405"/>
                </a:lnTo>
                <a:lnTo>
                  <a:pt x="6909" y="4360"/>
                </a:lnTo>
                <a:lnTo>
                  <a:pt x="6888" y="4315"/>
                </a:lnTo>
                <a:lnTo>
                  <a:pt x="6869" y="4268"/>
                </a:lnTo>
                <a:lnTo>
                  <a:pt x="6853" y="4220"/>
                </a:lnTo>
                <a:lnTo>
                  <a:pt x="6840" y="4171"/>
                </a:lnTo>
                <a:lnTo>
                  <a:pt x="6828" y="4121"/>
                </a:lnTo>
                <a:lnTo>
                  <a:pt x="6818" y="4070"/>
                </a:lnTo>
                <a:lnTo>
                  <a:pt x="6812" y="4018"/>
                </a:lnTo>
                <a:lnTo>
                  <a:pt x="6808" y="3966"/>
                </a:lnTo>
                <a:lnTo>
                  <a:pt x="6807" y="3913"/>
                </a:lnTo>
                <a:lnTo>
                  <a:pt x="6807" y="3885"/>
                </a:lnTo>
                <a:lnTo>
                  <a:pt x="6808" y="3859"/>
                </a:lnTo>
                <a:lnTo>
                  <a:pt x="6810" y="3834"/>
                </a:lnTo>
                <a:lnTo>
                  <a:pt x="6813" y="3808"/>
                </a:lnTo>
                <a:lnTo>
                  <a:pt x="6816" y="3783"/>
                </a:lnTo>
                <a:lnTo>
                  <a:pt x="6820" y="3757"/>
                </a:lnTo>
                <a:lnTo>
                  <a:pt x="6825" y="3730"/>
                </a:lnTo>
                <a:lnTo>
                  <a:pt x="6831" y="3700"/>
                </a:lnTo>
                <a:lnTo>
                  <a:pt x="6291" y="3700"/>
                </a:lnTo>
                <a:lnTo>
                  <a:pt x="6296" y="3730"/>
                </a:lnTo>
                <a:lnTo>
                  <a:pt x="6301" y="3757"/>
                </a:lnTo>
                <a:lnTo>
                  <a:pt x="6305" y="3784"/>
                </a:lnTo>
                <a:lnTo>
                  <a:pt x="6310" y="3809"/>
                </a:lnTo>
                <a:lnTo>
                  <a:pt x="6312" y="3835"/>
                </a:lnTo>
                <a:lnTo>
                  <a:pt x="6314" y="3861"/>
                </a:lnTo>
                <a:lnTo>
                  <a:pt x="6315" y="3887"/>
                </a:lnTo>
                <a:lnTo>
                  <a:pt x="6316" y="3915"/>
                </a:lnTo>
                <a:lnTo>
                  <a:pt x="6314" y="3968"/>
                </a:lnTo>
                <a:lnTo>
                  <a:pt x="6310" y="4020"/>
                </a:lnTo>
                <a:lnTo>
                  <a:pt x="6303" y="4072"/>
                </a:lnTo>
                <a:lnTo>
                  <a:pt x="6294" y="4123"/>
                </a:lnTo>
                <a:lnTo>
                  <a:pt x="6283" y="4173"/>
                </a:lnTo>
                <a:lnTo>
                  <a:pt x="6269" y="4222"/>
                </a:lnTo>
                <a:lnTo>
                  <a:pt x="6252" y="4270"/>
                </a:lnTo>
                <a:lnTo>
                  <a:pt x="6234" y="4316"/>
                </a:lnTo>
                <a:lnTo>
                  <a:pt x="6213" y="4362"/>
                </a:lnTo>
                <a:lnTo>
                  <a:pt x="6191" y="4406"/>
                </a:lnTo>
                <a:lnTo>
                  <a:pt x="6165" y="4449"/>
                </a:lnTo>
                <a:lnTo>
                  <a:pt x="6139" y="4491"/>
                </a:lnTo>
                <a:lnTo>
                  <a:pt x="6110" y="4531"/>
                </a:lnTo>
                <a:lnTo>
                  <a:pt x="6080" y="4570"/>
                </a:lnTo>
                <a:lnTo>
                  <a:pt x="6047" y="4608"/>
                </a:lnTo>
                <a:lnTo>
                  <a:pt x="6012" y="4644"/>
                </a:lnTo>
                <a:lnTo>
                  <a:pt x="5976" y="4678"/>
                </a:lnTo>
                <a:lnTo>
                  <a:pt x="5940" y="4709"/>
                </a:lnTo>
                <a:lnTo>
                  <a:pt x="5900" y="4740"/>
                </a:lnTo>
                <a:lnTo>
                  <a:pt x="5860" y="4769"/>
                </a:lnTo>
                <a:lnTo>
                  <a:pt x="5818" y="4795"/>
                </a:lnTo>
                <a:lnTo>
                  <a:pt x="5775" y="4820"/>
                </a:lnTo>
                <a:lnTo>
                  <a:pt x="5730" y="4842"/>
                </a:lnTo>
                <a:lnTo>
                  <a:pt x="5684" y="4863"/>
                </a:lnTo>
                <a:lnTo>
                  <a:pt x="5637" y="4881"/>
                </a:lnTo>
                <a:lnTo>
                  <a:pt x="5589" y="4898"/>
                </a:lnTo>
                <a:lnTo>
                  <a:pt x="5541" y="4912"/>
                </a:lnTo>
                <a:lnTo>
                  <a:pt x="5491" y="4923"/>
                </a:lnTo>
                <a:lnTo>
                  <a:pt x="5440" y="4932"/>
                </a:lnTo>
                <a:lnTo>
                  <a:pt x="5388" y="4939"/>
                </a:lnTo>
                <a:lnTo>
                  <a:pt x="5336" y="4943"/>
                </a:lnTo>
                <a:lnTo>
                  <a:pt x="5283" y="4944"/>
                </a:lnTo>
                <a:lnTo>
                  <a:pt x="5229" y="4943"/>
                </a:lnTo>
                <a:lnTo>
                  <a:pt x="5177" y="4939"/>
                </a:lnTo>
                <a:lnTo>
                  <a:pt x="5126" y="4932"/>
                </a:lnTo>
                <a:lnTo>
                  <a:pt x="5075" y="4923"/>
                </a:lnTo>
                <a:lnTo>
                  <a:pt x="5025" y="4911"/>
                </a:lnTo>
                <a:lnTo>
                  <a:pt x="4976" y="4898"/>
                </a:lnTo>
                <a:lnTo>
                  <a:pt x="4928" y="4881"/>
                </a:lnTo>
                <a:lnTo>
                  <a:pt x="4881" y="4863"/>
                </a:lnTo>
                <a:lnTo>
                  <a:pt x="4835" y="4842"/>
                </a:lnTo>
                <a:lnTo>
                  <a:pt x="4791" y="4820"/>
                </a:lnTo>
                <a:lnTo>
                  <a:pt x="4747" y="4795"/>
                </a:lnTo>
                <a:lnTo>
                  <a:pt x="4705" y="4768"/>
                </a:lnTo>
                <a:lnTo>
                  <a:pt x="4665" y="4739"/>
                </a:lnTo>
                <a:lnTo>
                  <a:pt x="4626" y="4709"/>
                </a:lnTo>
                <a:lnTo>
                  <a:pt x="4589" y="4676"/>
                </a:lnTo>
                <a:lnTo>
                  <a:pt x="4553" y="4643"/>
                </a:lnTo>
                <a:lnTo>
                  <a:pt x="4518" y="4607"/>
                </a:lnTo>
                <a:lnTo>
                  <a:pt x="4486" y="4569"/>
                </a:lnTo>
                <a:lnTo>
                  <a:pt x="4455" y="4530"/>
                </a:lnTo>
                <a:lnTo>
                  <a:pt x="4426" y="4490"/>
                </a:lnTo>
                <a:lnTo>
                  <a:pt x="4400" y="4448"/>
                </a:lnTo>
                <a:lnTo>
                  <a:pt x="4374" y="4405"/>
                </a:lnTo>
                <a:lnTo>
                  <a:pt x="4352" y="4360"/>
                </a:lnTo>
                <a:lnTo>
                  <a:pt x="4331" y="4315"/>
                </a:lnTo>
                <a:lnTo>
                  <a:pt x="4313" y="4268"/>
                </a:lnTo>
                <a:lnTo>
                  <a:pt x="4297" y="4220"/>
                </a:lnTo>
                <a:lnTo>
                  <a:pt x="4282" y="4171"/>
                </a:lnTo>
                <a:lnTo>
                  <a:pt x="4271" y="4121"/>
                </a:lnTo>
                <a:lnTo>
                  <a:pt x="4262" y="4070"/>
                </a:lnTo>
                <a:lnTo>
                  <a:pt x="4255" y="4018"/>
                </a:lnTo>
                <a:lnTo>
                  <a:pt x="4251" y="3966"/>
                </a:lnTo>
                <a:lnTo>
                  <a:pt x="4250" y="3913"/>
                </a:lnTo>
                <a:lnTo>
                  <a:pt x="4250" y="3885"/>
                </a:lnTo>
                <a:lnTo>
                  <a:pt x="4252" y="3859"/>
                </a:lnTo>
                <a:lnTo>
                  <a:pt x="4254" y="3834"/>
                </a:lnTo>
                <a:lnTo>
                  <a:pt x="4256" y="3808"/>
                </a:lnTo>
                <a:lnTo>
                  <a:pt x="4260" y="3783"/>
                </a:lnTo>
                <a:lnTo>
                  <a:pt x="4264" y="3757"/>
                </a:lnTo>
                <a:lnTo>
                  <a:pt x="4268" y="3730"/>
                </a:lnTo>
                <a:lnTo>
                  <a:pt x="4274" y="3700"/>
                </a:lnTo>
                <a:lnTo>
                  <a:pt x="4039" y="3700"/>
                </a:lnTo>
                <a:lnTo>
                  <a:pt x="4029" y="3700"/>
                </a:lnTo>
                <a:lnTo>
                  <a:pt x="4020" y="3699"/>
                </a:lnTo>
                <a:lnTo>
                  <a:pt x="4009" y="3697"/>
                </a:lnTo>
                <a:lnTo>
                  <a:pt x="4000" y="3695"/>
                </a:lnTo>
                <a:lnTo>
                  <a:pt x="3991" y="3692"/>
                </a:lnTo>
                <a:lnTo>
                  <a:pt x="3982" y="3689"/>
                </a:lnTo>
                <a:lnTo>
                  <a:pt x="3973" y="3684"/>
                </a:lnTo>
                <a:lnTo>
                  <a:pt x="3963" y="3680"/>
                </a:lnTo>
                <a:lnTo>
                  <a:pt x="3955" y="3675"/>
                </a:lnTo>
                <a:lnTo>
                  <a:pt x="3947" y="3669"/>
                </a:lnTo>
                <a:lnTo>
                  <a:pt x="3939" y="3664"/>
                </a:lnTo>
                <a:lnTo>
                  <a:pt x="3932" y="3657"/>
                </a:lnTo>
                <a:lnTo>
                  <a:pt x="3918" y="3644"/>
                </a:lnTo>
                <a:lnTo>
                  <a:pt x="3904" y="3628"/>
                </a:lnTo>
                <a:lnTo>
                  <a:pt x="3892" y="3648"/>
                </a:lnTo>
                <a:lnTo>
                  <a:pt x="3881" y="3669"/>
                </a:lnTo>
                <a:lnTo>
                  <a:pt x="3872" y="3691"/>
                </a:lnTo>
                <a:lnTo>
                  <a:pt x="3863" y="3714"/>
                </a:lnTo>
                <a:lnTo>
                  <a:pt x="3855" y="3739"/>
                </a:lnTo>
                <a:lnTo>
                  <a:pt x="3849" y="3763"/>
                </a:lnTo>
                <a:lnTo>
                  <a:pt x="3844" y="3789"/>
                </a:lnTo>
                <a:lnTo>
                  <a:pt x="3840" y="3816"/>
                </a:lnTo>
                <a:lnTo>
                  <a:pt x="3837" y="3843"/>
                </a:lnTo>
                <a:lnTo>
                  <a:pt x="3834" y="3871"/>
                </a:lnTo>
                <a:lnTo>
                  <a:pt x="3833" y="3899"/>
                </a:lnTo>
                <a:lnTo>
                  <a:pt x="3832" y="3928"/>
                </a:lnTo>
                <a:lnTo>
                  <a:pt x="3832" y="3957"/>
                </a:lnTo>
                <a:lnTo>
                  <a:pt x="3833" y="3986"/>
                </a:lnTo>
                <a:lnTo>
                  <a:pt x="3834" y="4016"/>
                </a:lnTo>
                <a:lnTo>
                  <a:pt x="3836" y="4047"/>
                </a:lnTo>
                <a:lnTo>
                  <a:pt x="3842" y="4106"/>
                </a:lnTo>
                <a:lnTo>
                  <a:pt x="3850" y="4167"/>
                </a:lnTo>
                <a:lnTo>
                  <a:pt x="3859" y="4226"/>
                </a:lnTo>
                <a:lnTo>
                  <a:pt x="3871" y="4283"/>
                </a:lnTo>
                <a:lnTo>
                  <a:pt x="3882" y="4340"/>
                </a:lnTo>
                <a:lnTo>
                  <a:pt x="3894" y="4394"/>
                </a:lnTo>
                <a:lnTo>
                  <a:pt x="3907" y="4444"/>
                </a:lnTo>
                <a:lnTo>
                  <a:pt x="3920" y="4491"/>
                </a:lnTo>
                <a:lnTo>
                  <a:pt x="3927" y="4532"/>
                </a:lnTo>
                <a:lnTo>
                  <a:pt x="3935" y="4572"/>
                </a:lnTo>
                <a:lnTo>
                  <a:pt x="3944" y="4609"/>
                </a:lnTo>
                <a:lnTo>
                  <a:pt x="3954" y="4644"/>
                </a:lnTo>
                <a:lnTo>
                  <a:pt x="3966" y="4678"/>
                </a:lnTo>
                <a:lnTo>
                  <a:pt x="3978" y="4709"/>
                </a:lnTo>
                <a:lnTo>
                  <a:pt x="3990" y="4739"/>
                </a:lnTo>
                <a:lnTo>
                  <a:pt x="4003" y="4767"/>
                </a:lnTo>
                <a:lnTo>
                  <a:pt x="4017" y="4793"/>
                </a:lnTo>
                <a:lnTo>
                  <a:pt x="4031" y="4819"/>
                </a:lnTo>
                <a:lnTo>
                  <a:pt x="4046" y="4842"/>
                </a:lnTo>
                <a:lnTo>
                  <a:pt x="4062" y="4864"/>
                </a:lnTo>
                <a:lnTo>
                  <a:pt x="4076" y="4885"/>
                </a:lnTo>
                <a:lnTo>
                  <a:pt x="4092" y="4905"/>
                </a:lnTo>
                <a:lnTo>
                  <a:pt x="4108" y="4923"/>
                </a:lnTo>
                <a:lnTo>
                  <a:pt x="4123" y="4940"/>
                </a:lnTo>
                <a:lnTo>
                  <a:pt x="4144" y="5064"/>
                </a:lnTo>
                <a:lnTo>
                  <a:pt x="4171" y="5188"/>
                </a:lnTo>
                <a:lnTo>
                  <a:pt x="4203" y="5311"/>
                </a:lnTo>
                <a:lnTo>
                  <a:pt x="4238" y="5432"/>
                </a:lnTo>
                <a:lnTo>
                  <a:pt x="4279" y="5553"/>
                </a:lnTo>
                <a:lnTo>
                  <a:pt x="4325" y="5672"/>
                </a:lnTo>
                <a:lnTo>
                  <a:pt x="4374" y="5788"/>
                </a:lnTo>
                <a:lnTo>
                  <a:pt x="4427" y="5903"/>
                </a:lnTo>
                <a:lnTo>
                  <a:pt x="4486" y="6015"/>
                </a:lnTo>
                <a:lnTo>
                  <a:pt x="4546" y="6125"/>
                </a:lnTo>
                <a:lnTo>
                  <a:pt x="4610" y="6233"/>
                </a:lnTo>
                <a:lnTo>
                  <a:pt x="4679" y="6337"/>
                </a:lnTo>
                <a:lnTo>
                  <a:pt x="4749" y="6438"/>
                </a:lnTo>
                <a:lnTo>
                  <a:pt x="4824" y="6537"/>
                </a:lnTo>
                <a:lnTo>
                  <a:pt x="4900" y="6631"/>
                </a:lnTo>
                <a:lnTo>
                  <a:pt x="4979" y="6722"/>
                </a:lnTo>
                <a:lnTo>
                  <a:pt x="5061" y="6809"/>
                </a:lnTo>
                <a:lnTo>
                  <a:pt x="5145" y="6892"/>
                </a:lnTo>
                <a:lnTo>
                  <a:pt x="5230" y="6971"/>
                </a:lnTo>
                <a:lnTo>
                  <a:pt x="5318" y="7044"/>
                </a:lnTo>
                <a:lnTo>
                  <a:pt x="5408" y="7114"/>
                </a:lnTo>
                <a:lnTo>
                  <a:pt x="5498" y="7179"/>
                </a:lnTo>
                <a:lnTo>
                  <a:pt x="5591" y="7238"/>
                </a:lnTo>
                <a:lnTo>
                  <a:pt x="5684" y="7291"/>
                </a:lnTo>
                <a:lnTo>
                  <a:pt x="5778" y="7339"/>
                </a:lnTo>
                <a:lnTo>
                  <a:pt x="5873" y="7382"/>
                </a:lnTo>
                <a:lnTo>
                  <a:pt x="5968" y="7419"/>
                </a:lnTo>
                <a:lnTo>
                  <a:pt x="6064" y="7449"/>
                </a:lnTo>
                <a:lnTo>
                  <a:pt x="6160" y="7473"/>
                </a:lnTo>
                <a:lnTo>
                  <a:pt x="6255" y="7491"/>
                </a:lnTo>
                <a:lnTo>
                  <a:pt x="6351" y="7501"/>
                </a:lnTo>
                <a:lnTo>
                  <a:pt x="6446" y="7505"/>
                </a:lnTo>
                <a:close/>
                <a:moveTo>
                  <a:pt x="5283" y="4578"/>
                </a:moveTo>
                <a:lnTo>
                  <a:pt x="5317" y="4577"/>
                </a:lnTo>
                <a:lnTo>
                  <a:pt x="5351" y="4574"/>
                </a:lnTo>
                <a:lnTo>
                  <a:pt x="5385" y="4570"/>
                </a:lnTo>
                <a:lnTo>
                  <a:pt x="5419" y="4564"/>
                </a:lnTo>
                <a:lnTo>
                  <a:pt x="5450" y="4557"/>
                </a:lnTo>
                <a:lnTo>
                  <a:pt x="5482" y="4547"/>
                </a:lnTo>
                <a:lnTo>
                  <a:pt x="5514" y="4537"/>
                </a:lnTo>
                <a:lnTo>
                  <a:pt x="5544" y="4525"/>
                </a:lnTo>
                <a:lnTo>
                  <a:pt x="5574" y="4512"/>
                </a:lnTo>
                <a:lnTo>
                  <a:pt x="5602" y="4496"/>
                </a:lnTo>
                <a:lnTo>
                  <a:pt x="5631" y="4481"/>
                </a:lnTo>
                <a:lnTo>
                  <a:pt x="5658" y="4463"/>
                </a:lnTo>
                <a:lnTo>
                  <a:pt x="5684" y="4444"/>
                </a:lnTo>
                <a:lnTo>
                  <a:pt x="5710" y="4424"/>
                </a:lnTo>
                <a:lnTo>
                  <a:pt x="5734" y="4403"/>
                </a:lnTo>
                <a:lnTo>
                  <a:pt x="5758" y="4381"/>
                </a:lnTo>
                <a:lnTo>
                  <a:pt x="5779" y="4357"/>
                </a:lnTo>
                <a:lnTo>
                  <a:pt x="5801" y="4333"/>
                </a:lnTo>
                <a:lnTo>
                  <a:pt x="5821" y="4307"/>
                </a:lnTo>
                <a:lnTo>
                  <a:pt x="5839" y="4281"/>
                </a:lnTo>
                <a:lnTo>
                  <a:pt x="5857" y="4254"/>
                </a:lnTo>
                <a:lnTo>
                  <a:pt x="5873" y="4225"/>
                </a:lnTo>
                <a:lnTo>
                  <a:pt x="5889" y="4196"/>
                </a:lnTo>
                <a:lnTo>
                  <a:pt x="5902" y="4167"/>
                </a:lnTo>
                <a:lnTo>
                  <a:pt x="5914" y="4136"/>
                </a:lnTo>
                <a:lnTo>
                  <a:pt x="5924" y="4105"/>
                </a:lnTo>
                <a:lnTo>
                  <a:pt x="5933" y="4072"/>
                </a:lnTo>
                <a:lnTo>
                  <a:pt x="5941" y="4041"/>
                </a:lnTo>
                <a:lnTo>
                  <a:pt x="5947" y="4007"/>
                </a:lnTo>
                <a:lnTo>
                  <a:pt x="5951" y="3973"/>
                </a:lnTo>
                <a:lnTo>
                  <a:pt x="5954" y="3939"/>
                </a:lnTo>
                <a:lnTo>
                  <a:pt x="5954" y="3905"/>
                </a:lnTo>
                <a:lnTo>
                  <a:pt x="5954" y="3871"/>
                </a:lnTo>
                <a:lnTo>
                  <a:pt x="5951" y="3836"/>
                </a:lnTo>
                <a:lnTo>
                  <a:pt x="5947" y="3802"/>
                </a:lnTo>
                <a:lnTo>
                  <a:pt x="5941" y="3769"/>
                </a:lnTo>
                <a:lnTo>
                  <a:pt x="5933" y="3737"/>
                </a:lnTo>
                <a:lnTo>
                  <a:pt x="5924" y="3705"/>
                </a:lnTo>
                <a:lnTo>
                  <a:pt x="5914" y="3673"/>
                </a:lnTo>
                <a:lnTo>
                  <a:pt x="5902" y="3643"/>
                </a:lnTo>
                <a:lnTo>
                  <a:pt x="5889" y="3613"/>
                </a:lnTo>
                <a:lnTo>
                  <a:pt x="5873" y="3584"/>
                </a:lnTo>
                <a:lnTo>
                  <a:pt x="5857" y="3555"/>
                </a:lnTo>
                <a:lnTo>
                  <a:pt x="5839" y="3529"/>
                </a:lnTo>
                <a:lnTo>
                  <a:pt x="5821" y="3502"/>
                </a:lnTo>
                <a:lnTo>
                  <a:pt x="5801" y="3477"/>
                </a:lnTo>
                <a:lnTo>
                  <a:pt x="5779" y="3452"/>
                </a:lnTo>
                <a:lnTo>
                  <a:pt x="5758" y="3429"/>
                </a:lnTo>
                <a:lnTo>
                  <a:pt x="5734" y="3407"/>
                </a:lnTo>
                <a:lnTo>
                  <a:pt x="5710" y="3386"/>
                </a:lnTo>
                <a:lnTo>
                  <a:pt x="5684" y="3365"/>
                </a:lnTo>
                <a:lnTo>
                  <a:pt x="5658" y="3347"/>
                </a:lnTo>
                <a:lnTo>
                  <a:pt x="5631" y="3329"/>
                </a:lnTo>
                <a:lnTo>
                  <a:pt x="5602" y="3313"/>
                </a:lnTo>
                <a:lnTo>
                  <a:pt x="5574" y="3299"/>
                </a:lnTo>
                <a:lnTo>
                  <a:pt x="5544" y="3284"/>
                </a:lnTo>
                <a:lnTo>
                  <a:pt x="5514" y="3273"/>
                </a:lnTo>
                <a:lnTo>
                  <a:pt x="5482" y="3262"/>
                </a:lnTo>
                <a:lnTo>
                  <a:pt x="5450" y="3252"/>
                </a:lnTo>
                <a:lnTo>
                  <a:pt x="5419" y="3245"/>
                </a:lnTo>
                <a:lnTo>
                  <a:pt x="5385" y="3239"/>
                </a:lnTo>
                <a:lnTo>
                  <a:pt x="5351" y="3235"/>
                </a:lnTo>
                <a:lnTo>
                  <a:pt x="5317" y="3233"/>
                </a:lnTo>
                <a:lnTo>
                  <a:pt x="5283" y="3232"/>
                </a:lnTo>
                <a:lnTo>
                  <a:pt x="5249" y="3233"/>
                </a:lnTo>
                <a:lnTo>
                  <a:pt x="5214" y="3235"/>
                </a:lnTo>
                <a:lnTo>
                  <a:pt x="5180" y="3239"/>
                </a:lnTo>
                <a:lnTo>
                  <a:pt x="5148" y="3245"/>
                </a:lnTo>
                <a:lnTo>
                  <a:pt x="5115" y="3252"/>
                </a:lnTo>
                <a:lnTo>
                  <a:pt x="5083" y="3262"/>
                </a:lnTo>
                <a:lnTo>
                  <a:pt x="5052" y="3273"/>
                </a:lnTo>
                <a:lnTo>
                  <a:pt x="5021" y="3284"/>
                </a:lnTo>
                <a:lnTo>
                  <a:pt x="4991" y="3299"/>
                </a:lnTo>
                <a:lnTo>
                  <a:pt x="4963" y="3313"/>
                </a:lnTo>
                <a:lnTo>
                  <a:pt x="4934" y="3329"/>
                </a:lnTo>
                <a:lnTo>
                  <a:pt x="4908" y="3347"/>
                </a:lnTo>
                <a:lnTo>
                  <a:pt x="4881" y="3365"/>
                </a:lnTo>
                <a:lnTo>
                  <a:pt x="4856" y="3386"/>
                </a:lnTo>
                <a:lnTo>
                  <a:pt x="4831" y="3407"/>
                </a:lnTo>
                <a:lnTo>
                  <a:pt x="4807" y="3429"/>
                </a:lnTo>
                <a:lnTo>
                  <a:pt x="4785" y="3452"/>
                </a:lnTo>
                <a:lnTo>
                  <a:pt x="4765" y="3477"/>
                </a:lnTo>
                <a:lnTo>
                  <a:pt x="4744" y="3502"/>
                </a:lnTo>
                <a:lnTo>
                  <a:pt x="4726" y="3529"/>
                </a:lnTo>
                <a:lnTo>
                  <a:pt x="4708" y="3555"/>
                </a:lnTo>
                <a:lnTo>
                  <a:pt x="4692" y="3584"/>
                </a:lnTo>
                <a:lnTo>
                  <a:pt x="4677" y="3613"/>
                </a:lnTo>
                <a:lnTo>
                  <a:pt x="4663" y="3643"/>
                </a:lnTo>
                <a:lnTo>
                  <a:pt x="4651" y="3673"/>
                </a:lnTo>
                <a:lnTo>
                  <a:pt x="4641" y="3705"/>
                </a:lnTo>
                <a:lnTo>
                  <a:pt x="4632" y="3737"/>
                </a:lnTo>
                <a:lnTo>
                  <a:pt x="4625" y="3769"/>
                </a:lnTo>
                <a:lnTo>
                  <a:pt x="4618" y="3802"/>
                </a:lnTo>
                <a:lnTo>
                  <a:pt x="4614" y="3836"/>
                </a:lnTo>
                <a:lnTo>
                  <a:pt x="4611" y="3871"/>
                </a:lnTo>
                <a:lnTo>
                  <a:pt x="4610" y="3905"/>
                </a:lnTo>
                <a:lnTo>
                  <a:pt x="4611" y="3939"/>
                </a:lnTo>
                <a:lnTo>
                  <a:pt x="4614" y="3973"/>
                </a:lnTo>
                <a:lnTo>
                  <a:pt x="4618" y="4007"/>
                </a:lnTo>
                <a:lnTo>
                  <a:pt x="4625" y="4041"/>
                </a:lnTo>
                <a:lnTo>
                  <a:pt x="4632" y="4072"/>
                </a:lnTo>
                <a:lnTo>
                  <a:pt x="4641" y="4105"/>
                </a:lnTo>
                <a:lnTo>
                  <a:pt x="4651" y="4136"/>
                </a:lnTo>
                <a:lnTo>
                  <a:pt x="4663" y="4167"/>
                </a:lnTo>
                <a:lnTo>
                  <a:pt x="4677" y="4196"/>
                </a:lnTo>
                <a:lnTo>
                  <a:pt x="4692" y="4225"/>
                </a:lnTo>
                <a:lnTo>
                  <a:pt x="4708" y="4254"/>
                </a:lnTo>
                <a:lnTo>
                  <a:pt x="4726" y="4281"/>
                </a:lnTo>
                <a:lnTo>
                  <a:pt x="4744" y="4307"/>
                </a:lnTo>
                <a:lnTo>
                  <a:pt x="4765" y="4333"/>
                </a:lnTo>
                <a:lnTo>
                  <a:pt x="4785" y="4357"/>
                </a:lnTo>
                <a:lnTo>
                  <a:pt x="4807" y="4381"/>
                </a:lnTo>
                <a:lnTo>
                  <a:pt x="4831" y="4403"/>
                </a:lnTo>
                <a:lnTo>
                  <a:pt x="4856" y="4424"/>
                </a:lnTo>
                <a:lnTo>
                  <a:pt x="4881" y="4444"/>
                </a:lnTo>
                <a:lnTo>
                  <a:pt x="4908" y="4463"/>
                </a:lnTo>
                <a:lnTo>
                  <a:pt x="4934" y="4481"/>
                </a:lnTo>
                <a:lnTo>
                  <a:pt x="4963" y="4496"/>
                </a:lnTo>
                <a:lnTo>
                  <a:pt x="4991" y="4512"/>
                </a:lnTo>
                <a:lnTo>
                  <a:pt x="5021" y="4525"/>
                </a:lnTo>
                <a:lnTo>
                  <a:pt x="5052" y="4537"/>
                </a:lnTo>
                <a:lnTo>
                  <a:pt x="5083" y="4547"/>
                </a:lnTo>
                <a:lnTo>
                  <a:pt x="5115" y="4557"/>
                </a:lnTo>
                <a:lnTo>
                  <a:pt x="5148" y="4564"/>
                </a:lnTo>
                <a:lnTo>
                  <a:pt x="5180" y="4570"/>
                </a:lnTo>
                <a:lnTo>
                  <a:pt x="5214" y="4574"/>
                </a:lnTo>
                <a:lnTo>
                  <a:pt x="5249" y="4577"/>
                </a:lnTo>
                <a:lnTo>
                  <a:pt x="5283" y="4578"/>
                </a:lnTo>
                <a:close/>
                <a:moveTo>
                  <a:pt x="7168" y="3905"/>
                </a:moveTo>
                <a:lnTo>
                  <a:pt x="7169" y="3939"/>
                </a:lnTo>
                <a:lnTo>
                  <a:pt x="7172" y="3973"/>
                </a:lnTo>
                <a:lnTo>
                  <a:pt x="7176" y="4007"/>
                </a:lnTo>
                <a:lnTo>
                  <a:pt x="7182" y="4041"/>
                </a:lnTo>
                <a:lnTo>
                  <a:pt x="7189" y="4072"/>
                </a:lnTo>
                <a:lnTo>
                  <a:pt x="7198" y="4105"/>
                </a:lnTo>
                <a:lnTo>
                  <a:pt x="7209" y="4136"/>
                </a:lnTo>
                <a:lnTo>
                  <a:pt x="7221" y="4167"/>
                </a:lnTo>
                <a:lnTo>
                  <a:pt x="7234" y="4196"/>
                </a:lnTo>
                <a:lnTo>
                  <a:pt x="7250" y="4225"/>
                </a:lnTo>
                <a:lnTo>
                  <a:pt x="7266" y="4254"/>
                </a:lnTo>
                <a:lnTo>
                  <a:pt x="7283" y="4281"/>
                </a:lnTo>
                <a:lnTo>
                  <a:pt x="7302" y="4307"/>
                </a:lnTo>
                <a:lnTo>
                  <a:pt x="7321" y="4333"/>
                </a:lnTo>
                <a:lnTo>
                  <a:pt x="7343" y="4357"/>
                </a:lnTo>
                <a:lnTo>
                  <a:pt x="7365" y="4381"/>
                </a:lnTo>
                <a:lnTo>
                  <a:pt x="7389" y="4403"/>
                </a:lnTo>
                <a:lnTo>
                  <a:pt x="7413" y="4424"/>
                </a:lnTo>
                <a:lnTo>
                  <a:pt x="7438" y="4444"/>
                </a:lnTo>
                <a:lnTo>
                  <a:pt x="7464" y="4463"/>
                </a:lnTo>
                <a:lnTo>
                  <a:pt x="7492" y="4481"/>
                </a:lnTo>
                <a:lnTo>
                  <a:pt x="7519" y="4496"/>
                </a:lnTo>
                <a:lnTo>
                  <a:pt x="7549" y="4512"/>
                </a:lnTo>
                <a:lnTo>
                  <a:pt x="7579" y="4525"/>
                </a:lnTo>
                <a:lnTo>
                  <a:pt x="7609" y="4537"/>
                </a:lnTo>
                <a:lnTo>
                  <a:pt x="7640" y="4547"/>
                </a:lnTo>
                <a:lnTo>
                  <a:pt x="7672" y="4557"/>
                </a:lnTo>
                <a:lnTo>
                  <a:pt x="7704" y="4564"/>
                </a:lnTo>
                <a:lnTo>
                  <a:pt x="7737" y="4570"/>
                </a:lnTo>
                <a:lnTo>
                  <a:pt x="7771" y="4574"/>
                </a:lnTo>
                <a:lnTo>
                  <a:pt x="7805" y="4577"/>
                </a:lnTo>
                <a:lnTo>
                  <a:pt x="7839" y="4578"/>
                </a:lnTo>
                <a:lnTo>
                  <a:pt x="7874" y="4577"/>
                </a:lnTo>
                <a:lnTo>
                  <a:pt x="7909" y="4574"/>
                </a:lnTo>
                <a:lnTo>
                  <a:pt x="7941" y="4570"/>
                </a:lnTo>
                <a:lnTo>
                  <a:pt x="7975" y="4564"/>
                </a:lnTo>
                <a:lnTo>
                  <a:pt x="8008" y="4557"/>
                </a:lnTo>
                <a:lnTo>
                  <a:pt x="8039" y="4547"/>
                </a:lnTo>
                <a:lnTo>
                  <a:pt x="8070" y="4537"/>
                </a:lnTo>
                <a:lnTo>
                  <a:pt x="8101" y="4525"/>
                </a:lnTo>
                <a:lnTo>
                  <a:pt x="8130" y="4512"/>
                </a:lnTo>
                <a:lnTo>
                  <a:pt x="8160" y="4496"/>
                </a:lnTo>
                <a:lnTo>
                  <a:pt x="8188" y="4481"/>
                </a:lnTo>
                <a:lnTo>
                  <a:pt x="8215" y="4463"/>
                </a:lnTo>
                <a:lnTo>
                  <a:pt x="8242" y="4444"/>
                </a:lnTo>
                <a:lnTo>
                  <a:pt x="8267" y="4424"/>
                </a:lnTo>
                <a:lnTo>
                  <a:pt x="8292" y="4403"/>
                </a:lnTo>
                <a:lnTo>
                  <a:pt x="8314" y="4381"/>
                </a:lnTo>
                <a:lnTo>
                  <a:pt x="8337" y="4357"/>
                </a:lnTo>
                <a:lnTo>
                  <a:pt x="8358" y="4333"/>
                </a:lnTo>
                <a:lnTo>
                  <a:pt x="8378" y="4307"/>
                </a:lnTo>
                <a:lnTo>
                  <a:pt x="8397" y="4281"/>
                </a:lnTo>
                <a:lnTo>
                  <a:pt x="8414" y="4254"/>
                </a:lnTo>
                <a:lnTo>
                  <a:pt x="8431" y="4225"/>
                </a:lnTo>
                <a:lnTo>
                  <a:pt x="8445" y="4196"/>
                </a:lnTo>
                <a:lnTo>
                  <a:pt x="8459" y="4167"/>
                </a:lnTo>
                <a:lnTo>
                  <a:pt x="8471" y="4136"/>
                </a:lnTo>
                <a:lnTo>
                  <a:pt x="8482" y="4105"/>
                </a:lnTo>
                <a:lnTo>
                  <a:pt x="8491" y="4072"/>
                </a:lnTo>
                <a:lnTo>
                  <a:pt x="8498" y="4041"/>
                </a:lnTo>
                <a:lnTo>
                  <a:pt x="8504" y="4007"/>
                </a:lnTo>
                <a:lnTo>
                  <a:pt x="8508" y="3973"/>
                </a:lnTo>
                <a:lnTo>
                  <a:pt x="8510" y="3939"/>
                </a:lnTo>
                <a:lnTo>
                  <a:pt x="8511" y="3905"/>
                </a:lnTo>
                <a:lnTo>
                  <a:pt x="8510" y="3871"/>
                </a:lnTo>
                <a:lnTo>
                  <a:pt x="8508" y="3836"/>
                </a:lnTo>
                <a:lnTo>
                  <a:pt x="8504" y="3802"/>
                </a:lnTo>
                <a:lnTo>
                  <a:pt x="8498" y="3769"/>
                </a:lnTo>
                <a:lnTo>
                  <a:pt x="8491" y="3737"/>
                </a:lnTo>
                <a:lnTo>
                  <a:pt x="8482" y="3705"/>
                </a:lnTo>
                <a:lnTo>
                  <a:pt x="8471" y="3673"/>
                </a:lnTo>
                <a:lnTo>
                  <a:pt x="8459" y="3643"/>
                </a:lnTo>
                <a:lnTo>
                  <a:pt x="8445" y="3613"/>
                </a:lnTo>
                <a:lnTo>
                  <a:pt x="8431" y="3584"/>
                </a:lnTo>
                <a:lnTo>
                  <a:pt x="8414" y="3555"/>
                </a:lnTo>
                <a:lnTo>
                  <a:pt x="8397" y="3529"/>
                </a:lnTo>
                <a:lnTo>
                  <a:pt x="8378" y="3502"/>
                </a:lnTo>
                <a:lnTo>
                  <a:pt x="8358" y="3477"/>
                </a:lnTo>
                <a:lnTo>
                  <a:pt x="8337" y="3452"/>
                </a:lnTo>
                <a:lnTo>
                  <a:pt x="8314" y="3429"/>
                </a:lnTo>
                <a:lnTo>
                  <a:pt x="8292" y="3407"/>
                </a:lnTo>
                <a:lnTo>
                  <a:pt x="8267" y="3386"/>
                </a:lnTo>
                <a:lnTo>
                  <a:pt x="8242" y="3365"/>
                </a:lnTo>
                <a:lnTo>
                  <a:pt x="8215" y="3347"/>
                </a:lnTo>
                <a:lnTo>
                  <a:pt x="8188" y="3329"/>
                </a:lnTo>
                <a:lnTo>
                  <a:pt x="8160" y="3313"/>
                </a:lnTo>
                <a:lnTo>
                  <a:pt x="8130" y="3299"/>
                </a:lnTo>
                <a:lnTo>
                  <a:pt x="8101" y="3284"/>
                </a:lnTo>
                <a:lnTo>
                  <a:pt x="8070" y="3273"/>
                </a:lnTo>
                <a:lnTo>
                  <a:pt x="8039" y="3262"/>
                </a:lnTo>
                <a:lnTo>
                  <a:pt x="8008" y="3252"/>
                </a:lnTo>
                <a:lnTo>
                  <a:pt x="7975" y="3245"/>
                </a:lnTo>
                <a:lnTo>
                  <a:pt x="7941" y="3239"/>
                </a:lnTo>
                <a:lnTo>
                  <a:pt x="7909" y="3235"/>
                </a:lnTo>
                <a:lnTo>
                  <a:pt x="7874" y="3233"/>
                </a:lnTo>
                <a:lnTo>
                  <a:pt x="7839" y="3232"/>
                </a:lnTo>
                <a:lnTo>
                  <a:pt x="7805" y="3233"/>
                </a:lnTo>
                <a:lnTo>
                  <a:pt x="7771" y="3235"/>
                </a:lnTo>
                <a:lnTo>
                  <a:pt x="7737" y="3239"/>
                </a:lnTo>
                <a:lnTo>
                  <a:pt x="7704" y="3245"/>
                </a:lnTo>
                <a:lnTo>
                  <a:pt x="7672" y="3252"/>
                </a:lnTo>
                <a:lnTo>
                  <a:pt x="7640" y="3262"/>
                </a:lnTo>
                <a:lnTo>
                  <a:pt x="7609" y="3273"/>
                </a:lnTo>
                <a:lnTo>
                  <a:pt x="7579" y="3284"/>
                </a:lnTo>
                <a:lnTo>
                  <a:pt x="7549" y="3299"/>
                </a:lnTo>
                <a:lnTo>
                  <a:pt x="7519" y="3313"/>
                </a:lnTo>
                <a:lnTo>
                  <a:pt x="7492" y="3329"/>
                </a:lnTo>
                <a:lnTo>
                  <a:pt x="7464" y="3347"/>
                </a:lnTo>
                <a:lnTo>
                  <a:pt x="7438" y="3365"/>
                </a:lnTo>
                <a:lnTo>
                  <a:pt x="7413" y="3386"/>
                </a:lnTo>
                <a:lnTo>
                  <a:pt x="7389" y="3407"/>
                </a:lnTo>
                <a:lnTo>
                  <a:pt x="7365" y="3429"/>
                </a:lnTo>
                <a:lnTo>
                  <a:pt x="7343" y="3452"/>
                </a:lnTo>
                <a:lnTo>
                  <a:pt x="7321" y="3477"/>
                </a:lnTo>
                <a:lnTo>
                  <a:pt x="7302" y="3502"/>
                </a:lnTo>
                <a:lnTo>
                  <a:pt x="7283" y="3529"/>
                </a:lnTo>
                <a:lnTo>
                  <a:pt x="7266" y="3555"/>
                </a:lnTo>
                <a:lnTo>
                  <a:pt x="7250" y="3584"/>
                </a:lnTo>
                <a:lnTo>
                  <a:pt x="7234" y="3613"/>
                </a:lnTo>
                <a:lnTo>
                  <a:pt x="7221" y="3643"/>
                </a:lnTo>
                <a:lnTo>
                  <a:pt x="7209" y="3673"/>
                </a:lnTo>
                <a:lnTo>
                  <a:pt x="7198" y="3705"/>
                </a:lnTo>
                <a:lnTo>
                  <a:pt x="7189" y="3737"/>
                </a:lnTo>
                <a:lnTo>
                  <a:pt x="7182" y="3769"/>
                </a:lnTo>
                <a:lnTo>
                  <a:pt x="7176" y="3802"/>
                </a:lnTo>
                <a:lnTo>
                  <a:pt x="7172" y="3836"/>
                </a:lnTo>
                <a:lnTo>
                  <a:pt x="7169" y="3871"/>
                </a:lnTo>
                <a:lnTo>
                  <a:pt x="7168" y="3905"/>
                </a:lnTo>
                <a:close/>
                <a:moveTo>
                  <a:pt x="10211" y="10739"/>
                </a:moveTo>
                <a:lnTo>
                  <a:pt x="10211" y="10739"/>
                </a:lnTo>
                <a:lnTo>
                  <a:pt x="10211" y="10739"/>
                </a:lnTo>
                <a:close/>
                <a:moveTo>
                  <a:pt x="3398" y="8049"/>
                </a:moveTo>
                <a:lnTo>
                  <a:pt x="2083" y="8557"/>
                </a:lnTo>
                <a:lnTo>
                  <a:pt x="2040" y="8568"/>
                </a:lnTo>
                <a:lnTo>
                  <a:pt x="1998" y="8581"/>
                </a:lnTo>
                <a:lnTo>
                  <a:pt x="1955" y="8596"/>
                </a:lnTo>
                <a:lnTo>
                  <a:pt x="1912" y="8614"/>
                </a:lnTo>
                <a:lnTo>
                  <a:pt x="1870" y="8633"/>
                </a:lnTo>
                <a:lnTo>
                  <a:pt x="1827" y="8654"/>
                </a:lnTo>
                <a:lnTo>
                  <a:pt x="1785" y="8675"/>
                </a:lnTo>
                <a:lnTo>
                  <a:pt x="1743" y="8699"/>
                </a:lnTo>
                <a:lnTo>
                  <a:pt x="1702" y="8722"/>
                </a:lnTo>
                <a:lnTo>
                  <a:pt x="1662" y="8748"/>
                </a:lnTo>
                <a:lnTo>
                  <a:pt x="1623" y="8774"/>
                </a:lnTo>
                <a:lnTo>
                  <a:pt x="1584" y="8800"/>
                </a:lnTo>
                <a:lnTo>
                  <a:pt x="1546" y="8827"/>
                </a:lnTo>
                <a:lnTo>
                  <a:pt x="1509" y="8854"/>
                </a:lnTo>
                <a:lnTo>
                  <a:pt x="1473" y="8881"/>
                </a:lnTo>
                <a:lnTo>
                  <a:pt x="1439" y="8909"/>
                </a:lnTo>
                <a:lnTo>
                  <a:pt x="1405" y="8935"/>
                </a:lnTo>
                <a:lnTo>
                  <a:pt x="1373" y="8962"/>
                </a:lnTo>
                <a:lnTo>
                  <a:pt x="1343" y="8989"/>
                </a:lnTo>
                <a:lnTo>
                  <a:pt x="1313" y="9013"/>
                </a:lnTo>
                <a:lnTo>
                  <a:pt x="1260" y="9061"/>
                </a:lnTo>
                <a:lnTo>
                  <a:pt x="1214" y="9105"/>
                </a:lnTo>
                <a:lnTo>
                  <a:pt x="1176" y="9142"/>
                </a:lnTo>
                <a:lnTo>
                  <a:pt x="1146" y="9173"/>
                </a:lnTo>
                <a:lnTo>
                  <a:pt x="1127" y="9194"/>
                </a:lnTo>
                <a:lnTo>
                  <a:pt x="1117" y="9206"/>
                </a:lnTo>
                <a:lnTo>
                  <a:pt x="1038" y="9329"/>
                </a:lnTo>
                <a:lnTo>
                  <a:pt x="963" y="9460"/>
                </a:lnTo>
                <a:lnTo>
                  <a:pt x="891" y="9599"/>
                </a:lnTo>
                <a:lnTo>
                  <a:pt x="824" y="9742"/>
                </a:lnTo>
                <a:lnTo>
                  <a:pt x="759" y="9891"/>
                </a:lnTo>
                <a:lnTo>
                  <a:pt x="698" y="10046"/>
                </a:lnTo>
                <a:lnTo>
                  <a:pt x="641" y="10205"/>
                </a:lnTo>
                <a:lnTo>
                  <a:pt x="585" y="10368"/>
                </a:lnTo>
                <a:lnTo>
                  <a:pt x="534" y="10532"/>
                </a:lnTo>
                <a:lnTo>
                  <a:pt x="486" y="10700"/>
                </a:lnTo>
                <a:lnTo>
                  <a:pt x="440" y="10870"/>
                </a:lnTo>
                <a:lnTo>
                  <a:pt x="398" y="11042"/>
                </a:lnTo>
                <a:lnTo>
                  <a:pt x="359" y="11214"/>
                </a:lnTo>
                <a:lnTo>
                  <a:pt x="322" y="11386"/>
                </a:lnTo>
                <a:lnTo>
                  <a:pt x="287" y="11558"/>
                </a:lnTo>
                <a:lnTo>
                  <a:pt x="255" y="11728"/>
                </a:lnTo>
                <a:lnTo>
                  <a:pt x="226" y="11897"/>
                </a:lnTo>
                <a:lnTo>
                  <a:pt x="198" y="12064"/>
                </a:lnTo>
                <a:lnTo>
                  <a:pt x="173" y="12228"/>
                </a:lnTo>
                <a:lnTo>
                  <a:pt x="150" y="12388"/>
                </a:lnTo>
                <a:lnTo>
                  <a:pt x="130" y="12545"/>
                </a:lnTo>
                <a:lnTo>
                  <a:pt x="110" y="12697"/>
                </a:lnTo>
                <a:lnTo>
                  <a:pt x="93" y="12843"/>
                </a:lnTo>
                <a:lnTo>
                  <a:pt x="78" y="12984"/>
                </a:lnTo>
                <a:lnTo>
                  <a:pt x="64" y="13118"/>
                </a:lnTo>
                <a:lnTo>
                  <a:pt x="52" y="13245"/>
                </a:lnTo>
                <a:lnTo>
                  <a:pt x="42" y="13365"/>
                </a:lnTo>
                <a:lnTo>
                  <a:pt x="33" y="13476"/>
                </a:lnTo>
                <a:lnTo>
                  <a:pt x="18" y="13672"/>
                </a:lnTo>
                <a:lnTo>
                  <a:pt x="9" y="13827"/>
                </a:lnTo>
                <a:lnTo>
                  <a:pt x="5" y="13897"/>
                </a:lnTo>
                <a:lnTo>
                  <a:pt x="0" y="14007"/>
                </a:lnTo>
                <a:lnTo>
                  <a:pt x="1" y="14076"/>
                </a:lnTo>
                <a:lnTo>
                  <a:pt x="4" y="14141"/>
                </a:lnTo>
                <a:lnTo>
                  <a:pt x="8" y="14202"/>
                </a:lnTo>
                <a:lnTo>
                  <a:pt x="14" y="14260"/>
                </a:lnTo>
                <a:lnTo>
                  <a:pt x="22" y="14314"/>
                </a:lnTo>
                <a:lnTo>
                  <a:pt x="31" y="14365"/>
                </a:lnTo>
                <a:lnTo>
                  <a:pt x="41" y="14412"/>
                </a:lnTo>
                <a:lnTo>
                  <a:pt x="52" y="14456"/>
                </a:lnTo>
                <a:lnTo>
                  <a:pt x="64" y="14498"/>
                </a:lnTo>
                <a:lnTo>
                  <a:pt x="78" y="14536"/>
                </a:lnTo>
                <a:lnTo>
                  <a:pt x="92" y="14571"/>
                </a:lnTo>
                <a:lnTo>
                  <a:pt x="106" y="14604"/>
                </a:lnTo>
                <a:lnTo>
                  <a:pt x="122" y="14635"/>
                </a:lnTo>
                <a:lnTo>
                  <a:pt x="137" y="14661"/>
                </a:lnTo>
                <a:lnTo>
                  <a:pt x="152" y="14687"/>
                </a:lnTo>
                <a:lnTo>
                  <a:pt x="168" y="14709"/>
                </a:lnTo>
                <a:lnTo>
                  <a:pt x="184" y="14730"/>
                </a:lnTo>
                <a:lnTo>
                  <a:pt x="199" y="14747"/>
                </a:lnTo>
                <a:lnTo>
                  <a:pt x="215" y="14763"/>
                </a:lnTo>
                <a:lnTo>
                  <a:pt x="229" y="14778"/>
                </a:lnTo>
                <a:lnTo>
                  <a:pt x="244" y="14791"/>
                </a:lnTo>
                <a:lnTo>
                  <a:pt x="257" y="14801"/>
                </a:lnTo>
                <a:lnTo>
                  <a:pt x="271" y="14812"/>
                </a:lnTo>
                <a:lnTo>
                  <a:pt x="283" y="14819"/>
                </a:lnTo>
                <a:lnTo>
                  <a:pt x="304" y="14831"/>
                </a:lnTo>
                <a:lnTo>
                  <a:pt x="321" y="14838"/>
                </a:lnTo>
                <a:lnTo>
                  <a:pt x="332" y="14842"/>
                </a:lnTo>
                <a:lnTo>
                  <a:pt x="335" y="14843"/>
                </a:lnTo>
                <a:lnTo>
                  <a:pt x="589" y="14953"/>
                </a:lnTo>
                <a:lnTo>
                  <a:pt x="847" y="15056"/>
                </a:lnTo>
                <a:lnTo>
                  <a:pt x="1111" y="15155"/>
                </a:lnTo>
                <a:lnTo>
                  <a:pt x="1378" y="15248"/>
                </a:lnTo>
                <a:lnTo>
                  <a:pt x="1651" y="15337"/>
                </a:lnTo>
                <a:lnTo>
                  <a:pt x="1928" y="15420"/>
                </a:lnTo>
                <a:lnTo>
                  <a:pt x="2209" y="15498"/>
                </a:lnTo>
                <a:lnTo>
                  <a:pt x="2493" y="15569"/>
                </a:lnTo>
                <a:lnTo>
                  <a:pt x="2781" y="15637"/>
                </a:lnTo>
                <a:lnTo>
                  <a:pt x="3072" y="15699"/>
                </a:lnTo>
                <a:lnTo>
                  <a:pt x="3367" y="15756"/>
                </a:lnTo>
                <a:lnTo>
                  <a:pt x="3664" y="15808"/>
                </a:lnTo>
                <a:lnTo>
                  <a:pt x="3963" y="15854"/>
                </a:lnTo>
                <a:lnTo>
                  <a:pt x="4265" y="15896"/>
                </a:lnTo>
                <a:lnTo>
                  <a:pt x="4568" y="15932"/>
                </a:lnTo>
                <a:lnTo>
                  <a:pt x="4873" y="15962"/>
                </a:lnTo>
                <a:lnTo>
                  <a:pt x="5179" y="15988"/>
                </a:lnTo>
                <a:lnTo>
                  <a:pt x="5487" y="16008"/>
                </a:lnTo>
                <a:lnTo>
                  <a:pt x="5796" y="16024"/>
                </a:lnTo>
                <a:lnTo>
                  <a:pt x="6105" y="16033"/>
                </a:lnTo>
                <a:lnTo>
                  <a:pt x="6414" y="16038"/>
                </a:lnTo>
                <a:lnTo>
                  <a:pt x="6723" y="16037"/>
                </a:lnTo>
                <a:lnTo>
                  <a:pt x="7033" y="16032"/>
                </a:lnTo>
                <a:lnTo>
                  <a:pt x="7343" y="16021"/>
                </a:lnTo>
                <a:lnTo>
                  <a:pt x="7650" y="16004"/>
                </a:lnTo>
                <a:lnTo>
                  <a:pt x="7958" y="15983"/>
                </a:lnTo>
                <a:lnTo>
                  <a:pt x="8264" y="15956"/>
                </a:lnTo>
                <a:lnTo>
                  <a:pt x="8569" y="15924"/>
                </a:lnTo>
                <a:lnTo>
                  <a:pt x="8871" y="15888"/>
                </a:lnTo>
                <a:lnTo>
                  <a:pt x="9173" y="15846"/>
                </a:lnTo>
                <a:lnTo>
                  <a:pt x="9471" y="15797"/>
                </a:lnTo>
                <a:lnTo>
                  <a:pt x="9768" y="15745"/>
                </a:lnTo>
                <a:lnTo>
                  <a:pt x="9668" y="15612"/>
                </a:lnTo>
                <a:lnTo>
                  <a:pt x="9575" y="15475"/>
                </a:lnTo>
                <a:lnTo>
                  <a:pt x="9489" y="15334"/>
                </a:lnTo>
                <a:lnTo>
                  <a:pt x="9410" y="15188"/>
                </a:lnTo>
                <a:lnTo>
                  <a:pt x="9336" y="15040"/>
                </a:lnTo>
                <a:lnTo>
                  <a:pt x="9271" y="14888"/>
                </a:lnTo>
                <a:lnTo>
                  <a:pt x="9211" y="14734"/>
                </a:lnTo>
                <a:lnTo>
                  <a:pt x="9159" y="14577"/>
                </a:lnTo>
                <a:lnTo>
                  <a:pt x="9115" y="14417"/>
                </a:lnTo>
                <a:lnTo>
                  <a:pt x="9078" y="14257"/>
                </a:lnTo>
                <a:lnTo>
                  <a:pt x="9048" y="14094"/>
                </a:lnTo>
                <a:lnTo>
                  <a:pt x="9025" y="13930"/>
                </a:lnTo>
                <a:lnTo>
                  <a:pt x="9011" y="13764"/>
                </a:lnTo>
                <a:lnTo>
                  <a:pt x="9004" y="13598"/>
                </a:lnTo>
                <a:lnTo>
                  <a:pt x="9005" y="13433"/>
                </a:lnTo>
                <a:lnTo>
                  <a:pt x="9014" y="13267"/>
                </a:lnTo>
                <a:lnTo>
                  <a:pt x="9032" y="13101"/>
                </a:lnTo>
                <a:lnTo>
                  <a:pt x="9057" y="12935"/>
                </a:lnTo>
                <a:lnTo>
                  <a:pt x="9091" y="12771"/>
                </a:lnTo>
                <a:lnTo>
                  <a:pt x="9133" y="12607"/>
                </a:lnTo>
                <a:lnTo>
                  <a:pt x="9183" y="12446"/>
                </a:lnTo>
                <a:lnTo>
                  <a:pt x="9243" y="12286"/>
                </a:lnTo>
                <a:lnTo>
                  <a:pt x="9310" y="12127"/>
                </a:lnTo>
                <a:lnTo>
                  <a:pt x="9387" y="11972"/>
                </a:lnTo>
                <a:lnTo>
                  <a:pt x="9473" y="11819"/>
                </a:lnTo>
                <a:lnTo>
                  <a:pt x="9569" y="11670"/>
                </a:lnTo>
                <a:lnTo>
                  <a:pt x="9672" y="11523"/>
                </a:lnTo>
                <a:lnTo>
                  <a:pt x="9787" y="11381"/>
                </a:lnTo>
                <a:lnTo>
                  <a:pt x="9909" y="11242"/>
                </a:lnTo>
                <a:lnTo>
                  <a:pt x="10041" y="11108"/>
                </a:lnTo>
                <a:lnTo>
                  <a:pt x="10184" y="10978"/>
                </a:lnTo>
                <a:lnTo>
                  <a:pt x="10335" y="10853"/>
                </a:lnTo>
                <a:lnTo>
                  <a:pt x="10211" y="10739"/>
                </a:lnTo>
                <a:lnTo>
                  <a:pt x="10161" y="10686"/>
                </a:lnTo>
                <a:lnTo>
                  <a:pt x="10114" y="10628"/>
                </a:lnTo>
                <a:lnTo>
                  <a:pt x="10070" y="10566"/>
                </a:lnTo>
                <a:lnTo>
                  <a:pt x="10030" y="10501"/>
                </a:lnTo>
                <a:lnTo>
                  <a:pt x="9992" y="10432"/>
                </a:lnTo>
                <a:lnTo>
                  <a:pt x="9957" y="10359"/>
                </a:lnTo>
                <a:lnTo>
                  <a:pt x="9927" y="10285"/>
                </a:lnTo>
                <a:lnTo>
                  <a:pt x="9899" y="10207"/>
                </a:lnTo>
                <a:lnTo>
                  <a:pt x="9874" y="10127"/>
                </a:lnTo>
                <a:lnTo>
                  <a:pt x="9853" y="10045"/>
                </a:lnTo>
                <a:lnTo>
                  <a:pt x="9836" y="9961"/>
                </a:lnTo>
                <a:lnTo>
                  <a:pt x="9821" y="9876"/>
                </a:lnTo>
                <a:lnTo>
                  <a:pt x="9810" y="9790"/>
                </a:lnTo>
                <a:lnTo>
                  <a:pt x="9803" y="9703"/>
                </a:lnTo>
                <a:lnTo>
                  <a:pt x="9800" y="9615"/>
                </a:lnTo>
                <a:lnTo>
                  <a:pt x="9800" y="9527"/>
                </a:lnTo>
                <a:lnTo>
                  <a:pt x="9803" y="9438"/>
                </a:lnTo>
                <a:lnTo>
                  <a:pt x="9811" y="9350"/>
                </a:lnTo>
                <a:lnTo>
                  <a:pt x="9822" y="9263"/>
                </a:lnTo>
                <a:lnTo>
                  <a:pt x="9837" y="9176"/>
                </a:lnTo>
                <a:lnTo>
                  <a:pt x="9856" y="9090"/>
                </a:lnTo>
                <a:lnTo>
                  <a:pt x="9879" y="9006"/>
                </a:lnTo>
                <a:lnTo>
                  <a:pt x="9905" y="8923"/>
                </a:lnTo>
                <a:lnTo>
                  <a:pt x="9937" y="8842"/>
                </a:lnTo>
                <a:lnTo>
                  <a:pt x="9972" y="8763"/>
                </a:lnTo>
                <a:lnTo>
                  <a:pt x="10010" y="8687"/>
                </a:lnTo>
                <a:lnTo>
                  <a:pt x="10053" y="8613"/>
                </a:lnTo>
                <a:lnTo>
                  <a:pt x="10100" y="8542"/>
                </a:lnTo>
                <a:lnTo>
                  <a:pt x="10151" y="8475"/>
                </a:lnTo>
                <a:lnTo>
                  <a:pt x="10208" y="8411"/>
                </a:lnTo>
                <a:lnTo>
                  <a:pt x="10268" y="8352"/>
                </a:lnTo>
                <a:lnTo>
                  <a:pt x="10332" y="8295"/>
                </a:lnTo>
                <a:lnTo>
                  <a:pt x="10177" y="8237"/>
                </a:lnTo>
                <a:lnTo>
                  <a:pt x="10023" y="8180"/>
                </a:lnTo>
                <a:lnTo>
                  <a:pt x="9870" y="8122"/>
                </a:lnTo>
                <a:lnTo>
                  <a:pt x="9720" y="8065"/>
                </a:lnTo>
                <a:lnTo>
                  <a:pt x="9647" y="8035"/>
                </a:lnTo>
                <a:lnTo>
                  <a:pt x="9575" y="8007"/>
                </a:lnTo>
                <a:lnTo>
                  <a:pt x="9504" y="7977"/>
                </a:lnTo>
                <a:lnTo>
                  <a:pt x="9434" y="7948"/>
                </a:lnTo>
                <a:lnTo>
                  <a:pt x="9366" y="7919"/>
                </a:lnTo>
                <a:lnTo>
                  <a:pt x="9299" y="7889"/>
                </a:lnTo>
                <a:lnTo>
                  <a:pt x="9234" y="7858"/>
                </a:lnTo>
                <a:lnTo>
                  <a:pt x="9172" y="7828"/>
                </a:lnTo>
                <a:lnTo>
                  <a:pt x="9110" y="7797"/>
                </a:lnTo>
                <a:lnTo>
                  <a:pt x="9051" y="7766"/>
                </a:lnTo>
                <a:lnTo>
                  <a:pt x="8995" y="7734"/>
                </a:lnTo>
                <a:lnTo>
                  <a:pt x="8941" y="7703"/>
                </a:lnTo>
                <a:lnTo>
                  <a:pt x="8888" y="7670"/>
                </a:lnTo>
                <a:lnTo>
                  <a:pt x="8839" y="7637"/>
                </a:lnTo>
                <a:lnTo>
                  <a:pt x="8793" y="7603"/>
                </a:lnTo>
                <a:lnTo>
                  <a:pt x="8750" y="7569"/>
                </a:lnTo>
                <a:lnTo>
                  <a:pt x="8710" y="7534"/>
                </a:lnTo>
                <a:lnTo>
                  <a:pt x="8673" y="7499"/>
                </a:lnTo>
                <a:lnTo>
                  <a:pt x="8638" y="7463"/>
                </a:lnTo>
                <a:lnTo>
                  <a:pt x="8609" y="7426"/>
                </a:lnTo>
                <a:lnTo>
                  <a:pt x="8581" y="7388"/>
                </a:lnTo>
                <a:lnTo>
                  <a:pt x="8558" y="7351"/>
                </a:lnTo>
                <a:lnTo>
                  <a:pt x="8539" y="7312"/>
                </a:lnTo>
                <a:lnTo>
                  <a:pt x="8523" y="7272"/>
                </a:lnTo>
                <a:lnTo>
                  <a:pt x="8522" y="7277"/>
                </a:lnTo>
                <a:lnTo>
                  <a:pt x="8519" y="7267"/>
                </a:lnTo>
                <a:lnTo>
                  <a:pt x="6535" y="11392"/>
                </a:lnTo>
                <a:lnTo>
                  <a:pt x="4553" y="7267"/>
                </a:lnTo>
                <a:lnTo>
                  <a:pt x="4549" y="7277"/>
                </a:lnTo>
                <a:lnTo>
                  <a:pt x="4548" y="7272"/>
                </a:lnTo>
                <a:lnTo>
                  <a:pt x="4538" y="7298"/>
                </a:lnTo>
                <a:lnTo>
                  <a:pt x="4523" y="7326"/>
                </a:lnTo>
                <a:lnTo>
                  <a:pt x="4507" y="7354"/>
                </a:lnTo>
                <a:lnTo>
                  <a:pt x="4489" y="7381"/>
                </a:lnTo>
                <a:lnTo>
                  <a:pt x="4467" y="7409"/>
                </a:lnTo>
                <a:lnTo>
                  <a:pt x="4443" y="7437"/>
                </a:lnTo>
                <a:lnTo>
                  <a:pt x="4416" y="7465"/>
                </a:lnTo>
                <a:lnTo>
                  <a:pt x="4388" y="7493"/>
                </a:lnTo>
                <a:lnTo>
                  <a:pt x="4358" y="7521"/>
                </a:lnTo>
                <a:lnTo>
                  <a:pt x="4325" y="7549"/>
                </a:lnTo>
                <a:lnTo>
                  <a:pt x="4290" y="7577"/>
                </a:lnTo>
                <a:lnTo>
                  <a:pt x="4255" y="7604"/>
                </a:lnTo>
                <a:lnTo>
                  <a:pt x="4218" y="7632"/>
                </a:lnTo>
                <a:lnTo>
                  <a:pt x="4179" y="7659"/>
                </a:lnTo>
                <a:lnTo>
                  <a:pt x="4139" y="7685"/>
                </a:lnTo>
                <a:lnTo>
                  <a:pt x="4097" y="7712"/>
                </a:lnTo>
                <a:lnTo>
                  <a:pt x="4055" y="7738"/>
                </a:lnTo>
                <a:lnTo>
                  <a:pt x="4013" y="7763"/>
                </a:lnTo>
                <a:lnTo>
                  <a:pt x="3969" y="7789"/>
                </a:lnTo>
                <a:lnTo>
                  <a:pt x="3925" y="7813"/>
                </a:lnTo>
                <a:lnTo>
                  <a:pt x="3881" y="7837"/>
                </a:lnTo>
                <a:lnTo>
                  <a:pt x="3836" y="7860"/>
                </a:lnTo>
                <a:lnTo>
                  <a:pt x="3790" y="7883"/>
                </a:lnTo>
                <a:lnTo>
                  <a:pt x="3745" y="7905"/>
                </a:lnTo>
                <a:lnTo>
                  <a:pt x="3700" y="7926"/>
                </a:lnTo>
                <a:lnTo>
                  <a:pt x="3655" y="7946"/>
                </a:lnTo>
                <a:lnTo>
                  <a:pt x="3611" y="7966"/>
                </a:lnTo>
                <a:lnTo>
                  <a:pt x="3567" y="7984"/>
                </a:lnTo>
                <a:lnTo>
                  <a:pt x="3523" y="8003"/>
                </a:lnTo>
                <a:lnTo>
                  <a:pt x="3480" y="8019"/>
                </a:lnTo>
                <a:lnTo>
                  <a:pt x="3439" y="8034"/>
                </a:lnTo>
                <a:lnTo>
                  <a:pt x="3398" y="8049"/>
                </a:lnTo>
                <a:close/>
                <a:moveTo>
                  <a:pt x="12303" y="13492"/>
                </a:moveTo>
                <a:lnTo>
                  <a:pt x="12302" y="13460"/>
                </a:lnTo>
                <a:lnTo>
                  <a:pt x="12300" y="13430"/>
                </a:lnTo>
                <a:lnTo>
                  <a:pt x="12296" y="13400"/>
                </a:lnTo>
                <a:lnTo>
                  <a:pt x="12291" y="13370"/>
                </a:lnTo>
                <a:lnTo>
                  <a:pt x="12284" y="13340"/>
                </a:lnTo>
                <a:lnTo>
                  <a:pt x="12276" y="13312"/>
                </a:lnTo>
                <a:lnTo>
                  <a:pt x="12266" y="13284"/>
                </a:lnTo>
                <a:lnTo>
                  <a:pt x="12255" y="13257"/>
                </a:lnTo>
                <a:lnTo>
                  <a:pt x="12244" y="13230"/>
                </a:lnTo>
                <a:lnTo>
                  <a:pt x="12231" y="13203"/>
                </a:lnTo>
                <a:lnTo>
                  <a:pt x="12215" y="13179"/>
                </a:lnTo>
                <a:lnTo>
                  <a:pt x="12200" y="13154"/>
                </a:lnTo>
                <a:lnTo>
                  <a:pt x="12184" y="13131"/>
                </a:lnTo>
                <a:lnTo>
                  <a:pt x="12165" y="13107"/>
                </a:lnTo>
                <a:lnTo>
                  <a:pt x="12146" y="13086"/>
                </a:lnTo>
                <a:lnTo>
                  <a:pt x="12127" y="13064"/>
                </a:lnTo>
                <a:lnTo>
                  <a:pt x="12105" y="13045"/>
                </a:lnTo>
                <a:lnTo>
                  <a:pt x="12084" y="13025"/>
                </a:lnTo>
                <a:lnTo>
                  <a:pt x="12061" y="13008"/>
                </a:lnTo>
                <a:lnTo>
                  <a:pt x="12038" y="12990"/>
                </a:lnTo>
                <a:lnTo>
                  <a:pt x="12013" y="12975"/>
                </a:lnTo>
                <a:lnTo>
                  <a:pt x="11988" y="12961"/>
                </a:lnTo>
                <a:lnTo>
                  <a:pt x="11962" y="12947"/>
                </a:lnTo>
                <a:lnTo>
                  <a:pt x="11934" y="12935"/>
                </a:lnTo>
                <a:lnTo>
                  <a:pt x="11908" y="12924"/>
                </a:lnTo>
                <a:lnTo>
                  <a:pt x="11879" y="12915"/>
                </a:lnTo>
                <a:lnTo>
                  <a:pt x="11851" y="12906"/>
                </a:lnTo>
                <a:lnTo>
                  <a:pt x="11822" y="12900"/>
                </a:lnTo>
                <a:lnTo>
                  <a:pt x="11792" y="12894"/>
                </a:lnTo>
                <a:lnTo>
                  <a:pt x="11762" y="12891"/>
                </a:lnTo>
                <a:lnTo>
                  <a:pt x="11731" y="12888"/>
                </a:lnTo>
                <a:lnTo>
                  <a:pt x="11700" y="12888"/>
                </a:lnTo>
                <a:lnTo>
                  <a:pt x="11669" y="12888"/>
                </a:lnTo>
                <a:lnTo>
                  <a:pt x="11638" y="12891"/>
                </a:lnTo>
                <a:lnTo>
                  <a:pt x="11608" y="12894"/>
                </a:lnTo>
                <a:lnTo>
                  <a:pt x="11579" y="12900"/>
                </a:lnTo>
                <a:lnTo>
                  <a:pt x="11549" y="12906"/>
                </a:lnTo>
                <a:lnTo>
                  <a:pt x="11521" y="12915"/>
                </a:lnTo>
                <a:lnTo>
                  <a:pt x="11492" y="12924"/>
                </a:lnTo>
                <a:lnTo>
                  <a:pt x="11465" y="12935"/>
                </a:lnTo>
                <a:lnTo>
                  <a:pt x="11438" y="12947"/>
                </a:lnTo>
                <a:lnTo>
                  <a:pt x="11412" y="12961"/>
                </a:lnTo>
                <a:lnTo>
                  <a:pt x="11387" y="12975"/>
                </a:lnTo>
                <a:lnTo>
                  <a:pt x="11362" y="12990"/>
                </a:lnTo>
                <a:lnTo>
                  <a:pt x="11339" y="13008"/>
                </a:lnTo>
                <a:lnTo>
                  <a:pt x="11316" y="13025"/>
                </a:lnTo>
                <a:lnTo>
                  <a:pt x="11294" y="13045"/>
                </a:lnTo>
                <a:lnTo>
                  <a:pt x="11273" y="13064"/>
                </a:lnTo>
                <a:lnTo>
                  <a:pt x="11253" y="13086"/>
                </a:lnTo>
                <a:lnTo>
                  <a:pt x="11234" y="13107"/>
                </a:lnTo>
                <a:lnTo>
                  <a:pt x="11216" y="13131"/>
                </a:lnTo>
                <a:lnTo>
                  <a:pt x="11200" y="13154"/>
                </a:lnTo>
                <a:lnTo>
                  <a:pt x="11183" y="13179"/>
                </a:lnTo>
                <a:lnTo>
                  <a:pt x="11169" y="13203"/>
                </a:lnTo>
                <a:lnTo>
                  <a:pt x="11156" y="13230"/>
                </a:lnTo>
                <a:lnTo>
                  <a:pt x="11144" y="13257"/>
                </a:lnTo>
                <a:lnTo>
                  <a:pt x="11133" y="13284"/>
                </a:lnTo>
                <a:lnTo>
                  <a:pt x="11123" y="13312"/>
                </a:lnTo>
                <a:lnTo>
                  <a:pt x="11116" y="13340"/>
                </a:lnTo>
                <a:lnTo>
                  <a:pt x="11109" y="13370"/>
                </a:lnTo>
                <a:lnTo>
                  <a:pt x="11104" y="13400"/>
                </a:lnTo>
                <a:lnTo>
                  <a:pt x="11100" y="13430"/>
                </a:lnTo>
                <a:lnTo>
                  <a:pt x="11098" y="13460"/>
                </a:lnTo>
                <a:lnTo>
                  <a:pt x="11097" y="13492"/>
                </a:lnTo>
                <a:lnTo>
                  <a:pt x="11097" y="13514"/>
                </a:lnTo>
                <a:lnTo>
                  <a:pt x="11098" y="13536"/>
                </a:lnTo>
                <a:lnTo>
                  <a:pt x="11100" y="13558"/>
                </a:lnTo>
                <a:lnTo>
                  <a:pt x="11103" y="13579"/>
                </a:lnTo>
                <a:lnTo>
                  <a:pt x="11106" y="13601"/>
                </a:lnTo>
                <a:lnTo>
                  <a:pt x="11110" y="13621"/>
                </a:lnTo>
                <a:lnTo>
                  <a:pt x="11115" y="13640"/>
                </a:lnTo>
                <a:lnTo>
                  <a:pt x="11120" y="13659"/>
                </a:lnTo>
                <a:lnTo>
                  <a:pt x="10622" y="13659"/>
                </a:lnTo>
                <a:lnTo>
                  <a:pt x="10628" y="13751"/>
                </a:lnTo>
                <a:lnTo>
                  <a:pt x="10638" y="13842"/>
                </a:lnTo>
                <a:lnTo>
                  <a:pt x="10652" y="13931"/>
                </a:lnTo>
                <a:lnTo>
                  <a:pt x="10669" y="14018"/>
                </a:lnTo>
                <a:lnTo>
                  <a:pt x="10692" y="14104"/>
                </a:lnTo>
                <a:lnTo>
                  <a:pt x="10718" y="14189"/>
                </a:lnTo>
                <a:lnTo>
                  <a:pt x="10749" y="14271"/>
                </a:lnTo>
                <a:lnTo>
                  <a:pt x="10783" y="14352"/>
                </a:lnTo>
                <a:lnTo>
                  <a:pt x="10821" y="14431"/>
                </a:lnTo>
                <a:lnTo>
                  <a:pt x="10862" y="14507"/>
                </a:lnTo>
                <a:lnTo>
                  <a:pt x="10906" y="14580"/>
                </a:lnTo>
                <a:lnTo>
                  <a:pt x="10955" y="14652"/>
                </a:lnTo>
                <a:lnTo>
                  <a:pt x="11006" y="14722"/>
                </a:lnTo>
                <a:lnTo>
                  <a:pt x="11060" y="14788"/>
                </a:lnTo>
                <a:lnTo>
                  <a:pt x="11118" y="14853"/>
                </a:lnTo>
                <a:lnTo>
                  <a:pt x="11178" y="14913"/>
                </a:lnTo>
                <a:lnTo>
                  <a:pt x="11241" y="14971"/>
                </a:lnTo>
                <a:lnTo>
                  <a:pt x="11307" y="15027"/>
                </a:lnTo>
                <a:lnTo>
                  <a:pt x="11374" y="15079"/>
                </a:lnTo>
                <a:lnTo>
                  <a:pt x="11446" y="15128"/>
                </a:lnTo>
                <a:lnTo>
                  <a:pt x="11519" y="15174"/>
                </a:lnTo>
                <a:lnTo>
                  <a:pt x="11594" y="15216"/>
                </a:lnTo>
                <a:lnTo>
                  <a:pt x="11672" y="15255"/>
                </a:lnTo>
                <a:lnTo>
                  <a:pt x="11752" y="15290"/>
                </a:lnTo>
                <a:lnTo>
                  <a:pt x="11833" y="15321"/>
                </a:lnTo>
                <a:lnTo>
                  <a:pt x="11916" y="15349"/>
                </a:lnTo>
                <a:lnTo>
                  <a:pt x="12001" y="15373"/>
                </a:lnTo>
                <a:lnTo>
                  <a:pt x="12088" y="15392"/>
                </a:lnTo>
                <a:lnTo>
                  <a:pt x="12177" y="15407"/>
                </a:lnTo>
                <a:lnTo>
                  <a:pt x="12265" y="15419"/>
                </a:lnTo>
                <a:lnTo>
                  <a:pt x="12356" y="15425"/>
                </a:lnTo>
                <a:lnTo>
                  <a:pt x="12448" y="15428"/>
                </a:lnTo>
                <a:lnTo>
                  <a:pt x="12541" y="15425"/>
                </a:lnTo>
                <a:lnTo>
                  <a:pt x="12632" y="15419"/>
                </a:lnTo>
                <a:lnTo>
                  <a:pt x="12721" y="15407"/>
                </a:lnTo>
                <a:lnTo>
                  <a:pt x="12810" y="15392"/>
                </a:lnTo>
                <a:lnTo>
                  <a:pt x="12897" y="15373"/>
                </a:lnTo>
                <a:lnTo>
                  <a:pt x="12982" y="15349"/>
                </a:lnTo>
                <a:lnTo>
                  <a:pt x="13066" y="15321"/>
                </a:lnTo>
                <a:lnTo>
                  <a:pt x="13147" y="15290"/>
                </a:lnTo>
                <a:lnTo>
                  <a:pt x="13226" y="15255"/>
                </a:lnTo>
                <a:lnTo>
                  <a:pt x="13304" y="15216"/>
                </a:lnTo>
                <a:lnTo>
                  <a:pt x="13379" y="15174"/>
                </a:lnTo>
                <a:lnTo>
                  <a:pt x="13453" y="15128"/>
                </a:lnTo>
                <a:lnTo>
                  <a:pt x="13523" y="15079"/>
                </a:lnTo>
                <a:lnTo>
                  <a:pt x="13592" y="15027"/>
                </a:lnTo>
                <a:lnTo>
                  <a:pt x="13657" y="14971"/>
                </a:lnTo>
                <a:lnTo>
                  <a:pt x="13720" y="14913"/>
                </a:lnTo>
                <a:lnTo>
                  <a:pt x="13781" y="14853"/>
                </a:lnTo>
                <a:lnTo>
                  <a:pt x="13838" y="14788"/>
                </a:lnTo>
                <a:lnTo>
                  <a:pt x="13892" y="14722"/>
                </a:lnTo>
                <a:lnTo>
                  <a:pt x="13943" y="14652"/>
                </a:lnTo>
                <a:lnTo>
                  <a:pt x="13991" y="14580"/>
                </a:lnTo>
                <a:lnTo>
                  <a:pt x="14036" y="14507"/>
                </a:lnTo>
                <a:lnTo>
                  <a:pt x="14077" y="14431"/>
                </a:lnTo>
                <a:lnTo>
                  <a:pt x="14115" y="14352"/>
                </a:lnTo>
                <a:lnTo>
                  <a:pt x="14149" y="14271"/>
                </a:lnTo>
                <a:lnTo>
                  <a:pt x="14179" y="14189"/>
                </a:lnTo>
                <a:lnTo>
                  <a:pt x="14206" y="14104"/>
                </a:lnTo>
                <a:lnTo>
                  <a:pt x="14228" y="14018"/>
                </a:lnTo>
                <a:lnTo>
                  <a:pt x="14247" y="13931"/>
                </a:lnTo>
                <a:lnTo>
                  <a:pt x="14260" y="13842"/>
                </a:lnTo>
                <a:lnTo>
                  <a:pt x="14270" y="13751"/>
                </a:lnTo>
                <a:lnTo>
                  <a:pt x="14275" y="13659"/>
                </a:lnTo>
                <a:lnTo>
                  <a:pt x="12280" y="13659"/>
                </a:lnTo>
                <a:lnTo>
                  <a:pt x="12285" y="13640"/>
                </a:lnTo>
                <a:lnTo>
                  <a:pt x="12290" y="13621"/>
                </a:lnTo>
                <a:lnTo>
                  <a:pt x="12294" y="13601"/>
                </a:lnTo>
                <a:lnTo>
                  <a:pt x="12297" y="13579"/>
                </a:lnTo>
                <a:lnTo>
                  <a:pt x="12300" y="13558"/>
                </a:lnTo>
                <a:lnTo>
                  <a:pt x="12301" y="13536"/>
                </a:lnTo>
                <a:lnTo>
                  <a:pt x="12302" y="13514"/>
                </a:lnTo>
                <a:lnTo>
                  <a:pt x="12303" y="13492"/>
                </a:lnTo>
                <a:close/>
                <a:moveTo>
                  <a:pt x="12539" y="11996"/>
                </a:moveTo>
                <a:lnTo>
                  <a:pt x="12539" y="12008"/>
                </a:lnTo>
                <a:lnTo>
                  <a:pt x="12538" y="12018"/>
                </a:lnTo>
                <a:lnTo>
                  <a:pt x="12537" y="12028"/>
                </a:lnTo>
                <a:lnTo>
                  <a:pt x="12535" y="12039"/>
                </a:lnTo>
                <a:lnTo>
                  <a:pt x="12533" y="12050"/>
                </a:lnTo>
                <a:lnTo>
                  <a:pt x="12530" y="12059"/>
                </a:lnTo>
                <a:lnTo>
                  <a:pt x="12527" y="12069"/>
                </a:lnTo>
                <a:lnTo>
                  <a:pt x="12523" y="12078"/>
                </a:lnTo>
                <a:lnTo>
                  <a:pt x="12514" y="12097"/>
                </a:lnTo>
                <a:lnTo>
                  <a:pt x="12504" y="12114"/>
                </a:lnTo>
                <a:lnTo>
                  <a:pt x="12491" y="12130"/>
                </a:lnTo>
                <a:lnTo>
                  <a:pt x="12478" y="12146"/>
                </a:lnTo>
                <a:lnTo>
                  <a:pt x="12463" y="12159"/>
                </a:lnTo>
                <a:lnTo>
                  <a:pt x="12446" y="12171"/>
                </a:lnTo>
                <a:lnTo>
                  <a:pt x="12429" y="12182"/>
                </a:lnTo>
                <a:lnTo>
                  <a:pt x="12411" y="12191"/>
                </a:lnTo>
                <a:lnTo>
                  <a:pt x="12400" y="12195"/>
                </a:lnTo>
                <a:lnTo>
                  <a:pt x="12391" y="12198"/>
                </a:lnTo>
                <a:lnTo>
                  <a:pt x="12381" y="12201"/>
                </a:lnTo>
                <a:lnTo>
                  <a:pt x="12371" y="12203"/>
                </a:lnTo>
                <a:lnTo>
                  <a:pt x="12360" y="12205"/>
                </a:lnTo>
                <a:lnTo>
                  <a:pt x="12349" y="12206"/>
                </a:lnTo>
                <a:lnTo>
                  <a:pt x="12339" y="12207"/>
                </a:lnTo>
                <a:lnTo>
                  <a:pt x="12328" y="12207"/>
                </a:lnTo>
                <a:lnTo>
                  <a:pt x="12317" y="12207"/>
                </a:lnTo>
                <a:lnTo>
                  <a:pt x="12306" y="12206"/>
                </a:lnTo>
                <a:lnTo>
                  <a:pt x="12296" y="12205"/>
                </a:lnTo>
                <a:lnTo>
                  <a:pt x="12285" y="12203"/>
                </a:lnTo>
                <a:lnTo>
                  <a:pt x="12276" y="12201"/>
                </a:lnTo>
                <a:lnTo>
                  <a:pt x="12265" y="12198"/>
                </a:lnTo>
                <a:lnTo>
                  <a:pt x="12255" y="12195"/>
                </a:lnTo>
                <a:lnTo>
                  <a:pt x="12246" y="12191"/>
                </a:lnTo>
                <a:lnTo>
                  <a:pt x="12228" y="12182"/>
                </a:lnTo>
                <a:lnTo>
                  <a:pt x="12210" y="12171"/>
                </a:lnTo>
                <a:lnTo>
                  <a:pt x="12194" y="12159"/>
                </a:lnTo>
                <a:lnTo>
                  <a:pt x="12179" y="12146"/>
                </a:lnTo>
                <a:lnTo>
                  <a:pt x="12165" y="12130"/>
                </a:lnTo>
                <a:lnTo>
                  <a:pt x="12153" y="12114"/>
                </a:lnTo>
                <a:lnTo>
                  <a:pt x="12143" y="12097"/>
                </a:lnTo>
                <a:lnTo>
                  <a:pt x="12134" y="12078"/>
                </a:lnTo>
                <a:lnTo>
                  <a:pt x="12130" y="12069"/>
                </a:lnTo>
                <a:lnTo>
                  <a:pt x="12127" y="12059"/>
                </a:lnTo>
                <a:lnTo>
                  <a:pt x="12123" y="12050"/>
                </a:lnTo>
                <a:lnTo>
                  <a:pt x="12121" y="12039"/>
                </a:lnTo>
                <a:lnTo>
                  <a:pt x="12119" y="12028"/>
                </a:lnTo>
                <a:lnTo>
                  <a:pt x="12118" y="12018"/>
                </a:lnTo>
                <a:lnTo>
                  <a:pt x="12117" y="12008"/>
                </a:lnTo>
                <a:lnTo>
                  <a:pt x="12117" y="11996"/>
                </a:lnTo>
                <a:lnTo>
                  <a:pt x="12117" y="11985"/>
                </a:lnTo>
                <a:lnTo>
                  <a:pt x="12118" y="11975"/>
                </a:lnTo>
                <a:lnTo>
                  <a:pt x="12119" y="11964"/>
                </a:lnTo>
                <a:lnTo>
                  <a:pt x="12121" y="11953"/>
                </a:lnTo>
                <a:lnTo>
                  <a:pt x="12123" y="11943"/>
                </a:lnTo>
                <a:lnTo>
                  <a:pt x="12127" y="11933"/>
                </a:lnTo>
                <a:lnTo>
                  <a:pt x="12130" y="11924"/>
                </a:lnTo>
                <a:lnTo>
                  <a:pt x="12134" y="11913"/>
                </a:lnTo>
                <a:lnTo>
                  <a:pt x="12143" y="11895"/>
                </a:lnTo>
                <a:lnTo>
                  <a:pt x="12153" y="11878"/>
                </a:lnTo>
                <a:lnTo>
                  <a:pt x="12165" y="11861"/>
                </a:lnTo>
                <a:lnTo>
                  <a:pt x="12179" y="11846"/>
                </a:lnTo>
                <a:lnTo>
                  <a:pt x="12194" y="11833"/>
                </a:lnTo>
                <a:lnTo>
                  <a:pt x="12210" y="11820"/>
                </a:lnTo>
                <a:lnTo>
                  <a:pt x="12228" y="11810"/>
                </a:lnTo>
                <a:lnTo>
                  <a:pt x="12246" y="11801"/>
                </a:lnTo>
                <a:lnTo>
                  <a:pt x="12255" y="11797"/>
                </a:lnTo>
                <a:lnTo>
                  <a:pt x="12265" y="11794"/>
                </a:lnTo>
                <a:lnTo>
                  <a:pt x="12276" y="11791"/>
                </a:lnTo>
                <a:lnTo>
                  <a:pt x="12285" y="11788"/>
                </a:lnTo>
                <a:lnTo>
                  <a:pt x="12296" y="11786"/>
                </a:lnTo>
                <a:lnTo>
                  <a:pt x="12306" y="11785"/>
                </a:lnTo>
                <a:lnTo>
                  <a:pt x="12317" y="11784"/>
                </a:lnTo>
                <a:lnTo>
                  <a:pt x="12328" y="11784"/>
                </a:lnTo>
                <a:lnTo>
                  <a:pt x="12339" y="11784"/>
                </a:lnTo>
                <a:lnTo>
                  <a:pt x="12349" y="11785"/>
                </a:lnTo>
                <a:lnTo>
                  <a:pt x="12360" y="11786"/>
                </a:lnTo>
                <a:lnTo>
                  <a:pt x="12371" y="11788"/>
                </a:lnTo>
                <a:lnTo>
                  <a:pt x="12381" y="11791"/>
                </a:lnTo>
                <a:lnTo>
                  <a:pt x="12391" y="11794"/>
                </a:lnTo>
                <a:lnTo>
                  <a:pt x="12400" y="11797"/>
                </a:lnTo>
                <a:lnTo>
                  <a:pt x="12411" y="11801"/>
                </a:lnTo>
                <a:lnTo>
                  <a:pt x="12429" y="11810"/>
                </a:lnTo>
                <a:lnTo>
                  <a:pt x="12446" y="11820"/>
                </a:lnTo>
                <a:lnTo>
                  <a:pt x="12463" y="11833"/>
                </a:lnTo>
                <a:lnTo>
                  <a:pt x="12478" y="11846"/>
                </a:lnTo>
                <a:lnTo>
                  <a:pt x="12491" y="11861"/>
                </a:lnTo>
                <a:lnTo>
                  <a:pt x="12504" y="11878"/>
                </a:lnTo>
                <a:lnTo>
                  <a:pt x="12514" y="11895"/>
                </a:lnTo>
                <a:lnTo>
                  <a:pt x="12523" y="11913"/>
                </a:lnTo>
                <a:lnTo>
                  <a:pt x="12527" y="11924"/>
                </a:lnTo>
                <a:lnTo>
                  <a:pt x="12530" y="11933"/>
                </a:lnTo>
                <a:lnTo>
                  <a:pt x="12533" y="11943"/>
                </a:lnTo>
                <a:lnTo>
                  <a:pt x="12535" y="11953"/>
                </a:lnTo>
                <a:lnTo>
                  <a:pt x="12537" y="11964"/>
                </a:lnTo>
                <a:lnTo>
                  <a:pt x="12538" y="11975"/>
                </a:lnTo>
                <a:lnTo>
                  <a:pt x="12539" y="11985"/>
                </a:lnTo>
                <a:lnTo>
                  <a:pt x="12539" y="11996"/>
                </a:lnTo>
                <a:close/>
                <a:moveTo>
                  <a:pt x="13365" y="12823"/>
                </a:moveTo>
                <a:lnTo>
                  <a:pt x="13364" y="12843"/>
                </a:lnTo>
                <a:lnTo>
                  <a:pt x="13363" y="12862"/>
                </a:lnTo>
                <a:lnTo>
                  <a:pt x="13361" y="12881"/>
                </a:lnTo>
                <a:lnTo>
                  <a:pt x="13358" y="12899"/>
                </a:lnTo>
                <a:lnTo>
                  <a:pt x="13353" y="12918"/>
                </a:lnTo>
                <a:lnTo>
                  <a:pt x="13348" y="12935"/>
                </a:lnTo>
                <a:lnTo>
                  <a:pt x="13342" y="12952"/>
                </a:lnTo>
                <a:lnTo>
                  <a:pt x="13335" y="12970"/>
                </a:lnTo>
                <a:lnTo>
                  <a:pt x="13328" y="12986"/>
                </a:lnTo>
                <a:lnTo>
                  <a:pt x="13320" y="13002"/>
                </a:lnTo>
                <a:lnTo>
                  <a:pt x="13311" y="13018"/>
                </a:lnTo>
                <a:lnTo>
                  <a:pt x="13301" y="13033"/>
                </a:lnTo>
                <a:lnTo>
                  <a:pt x="13290" y="13048"/>
                </a:lnTo>
                <a:lnTo>
                  <a:pt x="13279" y="13062"/>
                </a:lnTo>
                <a:lnTo>
                  <a:pt x="13268" y="13075"/>
                </a:lnTo>
                <a:lnTo>
                  <a:pt x="13256" y="13089"/>
                </a:lnTo>
                <a:lnTo>
                  <a:pt x="13242" y="13101"/>
                </a:lnTo>
                <a:lnTo>
                  <a:pt x="13229" y="13112"/>
                </a:lnTo>
                <a:lnTo>
                  <a:pt x="13215" y="13123"/>
                </a:lnTo>
                <a:lnTo>
                  <a:pt x="13200" y="13134"/>
                </a:lnTo>
                <a:lnTo>
                  <a:pt x="13185" y="13144"/>
                </a:lnTo>
                <a:lnTo>
                  <a:pt x="13170" y="13153"/>
                </a:lnTo>
                <a:lnTo>
                  <a:pt x="13153" y="13161"/>
                </a:lnTo>
                <a:lnTo>
                  <a:pt x="13137" y="13168"/>
                </a:lnTo>
                <a:lnTo>
                  <a:pt x="13120" y="13176"/>
                </a:lnTo>
                <a:lnTo>
                  <a:pt x="13102" y="13181"/>
                </a:lnTo>
                <a:lnTo>
                  <a:pt x="13085" y="13186"/>
                </a:lnTo>
                <a:lnTo>
                  <a:pt x="13067" y="13190"/>
                </a:lnTo>
                <a:lnTo>
                  <a:pt x="13048" y="13194"/>
                </a:lnTo>
                <a:lnTo>
                  <a:pt x="13030" y="13196"/>
                </a:lnTo>
                <a:lnTo>
                  <a:pt x="13010" y="13197"/>
                </a:lnTo>
                <a:lnTo>
                  <a:pt x="12992" y="13198"/>
                </a:lnTo>
                <a:lnTo>
                  <a:pt x="12973" y="13197"/>
                </a:lnTo>
                <a:lnTo>
                  <a:pt x="12953" y="13196"/>
                </a:lnTo>
                <a:lnTo>
                  <a:pt x="12935" y="13194"/>
                </a:lnTo>
                <a:lnTo>
                  <a:pt x="12916" y="13190"/>
                </a:lnTo>
                <a:lnTo>
                  <a:pt x="12899" y="13186"/>
                </a:lnTo>
                <a:lnTo>
                  <a:pt x="12881" y="13181"/>
                </a:lnTo>
                <a:lnTo>
                  <a:pt x="12863" y="13176"/>
                </a:lnTo>
                <a:lnTo>
                  <a:pt x="12847" y="13168"/>
                </a:lnTo>
                <a:lnTo>
                  <a:pt x="12829" y="13161"/>
                </a:lnTo>
                <a:lnTo>
                  <a:pt x="12814" y="13153"/>
                </a:lnTo>
                <a:lnTo>
                  <a:pt x="12798" y="13144"/>
                </a:lnTo>
                <a:lnTo>
                  <a:pt x="12784" y="13134"/>
                </a:lnTo>
                <a:lnTo>
                  <a:pt x="12768" y="13123"/>
                </a:lnTo>
                <a:lnTo>
                  <a:pt x="12755" y="13112"/>
                </a:lnTo>
                <a:lnTo>
                  <a:pt x="12741" y="13101"/>
                </a:lnTo>
                <a:lnTo>
                  <a:pt x="12728" y="13089"/>
                </a:lnTo>
                <a:lnTo>
                  <a:pt x="12715" y="13075"/>
                </a:lnTo>
                <a:lnTo>
                  <a:pt x="12704" y="13062"/>
                </a:lnTo>
                <a:lnTo>
                  <a:pt x="12693" y="13048"/>
                </a:lnTo>
                <a:lnTo>
                  <a:pt x="12682" y="13033"/>
                </a:lnTo>
                <a:lnTo>
                  <a:pt x="12672" y="13018"/>
                </a:lnTo>
                <a:lnTo>
                  <a:pt x="12664" y="13002"/>
                </a:lnTo>
                <a:lnTo>
                  <a:pt x="12656" y="12986"/>
                </a:lnTo>
                <a:lnTo>
                  <a:pt x="12648" y="12970"/>
                </a:lnTo>
                <a:lnTo>
                  <a:pt x="12641" y="12952"/>
                </a:lnTo>
                <a:lnTo>
                  <a:pt x="12635" y="12935"/>
                </a:lnTo>
                <a:lnTo>
                  <a:pt x="12630" y="12918"/>
                </a:lnTo>
                <a:lnTo>
                  <a:pt x="12626" y="12899"/>
                </a:lnTo>
                <a:lnTo>
                  <a:pt x="12623" y="12881"/>
                </a:lnTo>
                <a:lnTo>
                  <a:pt x="12620" y="12862"/>
                </a:lnTo>
                <a:lnTo>
                  <a:pt x="12619" y="12843"/>
                </a:lnTo>
                <a:lnTo>
                  <a:pt x="12618" y="12823"/>
                </a:lnTo>
                <a:lnTo>
                  <a:pt x="12619" y="12805"/>
                </a:lnTo>
                <a:lnTo>
                  <a:pt x="12620" y="12786"/>
                </a:lnTo>
                <a:lnTo>
                  <a:pt x="12623" y="12767"/>
                </a:lnTo>
                <a:lnTo>
                  <a:pt x="12626" y="12749"/>
                </a:lnTo>
                <a:lnTo>
                  <a:pt x="12630" y="12730"/>
                </a:lnTo>
                <a:lnTo>
                  <a:pt x="12635" y="12713"/>
                </a:lnTo>
                <a:lnTo>
                  <a:pt x="12641" y="12696"/>
                </a:lnTo>
                <a:lnTo>
                  <a:pt x="12648" y="12678"/>
                </a:lnTo>
                <a:lnTo>
                  <a:pt x="12656" y="12662"/>
                </a:lnTo>
                <a:lnTo>
                  <a:pt x="12664" y="12646"/>
                </a:lnTo>
                <a:lnTo>
                  <a:pt x="12672" y="12630"/>
                </a:lnTo>
                <a:lnTo>
                  <a:pt x="12682" y="12615"/>
                </a:lnTo>
                <a:lnTo>
                  <a:pt x="12693" y="12600"/>
                </a:lnTo>
                <a:lnTo>
                  <a:pt x="12704" y="12586"/>
                </a:lnTo>
                <a:lnTo>
                  <a:pt x="12715" y="12573"/>
                </a:lnTo>
                <a:lnTo>
                  <a:pt x="12728" y="12559"/>
                </a:lnTo>
                <a:lnTo>
                  <a:pt x="12741" y="12547"/>
                </a:lnTo>
                <a:lnTo>
                  <a:pt x="12755" y="12536"/>
                </a:lnTo>
                <a:lnTo>
                  <a:pt x="12768" y="12525"/>
                </a:lnTo>
                <a:lnTo>
                  <a:pt x="12784" y="12514"/>
                </a:lnTo>
                <a:lnTo>
                  <a:pt x="12798" y="12504"/>
                </a:lnTo>
                <a:lnTo>
                  <a:pt x="12814" y="12496"/>
                </a:lnTo>
                <a:lnTo>
                  <a:pt x="12829" y="12487"/>
                </a:lnTo>
                <a:lnTo>
                  <a:pt x="12847" y="12480"/>
                </a:lnTo>
                <a:lnTo>
                  <a:pt x="12863" y="12473"/>
                </a:lnTo>
                <a:lnTo>
                  <a:pt x="12881" y="12467"/>
                </a:lnTo>
                <a:lnTo>
                  <a:pt x="12899" y="12462"/>
                </a:lnTo>
                <a:lnTo>
                  <a:pt x="12916" y="12458"/>
                </a:lnTo>
                <a:lnTo>
                  <a:pt x="12935" y="12455"/>
                </a:lnTo>
                <a:lnTo>
                  <a:pt x="12953" y="12452"/>
                </a:lnTo>
                <a:lnTo>
                  <a:pt x="12973" y="12451"/>
                </a:lnTo>
                <a:lnTo>
                  <a:pt x="12992" y="12450"/>
                </a:lnTo>
                <a:lnTo>
                  <a:pt x="13010" y="12451"/>
                </a:lnTo>
                <a:lnTo>
                  <a:pt x="13030" y="12452"/>
                </a:lnTo>
                <a:lnTo>
                  <a:pt x="13048" y="12455"/>
                </a:lnTo>
                <a:lnTo>
                  <a:pt x="13067" y="12458"/>
                </a:lnTo>
                <a:lnTo>
                  <a:pt x="13085" y="12462"/>
                </a:lnTo>
                <a:lnTo>
                  <a:pt x="13102" y="12467"/>
                </a:lnTo>
                <a:lnTo>
                  <a:pt x="13120" y="12473"/>
                </a:lnTo>
                <a:lnTo>
                  <a:pt x="13137" y="12480"/>
                </a:lnTo>
                <a:lnTo>
                  <a:pt x="13153" y="12487"/>
                </a:lnTo>
                <a:lnTo>
                  <a:pt x="13170" y="12496"/>
                </a:lnTo>
                <a:lnTo>
                  <a:pt x="13185" y="12504"/>
                </a:lnTo>
                <a:lnTo>
                  <a:pt x="13200" y="12514"/>
                </a:lnTo>
                <a:lnTo>
                  <a:pt x="13215" y="12525"/>
                </a:lnTo>
                <a:lnTo>
                  <a:pt x="13229" y="12536"/>
                </a:lnTo>
                <a:lnTo>
                  <a:pt x="13242" y="12547"/>
                </a:lnTo>
                <a:lnTo>
                  <a:pt x="13256" y="12559"/>
                </a:lnTo>
                <a:lnTo>
                  <a:pt x="13268" y="12573"/>
                </a:lnTo>
                <a:lnTo>
                  <a:pt x="13279" y="12586"/>
                </a:lnTo>
                <a:lnTo>
                  <a:pt x="13290" y="12600"/>
                </a:lnTo>
                <a:lnTo>
                  <a:pt x="13301" y="12615"/>
                </a:lnTo>
                <a:lnTo>
                  <a:pt x="13311" y="12630"/>
                </a:lnTo>
                <a:lnTo>
                  <a:pt x="13320" y="12646"/>
                </a:lnTo>
                <a:lnTo>
                  <a:pt x="13328" y="12662"/>
                </a:lnTo>
                <a:lnTo>
                  <a:pt x="13335" y="12678"/>
                </a:lnTo>
                <a:lnTo>
                  <a:pt x="13342" y="12696"/>
                </a:lnTo>
                <a:lnTo>
                  <a:pt x="13348" y="12713"/>
                </a:lnTo>
                <a:lnTo>
                  <a:pt x="13353" y="12730"/>
                </a:lnTo>
                <a:lnTo>
                  <a:pt x="13358" y="12749"/>
                </a:lnTo>
                <a:lnTo>
                  <a:pt x="13361" y="12767"/>
                </a:lnTo>
                <a:lnTo>
                  <a:pt x="13363" y="12786"/>
                </a:lnTo>
                <a:lnTo>
                  <a:pt x="13364" y="12805"/>
                </a:lnTo>
                <a:lnTo>
                  <a:pt x="13365" y="12823"/>
                </a:lnTo>
                <a:close/>
                <a:moveTo>
                  <a:pt x="14728" y="11945"/>
                </a:moveTo>
                <a:lnTo>
                  <a:pt x="14700" y="11907"/>
                </a:lnTo>
                <a:lnTo>
                  <a:pt x="14673" y="11870"/>
                </a:lnTo>
                <a:lnTo>
                  <a:pt x="14644" y="11834"/>
                </a:lnTo>
                <a:lnTo>
                  <a:pt x="14616" y="11797"/>
                </a:lnTo>
                <a:lnTo>
                  <a:pt x="14586" y="11762"/>
                </a:lnTo>
                <a:lnTo>
                  <a:pt x="14555" y="11726"/>
                </a:lnTo>
                <a:lnTo>
                  <a:pt x="14525" y="11692"/>
                </a:lnTo>
                <a:lnTo>
                  <a:pt x="14493" y="11657"/>
                </a:lnTo>
                <a:lnTo>
                  <a:pt x="14461" y="11625"/>
                </a:lnTo>
                <a:lnTo>
                  <a:pt x="14429" y="11592"/>
                </a:lnTo>
                <a:lnTo>
                  <a:pt x="14396" y="11559"/>
                </a:lnTo>
                <a:lnTo>
                  <a:pt x="14362" y="11527"/>
                </a:lnTo>
                <a:lnTo>
                  <a:pt x="14328" y="11497"/>
                </a:lnTo>
                <a:lnTo>
                  <a:pt x="14294" y="11466"/>
                </a:lnTo>
                <a:lnTo>
                  <a:pt x="14259" y="11436"/>
                </a:lnTo>
                <a:lnTo>
                  <a:pt x="14223" y="11407"/>
                </a:lnTo>
                <a:lnTo>
                  <a:pt x="14187" y="11378"/>
                </a:lnTo>
                <a:lnTo>
                  <a:pt x="14152" y="11350"/>
                </a:lnTo>
                <a:lnTo>
                  <a:pt x="14115" y="11323"/>
                </a:lnTo>
                <a:lnTo>
                  <a:pt x="14077" y="11295"/>
                </a:lnTo>
                <a:lnTo>
                  <a:pt x="14039" y="11269"/>
                </a:lnTo>
                <a:lnTo>
                  <a:pt x="14001" y="11244"/>
                </a:lnTo>
                <a:lnTo>
                  <a:pt x="13963" y="11218"/>
                </a:lnTo>
                <a:lnTo>
                  <a:pt x="13924" y="11194"/>
                </a:lnTo>
                <a:lnTo>
                  <a:pt x="13884" y="11170"/>
                </a:lnTo>
                <a:lnTo>
                  <a:pt x="13844" y="11148"/>
                </a:lnTo>
                <a:lnTo>
                  <a:pt x="13803" y="11125"/>
                </a:lnTo>
                <a:lnTo>
                  <a:pt x="13763" y="11104"/>
                </a:lnTo>
                <a:lnTo>
                  <a:pt x="13722" y="11082"/>
                </a:lnTo>
                <a:lnTo>
                  <a:pt x="13681" y="11062"/>
                </a:lnTo>
                <a:lnTo>
                  <a:pt x="13639" y="11042"/>
                </a:lnTo>
                <a:lnTo>
                  <a:pt x="13597" y="11023"/>
                </a:lnTo>
                <a:lnTo>
                  <a:pt x="13597" y="10487"/>
                </a:lnTo>
                <a:lnTo>
                  <a:pt x="13734" y="10487"/>
                </a:lnTo>
                <a:lnTo>
                  <a:pt x="13770" y="10486"/>
                </a:lnTo>
                <a:lnTo>
                  <a:pt x="13804" y="10483"/>
                </a:lnTo>
                <a:lnTo>
                  <a:pt x="13839" y="10479"/>
                </a:lnTo>
                <a:lnTo>
                  <a:pt x="13873" y="10473"/>
                </a:lnTo>
                <a:lnTo>
                  <a:pt x="13905" y="10465"/>
                </a:lnTo>
                <a:lnTo>
                  <a:pt x="13938" y="10456"/>
                </a:lnTo>
                <a:lnTo>
                  <a:pt x="13971" y="10444"/>
                </a:lnTo>
                <a:lnTo>
                  <a:pt x="14001" y="10432"/>
                </a:lnTo>
                <a:lnTo>
                  <a:pt x="14032" y="10418"/>
                </a:lnTo>
                <a:lnTo>
                  <a:pt x="14062" y="10402"/>
                </a:lnTo>
                <a:lnTo>
                  <a:pt x="14090" y="10385"/>
                </a:lnTo>
                <a:lnTo>
                  <a:pt x="14118" y="10366"/>
                </a:lnTo>
                <a:lnTo>
                  <a:pt x="14145" y="10347"/>
                </a:lnTo>
                <a:lnTo>
                  <a:pt x="14171" y="10327"/>
                </a:lnTo>
                <a:lnTo>
                  <a:pt x="14196" y="10304"/>
                </a:lnTo>
                <a:lnTo>
                  <a:pt x="14219" y="10282"/>
                </a:lnTo>
                <a:lnTo>
                  <a:pt x="14243" y="10257"/>
                </a:lnTo>
                <a:lnTo>
                  <a:pt x="14264" y="10231"/>
                </a:lnTo>
                <a:lnTo>
                  <a:pt x="14285" y="10206"/>
                </a:lnTo>
                <a:lnTo>
                  <a:pt x="14303" y="10178"/>
                </a:lnTo>
                <a:lnTo>
                  <a:pt x="14321" y="10149"/>
                </a:lnTo>
                <a:lnTo>
                  <a:pt x="14338" y="10121"/>
                </a:lnTo>
                <a:lnTo>
                  <a:pt x="14353" y="10090"/>
                </a:lnTo>
                <a:lnTo>
                  <a:pt x="14366" y="10059"/>
                </a:lnTo>
                <a:lnTo>
                  <a:pt x="14379" y="10028"/>
                </a:lnTo>
                <a:lnTo>
                  <a:pt x="14389" y="9996"/>
                </a:lnTo>
                <a:lnTo>
                  <a:pt x="14398" y="9963"/>
                </a:lnTo>
                <a:lnTo>
                  <a:pt x="14406" y="9929"/>
                </a:lnTo>
                <a:lnTo>
                  <a:pt x="14412" y="9895"/>
                </a:lnTo>
                <a:lnTo>
                  <a:pt x="14416" y="9861"/>
                </a:lnTo>
                <a:lnTo>
                  <a:pt x="14419" y="9825"/>
                </a:lnTo>
                <a:lnTo>
                  <a:pt x="14419" y="9790"/>
                </a:lnTo>
                <a:lnTo>
                  <a:pt x="14419" y="9358"/>
                </a:lnTo>
                <a:lnTo>
                  <a:pt x="14419" y="9322"/>
                </a:lnTo>
                <a:lnTo>
                  <a:pt x="14416" y="9287"/>
                </a:lnTo>
                <a:lnTo>
                  <a:pt x="14412" y="9253"/>
                </a:lnTo>
                <a:lnTo>
                  <a:pt x="14406" y="9219"/>
                </a:lnTo>
                <a:lnTo>
                  <a:pt x="14398" y="9186"/>
                </a:lnTo>
                <a:lnTo>
                  <a:pt x="14389" y="9153"/>
                </a:lnTo>
                <a:lnTo>
                  <a:pt x="14379" y="9122"/>
                </a:lnTo>
                <a:lnTo>
                  <a:pt x="14366" y="9090"/>
                </a:lnTo>
                <a:lnTo>
                  <a:pt x="14353" y="9060"/>
                </a:lnTo>
                <a:lnTo>
                  <a:pt x="14338" y="9030"/>
                </a:lnTo>
                <a:lnTo>
                  <a:pt x="14321" y="9002"/>
                </a:lnTo>
                <a:lnTo>
                  <a:pt x="14303" y="8974"/>
                </a:lnTo>
                <a:lnTo>
                  <a:pt x="14285" y="8948"/>
                </a:lnTo>
                <a:lnTo>
                  <a:pt x="14264" y="8921"/>
                </a:lnTo>
                <a:lnTo>
                  <a:pt x="14243" y="8896"/>
                </a:lnTo>
                <a:lnTo>
                  <a:pt x="14219" y="8873"/>
                </a:lnTo>
                <a:lnTo>
                  <a:pt x="14196" y="8850"/>
                </a:lnTo>
                <a:lnTo>
                  <a:pt x="14171" y="8829"/>
                </a:lnTo>
                <a:lnTo>
                  <a:pt x="14145" y="8809"/>
                </a:lnTo>
                <a:lnTo>
                  <a:pt x="14118" y="8790"/>
                </a:lnTo>
                <a:lnTo>
                  <a:pt x="14090" y="8773"/>
                </a:lnTo>
                <a:lnTo>
                  <a:pt x="14062" y="8756"/>
                </a:lnTo>
                <a:lnTo>
                  <a:pt x="14032" y="8741"/>
                </a:lnTo>
                <a:lnTo>
                  <a:pt x="14001" y="8727"/>
                </a:lnTo>
                <a:lnTo>
                  <a:pt x="13971" y="8715"/>
                </a:lnTo>
                <a:lnTo>
                  <a:pt x="13938" y="8705"/>
                </a:lnTo>
                <a:lnTo>
                  <a:pt x="13905" y="8696"/>
                </a:lnTo>
                <a:lnTo>
                  <a:pt x="13873" y="8688"/>
                </a:lnTo>
                <a:lnTo>
                  <a:pt x="13839" y="8681"/>
                </a:lnTo>
                <a:lnTo>
                  <a:pt x="13804" y="8677"/>
                </a:lnTo>
                <a:lnTo>
                  <a:pt x="13770" y="8675"/>
                </a:lnTo>
                <a:lnTo>
                  <a:pt x="13734" y="8674"/>
                </a:lnTo>
                <a:lnTo>
                  <a:pt x="11158" y="8674"/>
                </a:lnTo>
                <a:lnTo>
                  <a:pt x="11123" y="8675"/>
                </a:lnTo>
                <a:lnTo>
                  <a:pt x="11087" y="8677"/>
                </a:lnTo>
                <a:lnTo>
                  <a:pt x="11053" y="8681"/>
                </a:lnTo>
                <a:lnTo>
                  <a:pt x="11019" y="8688"/>
                </a:lnTo>
                <a:lnTo>
                  <a:pt x="10985" y="8696"/>
                </a:lnTo>
                <a:lnTo>
                  <a:pt x="10952" y="8705"/>
                </a:lnTo>
                <a:lnTo>
                  <a:pt x="10920" y="8715"/>
                </a:lnTo>
                <a:lnTo>
                  <a:pt x="10889" y="8727"/>
                </a:lnTo>
                <a:lnTo>
                  <a:pt x="10857" y="8741"/>
                </a:lnTo>
                <a:lnTo>
                  <a:pt x="10828" y="8756"/>
                </a:lnTo>
                <a:lnTo>
                  <a:pt x="10799" y="8773"/>
                </a:lnTo>
                <a:lnTo>
                  <a:pt x="10771" y="8790"/>
                </a:lnTo>
                <a:lnTo>
                  <a:pt x="10743" y="8809"/>
                </a:lnTo>
                <a:lnTo>
                  <a:pt x="10716" y="8829"/>
                </a:lnTo>
                <a:lnTo>
                  <a:pt x="10692" y="8850"/>
                </a:lnTo>
                <a:lnTo>
                  <a:pt x="10667" y="8873"/>
                </a:lnTo>
                <a:lnTo>
                  <a:pt x="10644" y="8896"/>
                </a:lnTo>
                <a:lnTo>
                  <a:pt x="10622" y="8921"/>
                </a:lnTo>
                <a:lnTo>
                  <a:pt x="10601" y="8948"/>
                </a:lnTo>
                <a:lnTo>
                  <a:pt x="10582" y="8974"/>
                </a:lnTo>
                <a:lnTo>
                  <a:pt x="10564" y="9002"/>
                </a:lnTo>
                <a:lnTo>
                  <a:pt x="10547" y="9030"/>
                </a:lnTo>
                <a:lnTo>
                  <a:pt x="10532" y="9060"/>
                </a:lnTo>
                <a:lnTo>
                  <a:pt x="10517" y="9090"/>
                </a:lnTo>
                <a:lnTo>
                  <a:pt x="10505" y="9122"/>
                </a:lnTo>
                <a:lnTo>
                  <a:pt x="10494" y="9153"/>
                </a:lnTo>
                <a:lnTo>
                  <a:pt x="10484" y="9186"/>
                </a:lnTo>
                <a:lnTo>
                  <a:pt x="10476" y="9219"/>
                </a:lnTo>
                <a:lnTo>
                  <a:pt x="10470" y="9253"/>
                </a:lnTo>
                <a:lnTo>
                  <a:pt x="10466" y="9287"/>
                </a:lnTo>
                <a:lnTo>
                  <a:pt x="10463" y="9322"/>
                </a:lnTo>
                <a:lnTo>
                  <a:pt x="10462" y="9358"/>
                </a:lnTo>
                <a:lnTo>
                  <a:pt x="10462" y="9790"/>
                </a:lnTo>
                <a:lnTo>
                  <a:pt x="10463" y="9825"/>
                </a:lnTo>
                <a:lnTo>
                  <a:pt x="10466" y="9861"/>
                </a:lnTo>
                <a:lnTo>
                  <a:pt x="10470" y="9895"/>
                </a:lnTo>
                <a:lnTo>
                  <a:pt x="10476" y="9929"/>
                </a:lnTo>
                <a:lnTo>
                  <a:pt x="10484" y="9963"/>
                </a:lnTo>
                <a:lnTo>
                  <a:pt x="10494" y="9996"/>
                </a:lnTo>
                <a:lnTo>
                  <a:pt x="10505" y="10028"/>
                </a:lnTo>
                <a:lnTo>
                  <a:pt x="10517" y="10059"/>
                </a:lnTo>
                <a:lnTo>
                  <a:pt x="10532" y="10090"/>
                </a:lnTo>
                <a:lnTo>
                  <a:pt x="10547" y="10121"/>
                </a:lnTo>
                <a:lnTo>
                  <a:pt x="10564" y="10149"/>
                </a:lnTo>
                <a:lnTo>
                  <a:pt x="10582" y="10178"/>
                </a:lnTo>
                <a:lnTo>
                  <a:pt x="10601" y="10206"/>
                </a:lnTo>
                <a:lnTo>
                  <a:pt x="10622" y="10231"/>
                </a:lnTo>
                <a:lnTo>
                  <a:pt x="10644" y="10257"/>
                </a:lnTo>
                <a:lnTo>
                  <a:pt x="10667" y="10282"/>
                </a:lnTo>
                <a:lnTo>
                  <a:pt x="10692" y="10304"/>
                </a:lnTo>
                <a:lnTo>
                  <a:pt x="10716" y="10327"/>
                </a:lnTo>
                <a:lnTo>
                  <a:pt x="10743" y="10347"/>
                </a:lnTo>
                <a:lnTo>
                  <a:pt x="10771" y="10366"/>
                </a:lnTo>
                <a:lnTo>
                  <a:pt x="10799" y="10385"/>
                </a:lnTo>
                <a:lnTo>
                  <a:pt x="10828" y="10402"/>
                </a:lnTo>
                <a:lnTo>
                  <a:pt x="10857" y="10418"/>
                </a:lnTo>
                <a:lnTo>
                  <a:pt x="10889" y="10432"/>
                </a:lnTo>
                <a:lnTo>
                  <a:pt x="10920" y="10444"/>
                </a:lnTo>
                <a:lnTo>
                  <a:pt x="10952" y="10456"/>
                </a:lnTo>
                <a:lnTo>
                  <a:pt x="10985" y="10465"/>
                </a:lnTo>
                <a:lnTo>
                  <a:pt x="11019" y="10473"/>
                </a:lnTo>
                <a:lnTo>
                  <a:pt x="11053" y="10479"/>
                </a:lnTo>
                <a:lnTo>
                  <a:pt x="11087" y="10483"/>
                </a:lnTo>
                <a:lnTo>
                  <a:pt x="11123" y="10486"/>
                </a:lnTo>
                <a:lnTo>
                  <a:pt x="11158" y="10487"/>
                </a:lnTo>
                <a:lnTo>
                  <a:pt x="11286" y="10487"/>
                </a:lnTo>
                <a:lnTo>
                  <a:pt x="11286" y="11025"/>
                </a:lnTo>
                <a:lnTo>
                  <a:pt x="11195" y="11069"/>
                </a:lnTo>
                <a:lnTo>
                  <a:pt x="11105" y="11116"/>
                </a:lnTo>
                <a:lnTo>
                  <a:pt x="11018" y="11166"/>
                </a:lnTo>
                <a:lnTo>
                  <a:pt x="10933" y="11219"/>
                </a:lnTo>
                <a:lnTo>
                  <a:pt x="10850" y="11276"/>
                </a:lnTo>
                <a:lnTo>
                  <a:pt x="10769" y="11335"/>
                </a:lnTo>
                <a:lnTo>
                  <a:pt x="10691" y="11396"/>
                </a:lnTo>
                <a:lnTo>
                  <a:pt x="10614" y="11461"/>
                </a:lnTo>
                <a:lnTo>
                  <a:pt x="10541" y="11527"/>
                </a:lnTo>
                <a:lnTo>
                  <a:pt x="10470" y="11596"/>
                </a:lnTo>
                <a:lnTo>
                  <a:pt x="10401" y="11668"/>
                </a:lnTo>
                <a:lnTo>
                  <a:pt x="10335" y="11742"/>
                </a:lnTo>
                <a:lnTo>
                  <a:pt x="10272" y="11818"/>
                </a:lnTo>
                <a:lnTo>
                  <a:pt x="10211" y="11896"/>
                </a:lnTo>
                <a:lnTo>
                  <a:pt x="10152" y="11977"/>
                </a:lnTo>
                <a:lnTo>
                  <a:pt x="10098" y="12059"/>
                </a:lnTo>
                <a:lnTo>
                  <a:pt x="10045" y="12143"/>
                </a:lnTo>
                <a:lnTo>
                  <a:pt x="9996" y="12229"/>
                </a:lnTo>
                <a:lnTo>
                  <a:pt x="9950" y="12317"/>
                </a:lnTo>
                <a:lnTo>
                  <a:pt x="9907" y="12406"/>
                </a:lnTo>
                <a:lnTo>
                  <a:pt x="9866" y="12497"/>
                </a:lnTo>
                <a:lnTo>
                  <a:pt x="9830" y="12589"/>
                </a:lnTo>
                <a:lnTo>
                  <a:pt x="9796" y="12683"/>
                </a:lnTo>
                <a:lnTo>
                  <a:pt x="9766" y="12778"/>
                </a:lnTo>
                <a:lnTo>
                  <a:pt x="9739" y="12875"/>
                </a:lnTo>
                <a:lnTo>
                  <a:pt x="9715" y="12972"/>
                </a:lnTo>
                <a:lnTo>
                  <a:pt x="9695" y="13071"/>
                </a:lnTo>
                <a:lnTo>
                  <a:pt x="9678" y="13171"/>
                </a:lnTo>
                <a:lnTo>
                  <a:pt x="9665" y="13271"/>
                </a:lnTo>
                <a:lnTo>
                  <a:pt x="9656" y="13372"/>
                </a:lnTo>
                <a:lnTo>
                  <a:pt x="9651" y="13475"/>
                </a:lnTo>
                <a:lnTo>
                  <a:pt x="9649" y="13578"/>
                </a:lnTo>
                <a:lnTo>
                  <a:pt x="9652" y="13721"/>
                </a:lnTo>
                <a:lnTo>
                  <a:pt x="9663" y="13864"/>
                </a:lnTo>
                <a:lnTo>
                  <a:pt x="9680" y="14004"/>
                </a:lnTo>
                <a:lnTo>
                  <a:pt x="9706" y="14142"/>
                </a:lnTo>
                <a:lnTo>
                  <a:pt x="9737" y="14277"/>
                </a:lnTo>
                <a:lnTo>
                  <a:pt x="9774" y="14410"/>
                </a:lnTo>
                <a:lnTo>
                  <a:pt x="9818" y="14540"/>
                </a:lnTo>
                <a:lnTo>
                  <a:pt x="9869" y="14667"/>
                </a:lnTo>
                <a:lnTo>
                  <a:pt x="9926" y="14791"/>
                </a:lnTo>
                <a:lnTo>
                  <a:pt x="9987" y="14912"/>
                </a:lnTo>
                <a:lnTo>
                  <a:pt x="10054" y="15030"/>
                </a:lnTo>
                <a:lnTo>
                  <a:pt x="10128" y="15143"/>
                </a:lnTo>
                <a:lnTo>
                  <a:pt x="10206" y="15253"/>
                </a:lnTo>
                <a:lnTo>
                  <a:pt x="10289" y="15359"/>
                </a:lnTo>
                <a:lnTo>
                  <a:pt x="10377" y="15461"/>
                </a:lnTo>
                <a:lnTo>
                  <a:pt x="10470" y="15558"/>
                </a:lnTo>
                <a:lnTo>
                  <a:pt x="10567" y="15651"/>
                </a:lnTo>
                <a:lnTo>
                  <a:pt x="10669" y="15739"/>
                </a:lnTo>
                <a:lnTo>
                  <a:pt x="10775" y="15823"/>
                </a:lnTo>
                <a:lnTo>
                  <a:pt x="10885" y="15901"/>
                </a:lnTo>
                <a:lnTo>
                  <a:pt x="10998" y="15974"/>
                </a:lnTo>
                <a:lnTo>
                  <a:pt x="11116" y="16041"/>
                </a:lnTo>
                <a:lnTo>
                  <a:pt x="11237" y="16104"/>
                </a:lnTo>
                <a:lnTo>
                  <a:pt x="11360" y="16160"/>
                </a:lnTo>
                <a:lnTo>
                  <a:pt x="11488" y="16210"/>
                </a:lnTo>
                <a:lnTo>
                  <a:pt x="11618" y="16254"/>
                </a:lnTo>
                <a:lnTo>
                  <a:pt x="11750" y="16292"/>
                </a:lnTo>
                <a:lnTo>
                  <a:pt x="11885" y="16323"/>
                </a:lnTo>
                <a:lnTo>
                  <a:pt x="12023" y="16347"/>
                </a:lnTo>
                <a:lnTo>
                  <a:pt x="12163" y="16366"/>
                </a:lnTo>
                <a:lnTo>
                  <a:pt x="12305" y="16376"/>
                </a:lnTo>
                <a:lnTo>
                  <a:pt x="12449" y="16380"/>
                </a:lnTo>
                <a:lnTo>
                  <a:pt x="12593" y="16376"/>
                </a:lnTo>
                <a:lnTo>
                  <a:pt x="12735" y="16366"/>
                </a:lnTo>
                <a:lnTo>
                  <a:pt x="12875" y="16347"/>
                </a:lnTo>
                <a:lnTo>
                  <a:pt x="13012" y="16323"/>
                </a:lnTo>
                <a:lnTo>
                  <a:pt x="13148" y="16292"/>
                </a:lnTo>
                <a:lnTo>
                  <a:pt x="13280" y="16254"/>
                </a:lnTo>
                <a:lnTo>
                  <a:pt x="13411" y="16210"/>
                </a:lnTo>
                <a:lnTo>
                  <a:pt x="13538" y="16160"/>
                </a:lnTo>
                <a:lnTo>
                  <a:pt x="13661" y="16104"/>
                </a:lnTo>
                <a:lnTo>
                  <a:pt x="13782" y="16041"/>
                </a:lnTo>
                <a:lnTo>
                  <a:pt x="13899" y="15974"/>
                </a:lnTo>
                <a:lnTo>
                  <a:pt x="14013" y="15901"/>
                </a:lnTo>
                <a:lnTo>
                  <a:pt x="14122" y="15823"/>
                </a:lnTo>
                <a:lnTo>
                  <a:pt x="14227" y="15739"/>
                </a:lnTo>
                <a:lnTo>
                  <a:pt x="14329" y="15651"/>
                </a:lnTo>
                <a:lnTo>
                  <a:pt x="14427" y="15558"/>
                </a:lnTo>
                <a:lnTo>
                  <a:pt x="14518" y="15461"/>
                </a:lnTo>
                <a:lnTo>
                  <a:pt x="14607" y="15359"/>
                </a:lnTo>
                <a:lnTo>
                  <a:pt x="14690" y="15253"/>
                </a:lnTo>
                <a:lnTo>
                  <a:pt x="14768" y="15143"/>
                </a:lnTo>
                <a:lnTo>
                  <a:pt x="14840" y="15030"/>
                </a:lnTo>
                <a:lnTo>
                  <a:pt x="14908" y="14912"/>
                </a:lnTo>
                <a:lnTo>
                  <a:pt x="14970" y="14791"/>
                </a:lnTo>
                <a:lnTo>
                  <a:pt x="15026" y="14667"/>
                </a:lnTo>
                <a:lnTo>
                  <a:pt x="15076" y="14540"/>
                </a:lnTo>
                <a:lnTo>
                  <a:pt x="15120" y="14410"/>
                </a:lnTo>
                <a:lnTo>
                  <a:pt x="15158" y="14277"/>
                </a:lnTo>
                <a:lnTo>
                  <a:pt x="15189" y="14142"/>
                </a:lnTo>
                <a:lnTo>
                  <a:pt x="15213" y="14004"/>
                </a:lnTo>
                <a:lnTo>
                  <a:pt x="15232" y="13864"/>
                </a:lnTo>
                <a:lnTo>
                  <a:pt x="15242" y="13721"/>
                </a:lnTo>
                <a:lnTo>
                  <a:pt x="15246" y="13578"/>
                </a:lnTo>
                <a:lnTo>
                  <a:pt x="15245" y="13522"/>
                </a:lnTo>
                <a:lnTo>
                  <a:pt x="15244" y="13466"/>
                </a:lnTo>
                <a:lnTo>
                  <a:pt x="15241" y="13412"/>
                </a:lnTo>
                <a:lnTo>
                  <a:pt x="15238" y="13357"/>
                </a:lnTo>
                <a:lnTo>
                  <a:pt x="15233" y="13302"/>
                </a:lnTo>
                <a:lnTo>
                  <a:pt x="15228" y="13247"/>
                </a:lnTo>
                <a:lnTo>
                  <a:pt x="15220" y="13193"/>
                </a:lnTo>
                <a:lnTo>
                  <a:pt x="15212" y="13139"/>
                </a:lnTo>
                <a:lnTo>
                  <a:pt x="15204" y="13086"/>
                </a:lnTo>
                <a:lnTo>
                  <a:pt x="15194" y="13032"/>
                </a:lnTo>
                <a:lnTo>
                  <a:pt x="15183" y="12979"/>
                </a:lnTo>
                <a:lnTo>
                  <a:pt x="15171" y="12926"/>
                </a:lnTo>
                <a:lnTo>
                  <a:pt x="15158" y="12873"/>
                </a:lnTo>
                <a:lnTo>
                  <a:pt x="15144" y="12820"/>
                </a:lnTo>
                <a:lnTo>
                  <a:pt x="15130" y="12768"/>
                </a:lnTo>
                <a:lnTo>
                  <a:pt x="15113" y="12717"/>
                </a:lnTo>
                <a:lnTo>
                  <a:pt x="15097" y="12666"/>
                </a:lnTo>
                <a:lnTo>
                  <a:pt x="15078" y="12615"/>
                </a:lnTo>
                <a:lnTo>
                  <a:pt x="15060" y="12564"/>
                </a:lnTo>
                <a:lnTo>
                  <a:pt x="15041" y="12514"/>
                </a:lnTo>
                <a:lnTo>
                  <a:pt x="15019" y="12464"/>
                </a:lnTo>
                <a:lnTo>
                  <a:pt x="14998" y="12415"/>
                </a:lnTo>
                <a:lnTo>
                  <a:pt x="14975" y="12366"/>
                </a:lnTo>
                <a:lnTo>
                  <a:pt x="14952" y="12317"/>
                </a:lnTo>
                <a:lnTo>
                  <a:pt x="14926" y="12269"/>
                </a:lnTo>
                <a:lnTo>
                  <a:pt x="14901" y="12222"/>
                </a:lnTo>
                <a:lnTo>
                  <a:pt x="14875" y="12173"/>
                </a:lnTo>
                <a:lnTo>
                  <a:pt x="14848" y="12127"/>
                </a:lnTo>
                <a:lnTo>
                  <a:pt x="14819" y="12081"/>
                </a:lnTo>
                <a:lnTo>
                  <a:pt x="14789" y="12035"/>
                </a:lnTo>
                <a:lnTo>
                  <a:pt x="14760" y="11990"/>
                </a:lnTo>
                <a:lnTo>
                  <a:pt x="14728" y="11945"/>
                </a:lnTo>
                <a:close/>
                <a:moveTo>
                  <a:pt x="12450" y="15728"/>
                </a:moveTo>
                <a:lnTo>
                  <a:pt x="12340" y="15725"/>
                </a:lnTo>
                <a:lnTo>
                  <a:pt x="12231" y="15717"/>
                </a:lnTo>
                <a:lnTo>
                  <a:pt x="12123" y="15703"/>
                </a:lnTo>
                <a:lnTo>
                  <a:pt x="12018" y="15684"/>
                </a:lnTo>
                <a:lnTo>
                  <a:pt x="11914" y="15660"/>
                </a:lnTo>
                <a:lnTo>
                  <a:pt x="11812" y="15631"/>
                </a:lnTo>
                <a:lnTo>
                  <a:pt x="11713" y="15597"/>
                </a:lnTo>
                <a:lnTo>
                  <a:pt x="11615" y="15559"/>
                </a:lnTo>
                <a:lnTo>
                  <a:pt x="11520" y="15516"/>
                </a:lnTo>
                <a:lnTo>
                  <a:pt x="11427" y="15468"/>
                </a:lnTo>
                <a:lnTo>
                  <a:pt x="11337" y="15417"/>
                </a:lnTo>
                <a:lnTo>
                  <a:pt x="11250" y="15360"/>
                </a:lnTo>
                <a:lnTo>
                  <a:pt x="11165" y="15300"/>
                </a:lnTo>
                <a:lnTo>
                  <a:pt x="11084" y="15236"/>
                </a:lnTo>
                <a:lnTo>
                  <a:pt x="11006" y="15169"/>
                </a:lnTo>
                <a:lnTo>
                  <a:pt x="10931" y="15097"/>
                </a:lnTo>
                <a:lnTo>
                  <a:pt x="10861" y="15023"/>
                </a:lnTo>
                <a:lnTo>
                  <a:pt x="10792" y="14945"/>
                </a:lnTo>
                <a:lnTo>
                  <a:pt x="10729" y="14864"/>
                </a:lnTo>
                <a:lnTo>
                  <a:pt x="10668" y="14779"/>
                </a:lnTo>
                <a:lnTo>
                  <a:pt x="10612" y="14692"/>
                </a:lnTo>
                <a:lnTo>
                  <a:pt x="10561" y="14602"/>
                </a:lnTo>
                <a:lnTo>
                  <a:pt x="10513" y="14509"/>
                </a:lnTo>
                <a:lnTo>
                  <a:pt x="10470" y="14414"/>
                </a:lnTo>
                <a:lnTo>
                  <a:pt x="10431" y="14316"/>
                </a:lnTo>
                <a:lnTo>
                  <a:pt x="10398" y="14217"/>
                </a:lnTo>
                <a:lnTo>
                  <a:pt x="10369" y="14114"/>
                </a:lnTo>
                <a:lnTo>
                  <a:pt x="10345" y="14010"/>
                </a:lnTo>
                <a:lnTo>
                  <a:pt x="10326" y="13905"/>
                </a:lnTo>
                <a:lnTo>
                  <a:pt x="10312" y="13797"/>
                </a:lnTo>
                <a:lnTo>
                  <a:pt x="10304" y="13689"/>
                </a:lnTo>
                <a:lnTo>
                  <a:pt x="10301" y="13578"/>
                </a:lnTo>
                <a:lnTo>
                  <a:pt x="10303" y="13493"/>
                </a:lnTo>
                <a:lnTo>
                  <a:pt x="10308" y="13409"/>
                </a:lnTo>
                <a:lnTo>
                  <a:pt x="10316" y="13326"/>
                </a:lnTo>
                <a:lnTo>
                  <a:pt x="10327" y="13243"/>
                </a:lnTo>
                <a:lnTo>
                  <a:pt x="10341" y="13162"/>
                </a:lnTo>
                <a:lnTo>
                  <a:pt x="10359" y="13081"/>
                </a:lnTo>
                <a:lnTo>
                  <a:pt x="10379" y="13002"/>
                </a:lnTo>
                <a:lnTo>
                  <a:pt x="10403" y="12923"/>
                </a:lnTo>
                <a:lnTo>
                  <a:pt x="10429" y="12845"/>
                </a:lnTo>
                <a:lnTo>
                  <a:pt x="10459" y="12769"/>
                </a:lnTo>
                <a:lnTo>
                  <a:pt x="10491" y="12693"/>
                </a:lnTo>
                <a:lnTo>
                  <a:pt x="10525" y="12620"/>
                </a:lnTo>
                <a:lnTo>
                  <a:pt x="10563" y="12548"/>
                </a:lnTo>
                <a:lnTo>
                  <a:pt x="10603" y="12477"/>
                </a:lnTo>
                <a:lnTo>
                  <a:pt x="10646" y="12408"/>
                </a:lnTo>
                <a:lnTo>
                  <a:pt x="10692" y="12340"/>
                </a:lnTo>
                <a:lnTo>
                  <a:pt x="10739" y="12275"/>
                </a:lnTo>
                <a:lnTo>
                  <a:pt x="10790" y="12211"/>
                </a:lnTo>
                <a:lnTo>
                  <a:pt x="10842" y="12149"/>
                </a:lnTo>
                <a:lnTo>
                  <a:pt x="10897" y="12088"/>
                </a:lnTo>
                <a:lnTo>
                  <a:pt x="10955" y="12031"/>
                </a:lnTo>
                <a:lnTo>
                  <a:pt x="11014" y="11975"/>
                </a:lnTo>
                <a:lnTo>
                  <a:pt x="11076" y="11922"/>
                </a:lnTo>
                <a:lnTo>
                  <a:pt x="11139" y="11870"/>
                </a:lnTo>
                <a:lnTo>
                  <a:pt x="11206" y="11821"/>
                </a:lnTo>
                <a:lnTo>
                  <a:pt x="11273" y="11774"/>
                </a:lnTo>
                <a:lnTo>
                  <a:pt x="11344" y="11730"/>
                </a:lnTo>
                <a:lnTo>
                  <a:pt x="11415" y="11689"/>
                </a:lnTo>
                <a:lnTo>
                  <a:pt x="11489" y="11650"/>
                </a:lnTo>
                <a:lnTo>
                  <a:pt x="11565" y="11614"/>
                </a:lnTo>
                <a:lnTo>
                  <a:pt x="11642" y="11581"/>
                </a:lnTo>
                <a:lnTo>
                  <a:pt x="11721" y="11551"/>
                </a:lnTo>
                <a:lnTo>
                  <a:pt x="11744" y="11541"/>
                </a:lnTo>
                <a:lnTo>
                  <a:pt x="11767" y="11529"/>
                </a:lnTo>
                <a:lnTo>
                  <a:pt x="11788" y="11516"/>
                </a:lnTo>
                <a:lnTo>
                  <a:pt x="11808" y="11502"/>
                </a:lnTo>
                <a:lnTo>
                  <a:pt x="11827" y="11486"/>
                </a:lnTo>
                <a:lnTo>
                  <a:pt x="11844" y="11469"/>
                </a:lnTo>
                <a:lnTo>
                  <a:pt x="11860" y="11451"/>
                </a:lnTo>
                <a:lnTo>
                  <a:pt x="11874" y="11431"/>
                </a:lnTo>
                <a:lnTo>
                  <a:pt x="11887" y="11411"/>
                </a:lnTo>
                <a:lnTo>
                  <a:pt x="11899" y="11389"/>
                </a:lnTo>
                <a:lnTo>
                  <a:pt x="11909" y="11367"/>
                </a:lnTo>
                <a:lnTo>
                  <a:pt x="11917" y="11343"/>
                </a:lnTo>
                <a:lnTo>
                  <a:pt x="11923" y="11320"/>
                </a:lnTo>
                <a:lnTo>
                  <a:pt x="11928" y="11295"/>
                </a:lnTo>
                <a:lnTo>
                  <a:pt x="11930" y="11269"/>
                </a:lnTo>
                <a:lnTo>
                  <a:pt x="11931" y="11244"/>
                </a:lnTo>
                <a:lnTo>
                  <a:pt x="11931" y="10098"/>
                </a:lnTo>
                <a:lnTo>
                  <a:pt x="11931" y="10084"/>
                </a:lnTo>
                <a:lnTo>
                  <a:pt x="11930" y="10071"/>
                </a:lnTo>
                <a:lnTo>
                  <a:pt x="11928" y="10057"/>
                </a:lnTo>
                <a:lnTo>
                  <a:pt x="11926" y="10044"/>
                </a:lnTo>
                <a:lnTo>
                  <a:pt x="11923" y="10031"/>
                </a:lnTo>
                <a:lnTo>
                  <a:pt x="11920" y="10017"/>
                </a:lnTo>
                <a:lnTo>
                  <a:pt x="11916" y="10005"/>
                </a:lnTo>
                <a:lnTo>
                  <a:pt x="11912" y="9992"/>
                </a:lnTo>
                <a:lnTo>
                  <a:pt x="11907" y="9981"/>
                </a:lnTo>
                <a:lnTo>
                  <a:pt x="11901" y="9968"/>
                </a:lnTo>
                <a:lnTo>
                  <a:pt x="11895" y="9957"/>
                </a:lnTo>
                <a:lnTo>
                  <a:pt x="11887" y="9946"/>
                </a:lnTo>
                <a:lnTo>
                  <a:pt x="11880" y="9934"/>
                </a:lnTo>
                <a:lnTo>
                  <a:pt x="11873" y="9924"/>
                </a:lnTo>
                <a:lnTo>
                  <a:pt x="11865" y="9914"/>
                </a:lnTo>
                <a:lnTo>
                  <a:pt x="11856" y="9905"/>
                </a:lnTo>
                <a:lnTo>
                  <a:pt x="11848" y="9896"/>
                </a:lnTo>
                <a:lnTo>
                  <a:pt x="11837" y="9886"/>
                </a:lnTo>
                <a:lnTo>
                  <a:pt x="11828" y="9878"/>
                </a:lnTo>
                <a:lnTo>
                  <a:pt x="11818" y="9871"/>
                </a:lnTo>
                <a:lnTo>
                  <a:pt x="11807" y="9864"/>
                </a:lnTo>
                <a:lnTo>
                  <a:pt x="11795" y="9857"/>
                </a:lnTo>
                <a:lnTo>
                  <a:pt x="11784" y="9851"/>
                </a:lnTo>
                <a:lnTo>
                  <a:pt x="11773" y="9845"/>
                </a:lnTo>
                <a:lnTo>
                  <a:pt x="11761" y="9840"/>
                </a:lnTo>
                <a:lnTo>
                  <a:pt x="11748" y="9836"/>
                </a:lnTo>
                <a:lnTo>
                  <a:pt x="11736" y="9832"/>
                </a:lnTo>
                <a:lnTo>
                  <a:pt x="11723" y="9829"/>
                </a:lnTo>
                <a:lnTo>
                  <a:pt x="11710" y="9826"/>
                </a:lnTo>
                <a:lnTo>
                  <a:pt x="11696" y="9825"/>
                </a:lnTo>
                <a:lnTo>
                  <a:pt x="11683" y="9824"/>
                </a:lnTo>
                <a:lnTo>
                  <a:pt x="11669" y="9823"/>
                </a:lnTo>
                <a:lnTo>
                  <a:pt x="11229" y="9823"/>
                </a:lnTo>
                <a:lnTo>
                  <a:pt x="11218" y="9823"/>
                </a:lnTo>
                <a:lnTo>
                  <a:pt x="11207" y="9821"/>
                </a:lnTo>
                <a:lnTo>
                  <a:pt x="11197" y="9819"/>
                </a:lnTo>
                <a:lnTo>
                  <a:pt x="11187" y="9816"/>
                </a:lnTo>
                <a:lnTo>
                  <a:pt x="11178" y="9811"/>
                </a:lnTo>
                <a:lnTo>
                  <a:pt x="11169" y="9805"/>
                </a:lnTo>
                <a:lnTo>
                  <a:pt x="11161" y="9800"/>
                </a:lnTo>
                <a:lnTo>
                  <a:pt x="11154" y="9793"/>
                </a:lnTo>
                <a:lnTo>
                  <a:pt x="11148" y="9786"/>
                </a:lnTo>
                <a:lnTo>
                  <a:pt x="11142" y="9778"/>
                </a:lnTo>
                <a:lnTo>
                  <a:pt x="11136" y="9770"/>
                </a:lnTo>
                <a:lnTo>
                  <a:pt x="11132" y="9760"/>
                </a:lnTo>
                <a:lnTo>
                  <a:pt x="11129" y="9750"/>
                </a:lnTo>
                <a:lnTo>
                  <a:pt x="11126" y="9740"/>
                </a:lnTo>
                <a:lnTo>
                  <a:pt x="11125" y="9730"/>
                </a:lnTo>
                <a:lnTo>
                  <a:pt x="11124" y="9718"/>
                </a:lnTo>
                <a:lnTo>
                  <a:pt x="11124" y="9429"/>
                </a:lnTo>
                <a:lnTo>
                  <a:pt x="11125" y="9417"/>
                </a:lnTo>
                <a:lnTo>
                  <a:pt x="11126" y="9407"/>
                </a:lnTo>
                <a:lnTo>
                  <a:pt x="11129" y="9397"/>
                </a:lnTo>
                <a:lnTo>
                  <a:pt x="11132" y="9387"/>
                </a:lnTo>
                <a:lnTo>
                  <a:pt x="11136" y="9378"/>
                </a:lnTo>
                <a:lnTo>
                  <a:pt x="11142" y="9368"/>
                </a:lnTo>
                <a:lnTo>
                  <a:pt x="11148" y="9360"/>
                </a:lnTo>
                <a:lnTo>
                  <a:pt x="11154" y="9353"/>
                </a:lnTo>
                <a:lnTo>
                  <a:pt x="11161" y="9346"/>
                </a:lnTo>
                <a:lnTo>
                  <a:pt x="11169" y="9340"/>
                </a:lnTo>
                <a:lnTo>
                  <a:pt x="11178" y="9335"/>
                </a:lnTo>
                <a:lnTo>
                  <a:pt x="11187" y="9329"/>
                </a:lnTo>
                <a:lnTo>
                  <a:pt x="11197" y="9326"/>
                </a:lnTo>
                <a:lnTo>
                  <a:pt x="11207" y="9323"/>
                </a:lnTo>
                <a:lnTo>
                  <a:pt x="11218" y="9322"/>
                </a:lnTo>
                <a:lnTo>
                  <a:pt x="11229" y="9321"/>
                </a:lnTo>
                <a:lnTo>
                  <a:pt x="13663" y="9321"/>
                </a:lnTo>
                <a:lnTo>
                  <a:pt x="13675" y="9322"/>
                </a:lnTo>
                <a:lnTo>
                  <a:pt x="13685" y="9323"/>
                </a:lnTo>
                <a:lnTo>
                  <a:pt x="13696" y="9326"/>
                </a:lnTo>
                <a:lnTo>
                  <a:pt x="13705" y="9329"/>
                </a:lnTo>
                <a:lnTo>
                  <a:pt x="13715" y="9335"/>
                </a:lnTo>
                <a:lnTo>
                  <a:pt x="13725" y="9340"/>
                </a:lnTo>
                <a:lnTo>
                  <a:pt x="13733" y="9346"/>
                </a:lnTo>
                <a:lnTo>
                  <a:pt x="13741" y="9353"/>
                </a:lnTo>
                <a:lnTo>
                  <a:pt x="13748" y="9360"/>
                </a:lnTo>
                <a:lnTo>
                  <a:pt x="13754" y="9368"/>
                </a:lnTo>
                <a:lnTo>
                  <a:pt x="13759" y="9378"/>
                </a:lnTo>
                <a:lnTo>
                  <a:pt x="13764" y="9387"/>
                </a:lnTo>
                <a:lnTo>
                  <a:pt x="13769" y="9397"/>
                </a:lnTo>
                <a:lnTo>
                  <a:pt x="13771" y="9407"/>
                </a:lnTo>
                <a:lnTo>
                  <a:pt x="13773" y="9417"/>
                </a:lnTo>
                <a:lnTo>
                  <a:pt x="13774" y="9429"/>
                </a:lnTo>
                <a:lnTo>
                  <a:pt x="13774" y="9718"/>
                </a:lnTo>
                <a:lnTo>
                  <a:pt x="13773" y="9730"/>
                </a:lnTo>
                <a:lnTo>
                  <a:pt x="13771" y="9740"/>
                </a:lnTo>
                <a:lnTo>
                  <a:pt x="13769" y="9750"/>
                </a:lnTo>
                <a:lnTo>
                  <a:pt x="13764" y="9760"/>
                </a:lnTo>
                <a:lnTo>
                  <a:pt x="13759" y="9770"/>
                </a:lnTo>
                <a:lnTo>
                  <a:pt x="13754" y="9778"/>
                </a:lnTo>
                <a:lnTo>
                  <a:pt x="13748" y="9786"/>
                </a:lnTo>
                <a:lnTo>
                  <a:pt x="13741" y="9793"/>
                </a:lnTo>
                <a:lnTo>
                  <a:pt x="13733" y="9800"/>
                </a:lnTo>
                <a:lnTo>
                  <a:pt x="13725" y="9805"/>
                </a:lnTo>
                <a:lnTo>
                  <a:pt x="13715" y="9811"/>
                </a:lnTo>
                <a:lnTo>
                  <a:pt x="13705" y="9816"/>
                </a:lnTo>
                <a:lnTo>
                  <a:pt x="13696" y="9819"/>
                </a:lnTo>
                <a:lnTo>
                  <a:pt x="13685" y="9821"/>
                </a:lnTo>
                <a:lnTo>
                  <a:pt x="13675" y="9823"/>
                </a:lnTo>
                <a:lnTo>
                  <a:pt x="13663" y="9823"/>
                </a:lnTo>
                <a:lnTo>
                  <a:pt x="13223" y="9823"/>
                </a:lnTo>
                <a:lnTo>
                  <a:pt x="13210" y="9824"/>
                </a:lnTo>
                <a:lnTo>
                  <a:pt x="13195" y="9825"/>
                </a:lnTo>
                <a:lnTo>
                  <a:pt x="13182" y="9826"/>
                </a:lnTo>
                <a:lnTo>
                  <a:pt x="13169" y="9829"/>
                </a:lnTo>
                <a:lnTo>
                  <a:pt x="13155" y="9832"/>
                </a:lnTo>
                <a:lnTo>
                  <a:pt x="13142" y="9836"/>
                </a:lnTo>
                <a:lnTo>
                  <a:pt x="13130" y="9840"/>
                </a:lnTo>
                <a:lnTo>
                  <a:pt x="13118" y="9845"/>
                </a:lnTo>
                <a:lnTo>
                  <a:pt x="13105" y="9851"/>
                </a:lnTo>
                <a:lnTo>
                  <a:pt x="13093" y="9857"/>
                </a:lnTo>
                <a:lnTo>
                  <a:pt x="13082" y="9864"/>
                </a:lnTo>
                <a:lnTo>
                  <a:pt x="13071" y="9871"/>
                </a:lnTo>
                <a:lnTo>
                  <a:pt x="13060" y="9878"/>
                </a:lnTo>
                <a:lnTo>
                  <a:pt x="13049" y="9886"/>
                </a:lnTo>
                <a:lnTo>
                  <a:pt x="13040" y="9896"/>
                </a:lnTo>
                <a:lnTo>
                  <a:pt x="13030" y="9905"/>
                </a:lnTo>
                <a:lnTo>
                  <a:pt x="13022" y="9914"/>
                </a:lnTo>
                <a:lnTo>
                  <a:pt x="13012" y="9924"/>
                </a:lnTo>
                <a:lnTo>
                  <a:pt x="13004" y="9934"/>
                </a:lnTo>
                <a:lnTo>
                  <a:pt x="12997" y="9946"/>
                </a:lnTo>
                <a:lnTo>
                  <a:pt x="12990" y="9957"/>
                </a:lnTo>
                <a:lnTo>
                  <a:pt x="12983" y="9968"/>
                </a:lnTo>
                <a:lnTo>
                  <a:pt x="12977" y="9981"/>
                </a:lnTo>
                <a:lnTo>
                  <a:pt x="12972" y="9992"/>
                </a:lnTo>
                <a:lnTo>
                  <a:pt x="12966" y="10005"/>
                </a:lnTo>
                <a:lnTo>
                  <a:pt x="12962" y="10017"/>
                </a:lnTo>
                <a:lnTo>
                  <a:pt x="12958" y="10031"/>
                </a:lnTo>
                <a:lnTo>
                  <a:pt x="12955" y="10044"/>
                </a:lnTo>
                <a:lnTo>
                  <a:pt x="12953" y="10057"/>
                </a:lnTo>
                <a:lnTo>
                  <a:pt x="12951" y="10071"/>
                </a:lnTo>
                <a:lnTo>
                  <a:pt x="12950" y="10084"/>
                </a:lnTo>
                <a:lnTo>
                  <a:pt x="12950" y="10098"/>
                </a:lnTo>
                <a:lnTo>
                  <a:pt x="12950" y="11244"/>
                </a:lnTo>
                <a:lnTo>
                  <a:pt x="12951" y="11269"/>
                </a:lnTo>
                <a:lnTo>
                  <a:pt x="12954" y="11295"/>
                </a:lnTo>
                <a:lnTo>
                  <a:pt x="12959" y="11320"/>
                </a:lnTo>
                <a:lnTo>
                  <a:pt x="12965" y="11344"/>
                </a:lnTo>
                <a:lnTo>
                  <a:pt x="12975" y="11368"/>
                </a:lnTo>
                <a:lnTo>
                  <a:pt x="12985" y="11390"/>
                </a:lnTo>
                <a:lnTo>
                  <a:pt x="12997" y="11412"/>
                </a:lnTo>
                <a:lnTo>
                  <a:pt x="13010" y="11433"/>
                </a:lnTo>
                <a:lnTo>
                  <a:pt x="13026" y="11453"/>
                </a:lnTo>
                <a:lnTo>
                  <a:pt x="13042" y="11471"/>
                </a:lnTo>
                <a:lnTo>
                  <a:pt x="13060" y="11489"/>
                </a:lnTo>
                <a:lnTo>
                  <a:pt x="13080" y="11504"/>
                </a:lnTo>
                <a:lnTo>
                  <a:pt x="13100" y="11518"/>
                </a:lnTo>
                <a:lnTo>
                  <a:pt x="13123" y="11532"/>
                </a:lnTo>
                <a:lnTo>
                  <a:pt x="13145" y="11543"/>
                </a:lnTo>
                <a:lnTo>
                  <a:pt x="13170" y="11552"/>
                </a:lnTo>
                <a:lnTo>
                  <a:pt x="13249" y="11582"/>
                </a:lnTo>
                <a:lnTo>
                  <a:pt x="13328" y="11614"/>
                </a:lnTo>
                <a:lnTo>
                  <a:pt x="13405" y="11649"/>
                </a:lnTo>
                <a:lnTo>
                  <a:pt x="13479" y="11688"/>
                </a:lnTo>
                <a:lnTo>
                  <a:pt x="13552" y="11728"/>
                </a:lnTo>
                <a:lnTo>
                  <a:pt x="13623" y="11771"/>
                </a:lnTo>
                <a:lnTo>
                  <a:pt x="13692" y="11817"/>
                </a:lnTo>
                <a:lnTo>
                  <a:pt x="13758" y="11865"/>
                </a:lnTo>
                <a:lnTo>
                  <a:pt x="13823" y="11915"/>
                </a:lnTo>
                <a:lnTo>
                  <a:pt x="13884" y="11969"/>
                </a:lnTo>
                <a:lnTo>
                  <a:pt x="13944" y="12024"/>
                </a:lnTo>
                <a:lnTo>
                  <a:pt x="14001" y="12080"/>
                </a:lnTo>
                <a:lnTo>
                  <a:pt x="14057" y="12140"/>
                </a:lnTo>
                <a:lnTo>
                  <a:pt x="14110" y="12201"/>
                </a:lnTo>
                <a:lnTo>
                  <a:pt x="14160" y="12265"/>
                </a:lnTo>
                <a:lnTo>
                  <a:pt x="14208" y="12330"/>
                </a:lnTo>
                <a:lnTo>
                  <a:pt x="14253" y="12397"/>
                </a:lnTo>
                <a:lnTo>
                  <a:pt x="14296" y="12465"/>
                </a:lnTo>
                <a:lnTo>
                  <a:pt x="14336" y="12536"/>
                </a:lnTo>
                <a:lnTo>
                  <a:pt x="14373" y="12609"/>
                </a:lnTo>
                <a:lnTo>
                  <a:pt x="14408" y="12682"/>
                </a:lnTo>
                <a:lnTo>
                  <a:pt x="14440" y="12757"/>
                </a:lnTo>
                <a:lnTo>
                  <a:pt x="14468" y="12834"/>
                </a:lnTo>
                <a:lnTo>
                  <a:pt x="14495" y="12912"/>
                </a:lnTo>
                <a:lnTo>
                  <a:pt x="14518" y="12991"/>
                </a:lnTo>
                <a:lnTo>
                  <a:pt x="14539" y="13071"/>
                </a:lnTo>
                <a:lnTo>
                  <a:pt x="14556" y="13153"/>
                </a:lnTo>
                <a:lnTo>
                  <a:pt x="14571" y="13236"/>
                </a:lnTo>
                <a:lnTo>
                  <a:pt x="14582" y="13320"/>
                </a:lnTo>
                <a:lnTo>
                  <a:pt x="14590" y="13405"/>
                </a:lnTo>
                <a:lnTo>
                  <a:pt x="14594" y="13491"/>
                </a:lnTo>
                <a:lnTo>
                  <a:pt x="14596" y="13578"/>
                </a:lnTo>
                <a:lnTo>
                  <a:pt x="14593" y="13689"/>
                </a:lnTo>
                <a:lnTo>
                  <a:pt x="14585" y="13797"/>
                </a:lnTo>
                <a:lnTo>
                  <a:pt x="14572" y="13905"/>
                </a:lnTo>
                <a:lnTo>
                  <a:pt x="14552" y="14010"/>
                </a:lnTo>
                <a:lnTo>
                  <a:pt x="14529" y="14114"/>
                </a:lnTo>
                <a:lnTo>
                  <a:pt x="14499" y="14217"/>
                </a:lnTo>
                <a:lnTo>
                  <a:pt x="14465" y="14316"/>
                </a:lnTo>
                <a:lnTo>
                  <a:pt x="14428" y="14414"/>
                </a:lnTo>
                <a:lnTo>
                  <a:pt x="14385" y="14509"/>
                </a:lnTo>
                <a:lnTo>
                  <a:pt x="14337" y="14602"/>
                </a:lnTo>
                <a:lnTo>
                  <a:pt x="14286" y="14692"/>
                </a:lnTo>
                <a:lnTo>
                  <a:pt x="14229" y="14779"/>
                </a:lnTo>
                <a:lnTo>
                  <a:pt x="14169" y="14864"/>
                </a:lnTo>
                <a:lnTo>
                  <a:pt x="14106" y="14945"/>
                </a:lnTo>
                <a:lnTo>
                  <a:pt x="14038" y="15023"/>
                </a:lnTo>
                <a:lnTo>
                  <a:pt x="13967" y="15097"/>
                </a:lnTo>
                <a:lnTo>
                  <a:pt x="13892" y="15169"/>
                </a:lnTo>
                <a:lnTo>
                  <a:pt x="13814" y="15236"/>
                </a:lnTo>
                <a:lnTo>
                  <a:pt x="13734" y="15300"/>
                </a:lnTo>
                <a:lnTo>
                  <a:pt x="13650" y="15360"/>
                </a:lnTo>
                <a:lnTo>
                  <a:pt x="13562" y="15417"/>
                </a:lnTo>
                <a:lnTo>
                  <a:pt x="13472" y="15468"/>
                </a:lnTo>
                <a:lnTo>
                  <a:pt x="13380" y="15516"/>
                </a:lnTo>
                <a:lnTo>
                  <a:pt x="13285" y="15559"/>
                </a:lnTo>
                <a:lnTo>
                  <a:pt x="13188" y="15597"/>
                </a:lnTo>
                <a:lnTo>
                  <a:pt x="13088" y="15631"/>
                </a:lnTo>
                <a:lnTo>
                  <a:pt x="12986" y="15660"/>
                </a:lnTo>
                <a:lnTo>
                  <a:pt x="12883" y="15684"/>
                </a:lnTo>
                <a:lnTo>
                  <a:pt x="12777" y="15703"/>
                </a:lnTo>
                <a:lnTo>
                  <a:pt x="12670" y="15717"/>
                </a:lnTo>
                <a:lnTo>
                  <a:pt x="12561" y="15725"/>
                </a:lnTo>
                <a:lnTo>
                  <a:pt x="12450" y="15728"/>
                </a:lnTo>
                <a:close/>
                <a:moveTo>
                  <a:pt x="5283" y="2845"/>
                </a:moveTo>
                <a:lnTo>
                  <a:pt x="5316" y="2846"/>
                </a:lnTo>
                <a:lnTo>
                  <a:pt x="5349" y="2847"/>
                </a:lnTo>
                <a:lnTo>
                  <a:pt x="5382" y="2850"/>
                </a:lnTo>
                <a:lnTo>
                  <a:pt x="5413" y="2854"/>
                </a:lnTo>
                <a:lnTo>
                  <a:pt x="5445" y="2859"/>
                </a:lnTo>
                <a:lnTo>
                  <a:pt x="5477" y="2865"/>
                </a:lnTo>
                <a:lnTo>
                  <a:pt x="5508" y="2874"/>
                </a:lnTo>
                <a:lnTo>
                  <a:pt x="5539" y="2882"/>
                </a:lnTo>
                <a:lnTo>
                  <a:pt x="5570" y="2891"/>
                </a:lnTo>
                <a:lnTo>
                  <a:pt x="5600" y="2901"/>
                </a:lnTo>
                <a:lnTo>
                  <a:pt x="5630" y="2913"/>
                </a:lnTo>
                <a:lnTo>
                  <a:pt x="5659" y="2925"/>
                </a:lnTo>
                <a:lnTo>
                  <a:pt x="5688" y="2937"/>
                </a:lnTo>
                <a:lnTo>
                  <a:pt x="5717" y="2950"/>
                </a:lnTo>
                <a:lnTo>
                  <a:pt x="5744" y="2966"/>
                </a:lnTo>
                <a:lnTo>
                  <a:pt x="5772" y="2980"/>
                </a:lnTo>
                <a:lnTo>
                  <a:pt x="5799" y="2997"/>
                </a:lnTo>
                <a:lnTo>
                  <a:pt x="5825" y="3013"/>
                </a:lnTo>
                <a:lnTo>
                  <a:pt x="5852" y="3030"/>
                </a:lnTo>
                <a:lnTo>
                  <a:pt x="5877" y="3048"/>
                </a:lnTo>
                <a:lnTo>
                  <a:pt x="5902" y="3066"/>
                </a:lnTo>
                <a:lnTo>
                  <a:pt x="5926" y="3086"/>
                </a:lnTo>
                <a:lnTo>
                  <a:pt x="5951" y="3105"/>
                </a:lnTo>
                <a:lnTo>
                  <a:pt x="5973" y="3124"/>
                </a:lnTo>
                <a:lnTo>
                  <a:pt x="5996" y="3145"/>
                </a:lnTo>
                <a:lnTo>
                  <a:pt x="6018" y="3165"/>
                </a:lnTo>
                <a:lnTo>
                  <a:pt x="6040" y="3187"/>
                </a:lnTo>
                <a:lnTo>
                  <a:pt x="6060" y="3208"/>
                </a:lnTo>
                <a:lnTo>
                  <a:pt x="6080" y="3230"/>
                </a:lnTo>
                <a:lnTo>
                  <a:pt x="6099" y="3252"/>
                </a:lnTo>
                <a:lnTo>
                  <a:pt x="6117" y="3275"/>
                </a:lnTo>
                <a:lnTo>
                  <a:pt x="6136" y="3297"/>
                </a:lnTo>
                <a:lnTo>
                  <a:pt x="6987" y="3297"/>
                </a:lnTo>
                <a:lnTo>
                  <a:pt x="7004" y="3275"/>
                </a:lnTo>
                <a:lnTo>
                  <a:pt x="7023" y="3252"/>
                </a:lnTo>
                <a:lnTo>
                  <a:pt x="7042" y="3230"/>
                </a:lnTo>
                <a:lnTo>
                  <a:pt x="7063" y="3208"/>
                </a:lnTo>
                <a:lnTo>
                  <a:pt x="7083" y="3187"/>
                </a:lnTo>
                <a:lnTo>
                  <a:pt x="7104" y="3165"/>
                </a:lnTo>
                <a:lnTo>
                  <a:pt x="7126" y="3145"/>
                </a:lnTo>
                <a:lnTo>
                  <a:pt x="7148" y="3124"/>
                </a:lnTo>
                <a:lnTo>
                  <a:pt x="7172" y="3105"/>
                </a:lnTo>
                <a:lnTo>
                  <a:pt x="7195" y="3086"/>
                </a:lnTo>
                <a:lnTo>
                  <a:pt x="7220" y="3066"/>
                </a:lnTo>
                <a:lnTo>
                  <a:pt x="7245" y="3048"/>
                </a:lnTo>
                <a:lnTo>
                  <a:pt x="7271" y="3030"/>
                </a:lnTo>
                <a:lnTo>
                  <a:pt x="7297" y="3013"/>
                </a:lnTo>
                <a:lnTo>
                  <a:pt x="7323" y="2997"/>
                </a:lnTo>
                <a:lnTo>
                  <a:pt x="7351" y="2980"/>
                </a:lnTo>
                <a:lnTo>
                  <a:pt x="7378" y="2966"/>
                </a:lnTo>
                <a:lnTo>
                  <a:pt x="7406" y="2950"/>
                </a:lnTo>
                <a:lnTo>
                  <a:pt x="7434" y="2937"/>
                </a:lnTo>
                <a:lnTo>
                  <a:pt x="7463" y="2925"/>
                </a:lnTo>
                <a:lnTo>
                  <a:pt x="7493" y="2913"/>
                </a:lnTo>
                <a:lnTo>
                  <a:pt x="7522" y="2901"/>
                </a:lnTo>
                <a:lnTo>
                  <a:pt x="7553" y="2891"/>
                </a:lnTo>
                <a:lnTo>
                  <a:pt x="7584" y="2882"/>
                </a:lnTo>
                <a:lnTo>
                  <a:pt x="7614" y="2874"/>
                </a:lnTo>
                <a:lnTo>
                  <a:pt x="7646" y="2865"/>
                </a:lnTo>
                <a:lnTo>
                  <a:pt x="7677" y="2859"/>
                </a:lnTo>
                <a:lnTo>
                  <a:pt x="7709" y="2854"/>
                </a:lnTo>
                <a:lnTo>
                  <a:pt x="7741" y="2850"/>
                </a:lnTo>
                <a:lnTo>
                  <a:pt x="7774" y="2847"/>
                </a:lnTo>
                <a:lnTo>
                  <a:pt x="7806" y="2846"/>
                </a:lnTo>
                <a:lnTo>
                  <a:pt x="7839" y="2845"/>
                </a:lnTo>
                <a:lnTo>
                  <a:pt x="7873" y="2846"/>
                </a:lnTo>
                <a:lnTo>
                  <a:pt x="7906" y="2847"/>
                </a:lnTo>
                <a:lnTo>
                  <a:pt x="7938" y="2850"/>
                </a:lnTo>
                <a:lnTo>
                  <a:pt x="7970" y="2854"/>
                </a:lnTo>
                <a:lnTo>
                  <a:pt x="8003" y="2859"/>
                </a:lnTo>
                <a:lnTo>
                  <a:pt x="8034" y="2865"/>
                </a:lnTo>
                <a:lnTo>
                  <a:pt x="8065" y="2874"/>
                </a:lnTo>
                <a:lnTo>
                  <a:pt x="8097" y="2882"/>
                </a:lnTo>
                <a:lnTo>
                  <a:pt x="8126" y="2891"/>
                </a:lnTo>
                <a:lnTo>
                  <a:pt x="8157" y="2901"/>
                </a:lnTo>
                <a:lnTo>
                  <a:pt x="8187" y="2913"/>
                </a:lnTo>
                <a:lnTo>
                  <a:pt x="8216" y="2925"/>
                </a:lnTo>
                <a:lnTo>
                  <a:pt x="8245" y="2937"/>
                </a:lnTo>
                <a:lnTo>
                  <a:pt x="8273" y="2950"/>
                </a:lnTo>
                <a:lnTo>
                  <a:pt x="8302" y="2966"/>
                </a:lnTo>
                <a:lnTo>
                  <a:pt x="8330" y="2980"/>
                </a:lnTo>
                <a:lnTo>
                  <a:pt x="8356" y="2997"/>
                </a:lnTo>
                <a:lnTo>
                  <a:pt x="8383" y="3013"/>
                </a:lnTo>
                <a:lnTo>
                  <a:pt x="8409" y="3030"/>
                </a:lnTo>
                <a:lnTo>
                  <a:pt x="8435" y="3048"/>
                </a:lnTo>
                <a:lnTo>
                  <a:pt x="8459" y="3066"/>
                </a:lnTo>
                <a:lnTo>
                  <a:pt x="8484" y="3086"/>
                </a:lnTo>
                <a:lnTo>
                  <a:pt x="8507" y="3105"/>
                </a:lnTo>
                <a:lnTo>
                  <a:pt x="8531" y="3124"/>
                </a:lnTo>
                <a:lnTo>
                  <a:pt x="8553" y="3145"/>
                </a:lnTo>
                <a:lnTo>
                  <a:pt x="8575" y="3165"/>
                </a:lnTo>
                <a:lnTo>
                  <a:pt x="8596" y="3187"/>
                </a:lnTo>
                <a:lnTo>
                  <a:pt x="8617" y="3208"/>
                </a:lnTo>
                <a:lnTo>
                  <a:pt x="8637" y="3230"/>
                </a:lnTo>
                <a:lnTo>
                  <a:pt x="8657" y="3252"/>
                </a:lnTo>
                <a:lnTo>
                  <a:pt x="8675" y="3275"/>
                </a:lnTo>
                <a:lnTo>
                  <a:pt x="8692" y="3297"/>
                </a:lnTo>
                <a:lnTo>
                  <a:pt x="9011" y="3297"/>
                </a:lnTo>
                <a:lnTo>
                  <a:pt x="9025" y="3297"/>
                </a:lnTo>
                <a:lnTo>
                  <a:pt x="9039" y="3300"/>
                </a:lnTo>
                <a:lnTo>
                  <a:pt x="9052" y="3303"/>
                </a:lnTo>
                <a:lnTo>
                  <a:pt x="9065" y="3307"/>
                </a:lnTo>
                <a:lnTo>
                  <a:pt x="9078" y="3313"/>
                </a:lnTo>
                <a:lnTo>
                  <a:pt x="9089" y="3319"/>
                </a:lnTo>
                <a:lnTo>
                  <a:pt x="9101" y="3326"/>
                </a:lnTo>
                <a:lnTo>
                  <a:pt x="9112" y="3334"/>
                </a:lnTo>
                <a:lnTo>
                  <a:pt x="9122" y="3344"/>
                </a:lnTo>
                <a:lnTo>
                  <a:pt x="9132" y="3353"/>
                </a:lnTo>
                <a:lnTo>
                  <a:pt x="9142" y="3363"/>
                </a:lnTo>
                <a:lnTo>
                  <a:pt x="9150" y="3374"/>
                </a:lnTo>
                <a:lnTo>
                  <a:pt x="9158" y="3386"/>
                </a:lnTo>
                <a:lnTo>
                  <a:pt x="9165" y="3398"/>
                </a:lnTo>
                <a:lnTo>
                  <a:pt x="9172" y="3410"/>
                </a:lnTo>
                <a:lnTo>
                  <a:pt x="9177" y="3423"/>
                </a:lnTo>
                <a:lnTo>
                  <a:pt x="9189" y="3380"/>
                </a:lnTo>
                <a:lnTo>
                  <a:pt x="9200" y="3336"/>
                </a:lnTo>
                <a:lnTo>
                  <a:pt x="9210" y="3292"/>
                </a:lnTo>
                <a:lnTo>
                  <a:pt x="9220" y="3248"/>
                </a:lnTo>
                <a:lnTo>
                  <a:pt x="9228" y="3204"/>
                </a:lnTo>
                <a:lnTo>
                  <a:pt x="9236" y="3159"/>
                </a:lnTo>
                <a:lnTo>
                  <a:pt x="9243" y="3114"/>
                </a:lnTo>
                <a:lnTo>
                  <a:pt x="9250" y="3069"/>
                </a:lnTo>
                <a:lnTo>
                  <a:pt x="9256" y="3024"/>
                </a:lnTo>
                <a:lnTo>
                  <a:pt x="9261" y="2978"/>
                </a:lnTo>
                <a:lnTo>
                  <a:pt x="9266" y="2932"/>
                </a:lnTo>
                <a:lnTo>
                  <a:pt x="9269" y="2886"/>
                </a:lnTo>
                <a:lnTo>
                  <a:pt x="9272" y="2840"/>
                </a:lnTo>
                <a:lnTo>
                  <a:pt x="9274" y="2794"/>
                </a:lnTo>
                <a:lnTo>
                  <a:pt x="9275" y="2747"/>
                </a:lnTo>
                <a:lnTo>
                  <a:pt x="9275" y="2701"/>
                </a:lnTo>
                <a:lnTo>
                  <a:pt x="9272" y="2561"/>
                </a:lnTo>
                <a:lnTo>
                  <a:pt x="9261" y="2424"/>
                </a:lnTo>
                <a:lnTo>
                  <a:pt x="9244" y="2289"/>
                </a:lnTo>
                <a:lnTo>
                  <a:pt x="9221" y="2156"/>
                </a:lnTo>
                <a:lnTo>
                  <a:pt x="9190" y="2025"/>
                </a:lnTo>
                <a:lnTo>
                  <a:pt x="9154" y="1897"/>
                </a:lnTo>
                <a:lnTo>
                  <a:pt x="9111" y="1772"/>
                </a:lnTo>
                <a:lnTo>
                  <a:pt x="9063" y="1649"/>
                </a:lnTo>
                <a:lnTo>
                  <a:pt x="9009" y="1529"/>
                </a:lnTo>
                <a:lnTo>
                  <a:pt x="8950" y="1413"/>
                </a:lnTo>
                <a:lnTo>
                  <a:pt x="8885" y="1300"/>
                </a:lnTo>
                <a:lnTo>
                  <a:pt x="8815" y="1191"/>
                </a:lnTo>
                <a:lnTo>
                  <a:pt x="8739" y="1084"/>
                </a:lnTo>
                <a:lnTo>
                  <a:pt x="8660" y="983"/>
                </a:lnTo>
                <a:lnTo>
                  <a:pt x="8575" y="885"/>
                </a:lnTo>
                <a:lnTo>
                  <a:pt x="8486" y="790"/>
                </a:lnTo>
                <a:lnTo>
                  <a:pt x="8392" y="701"/>
                </a:lnTo>
                <a:lnTo>
                  <a:pt x="8295" y="616"/>
                </a:lnTo>
                <a:lnTo>
                  <a:pt x="8193" y="536"/>
                </a:lnTo>
                <a:lnTo>
                  <a:pt x="8087" y="461"/>
                </a:lnTo>
                <a:lnTo>
                  <a:pt x="7978" y="391"/>
                </a:lnTo>
                <a:lnTo>
                  <a:pt x="7865" y="326"/>
                </a:lnTo>
                <a:lnTo>
                  <a:pt x="7748" y="266"/>
                </a:lnTo>
                <a:lnTo>
                  <a:pt x="7630" y="212"/>
                </a:lnTo>
                <a:lnTo>
                  <a:pt x="7507" y="164"/>
                </a:lnTo>
                <a:lnTo>
                  <a:pt x="7381" y="122"/>
                </a:lnTo>
                <a:lnTo>
                  <a:pt x="7254" y="85"/>
                </a:lnTo>
                <a:lnTo>
                  <a:pt x="7124" y="55"/>
                </a:lnTo>
                <a:lnTo>
                  <a:pt x="6991" y="31"/>
                </a:lnTo>
                <a:lnTo>
                  <a:pt x="6856" y="14"/>
                </a:lnTo>
                <a:lnTo>
                  <a:pt x="6719" y="3"/>
                </a:lnTo>
                <a:lnTo>
                  <a:pt x="6580" y="0"/>
                </a:lnTo>
                <a:lnTo>
                  <a:pt x="6439" y="3"/>
                </a:lnTo>
                <a:lnTo>
                  <a:pt x="6300" y="13"/>
                </a:lnTo>
                <a:lnTo>
                  <a:pt x="6164" y="31"/>
                </a:lnTo>
                <a:lnTo>
                  <a:pt x="6030" y="54"/>
                </a:lnTo>
                <a:lnTo>
                  <a:pt x="5899" y="84"/>
                </a:lnTo>
                <a:lnTo>
                  <a:pt x="5769" y="120"/>
                </a:lnTo>
                <a:lnTo>
                  <a:pt x="5643" y="162"/>
                </a:lnTo>
                <a:lnTo>
                  <a:pt x="5521" y="210"/>
                </a:lnTo>
                <a:lnTo>
                  <a:pt x="5401" y="263"/>
                </a:lnTo>
                <a:lnTo>
                  <a:pt x="5285" y="322"/>
                </a:lnTo>
                <a:lnTo>
                  <a:pt x="5171" y="387"/>
                </a:lnTo>
                <a:lnTo>
                  <a:pt x="5062" y="457"/>
                </a:lnTo>
                <a:lnTo>
                  <a:pt x="4957" y="531"/>
                </a:lnTo>
                <a:lnTo>
                  <a:pt x="4856" y="611"/>
                </a:lnTo>
                <a:lnTo>
                  <a:pt x="4758" y="695"/>
                </a:lnTo>
                <a:lnTo>
                  <a:pt x="4665" y="784"/>
                </a:lnTo>
                <a:lnTo>
                  <a:pt x="4577" y="878"/>
                </a:lnTo>
                <a:lnTo>
                  <a:pt x="4493" y="976"/>
                </a:lnTo>
                <a:lnTo>
                  <a:pt x="4413" y="1077"/>
                </a:lnTo>
                <a:lnTo>
                  <a:pt x="4338" y="1183"/>
                </a:lnTo>
                <a:lnTo>
                  <a:pt x="4270" y="1293"/>
                </a:lnTo>
                <a:lnTo>
                  <a:pt x="4206" y="1406"/>
                </a:lnTo>
                <a:lnTo>
                  <a:pt x="4146" y="1522"/>
                </a:lnTo>
                <a:lnTo>
                  <a:pt x="4093" y="1642"/>
                </a:lnTo>
                <a:lnTo>
                  <a:pt x="4046" y="1765"/>
                </a:lnTo>
                <a:lnTo>
                  <a:pt x="4004" y="1891"/>
                </a:lnTo>
                <a:lnTo>
                  <a:pt x="3969" y="2020"/>
                </a:lnTo>
                <a:lnTo>
                  <a:pt x="3939" y="2151"/>
                </a:lnTo>
                <a:lnTo>
                  <a:pt x="3915" y="2285"/>
                </a:lnTo>
                <a:lnTo>
                  <a:pt x="3899" y="2421"/>
                </a:lnTo>
                <a:lnTo>
                  <a:pt x="3889" y="2559"/>
                </a:lnTo>
                <a:lnTo>
                  <a:pt x="3886" y="2701"/>
                </a:lnTo>
                <a:lnTo>
                  <a:pt x="3886" y="2741"/>
                </a:lnTo>
                <a:lnTo>
                  <a:pt x="3887" y="2781"/>
                </a:lnTo>
                <a:lnTo>
                  <a:pt x="3888" y="2819"/>
                </a:lnTo>
                <a:lnTo>
                  <a:pt x="3890" y="2859"/>
                </a:lnTo>
                <a:lnTo>
                  <a:pt x="3893" y="2899"/>
                </a:lnTo>
                <a:lnTo>
                  <a:pt x="3896" y="2938"/>
                </a:lnTo>
                <a:lnTo>
                  <a:pt x="3899" y="2977"/>
                </a:lnTo>
                <a:lnTo>
                  <a:pt x="3903" y="3016"/>
                </a:lnTo>
                <a:lnTo>
                  <a:pt x="3908" y="3055"/>
                </a:lnTo>
                <a:lnTo>
                  <a:pt x="3913" y="3094"/>
                </a:lnTo>
                <a:lnTo>
                  <a:pt x="3920" y="3132"/>
                </a:lnTo>
                <a:lnTo>
                  <a:pt x="3926" y="3171"/>
                </a:lnTo>
                <a:lnTo>
                  <a:pt x="3933" y="3208"/>
                </a:lnTo>
                <a:lnTo>
                  <a:pt x="3941" y="3246"/>
                </a:lnTo>
                <a:lnTo>
                  <a:pt x="3948" y="3284"/>
                </a:lnTo>
                <a:lnTo>
                  <a:pt x="3957" y="3321"/>
                </a:lnTo>
                <a:lnTo>
                  <a:pt x="3967" y="3316"/>
                </a:lnTo>
                <a:lnTo>
                  <a:pt x="3976" y="3311"/>
                </a:lnTo>
                <a:lnTo>
                  <a:pt x="3986" y="3307"/>
                </a:lnTo>
                <a:lnTo>
                  <a:pt x="3996" y="3304"/>
                </a:lnTo>
                <a:lnTo>
                  <a:pt x="4006" y="3301"/>
                </a:lnTo>
                <a:lnTo>
                  <a:pt x="4018" y="3299"/>
                </a:lnTo>
                <a:lnTo>
                  <a:pt x="4028" y="3297"/>
                </a:lnTo>
                <a:lnTo>
                  <a:pt x="4039" y="3297"/>
                </a:lnTo>
                <a:lnTo>
                  <a:pt x="4429" y="3297"/>
                </a:lnTo>
                <a:lnTo>
                  <a:pt x="4447" y="3275"/>
                </a:lnTo>
                <a:lnTo>
                  <a:pt x="4466" y="3252"/>
                </a:lnTo>
                <a:lnTo>
                  <a:pt x="4486" y="3230"/>
                </a:lnTo>
                <a:lnTo>
                  <a:pt x="4505" y="3208"/>
                </a:lnTo>
                <a:lnTo>
                  <a:pt x="4525" y="3187"/>
                </a:lnTo>
                <a:lnTo>
                  <a:pt x="4547" y="3165"/>
                </a:lnTo>
                <a:lnTo>
                  <a:pt x="4569" y="3145"/>
                </a:lnTo>
                <a:lnTo>
                  <a:pt x="4592" y="3124"/>
                </a:lnTo>
                <a:lnTo>
                  <a:pt x="4614" y="3105"/>
                </a:lnTo>
                <a:lnTo>
                  <a:pt x="4639" y="3086"/>
                </a:lnTo>
                <a:lnTo>
                  <a:pt x="4663" y="3066"/>
                </a:lnTo>
                <a:lnTo>
                  <a:pt x="4688" y="3048"/>
                </a:lnTo>
                <a:lnTo>
                  <a:pt x="4713" y="3030"/>
                </a:lnTo>
                <a:lnTo>
                  <a:pt x="4739" y="3013"/>
                </a:lnTo>
                <a:lnTo>
                  <a:pt x="4766" y="2997"/>
                </a:lnTo>
                <a:lnTo>
                  <a:pt x="4793" y="2980"/>
                </a:lnTo>
                <a:lnTo>
                  <a:pt x="4821" y="2966"/>
                </a:lnTo>
                <a:lnTo>
                  <a:pt x="4848" y="2950"/>
                </a:lnTo>
                <a:lnTo>
                  <a:pt x="4877" y="2937"/>
                </a:lnTo>
                <a:lnTo>
                  <a:pt x="4907" y="2925"/>
                </a:lnTo>
                <a:lnTo>
                  <a:pt x="4935" y="2913"/>
                </a:lnTo>
                <a:lnTo>
                  <a:pt x="4966" y="2901"/>
                </a:lnTo>
                <a:lnTo>
                  <a:pt x="4995" y="2891"/>
                </a:lnTo>
                <a:lnTo>
                  <a:pt x="5026" y="2882"/>
                </a:lnTo>
                <a:lnTo>
                  <a:pt x="5057" y="2874"/>
                </a:lnTo>
                <a:lnTo>
                  <a:pt x="5088" y="2865"/>
                </a:lnTo>
                <a:lnTo>
                  <a:pt x="5120" y="2859"/>
                </a:lnTo>
                <a:lnTo>
                  <a:pt x="5152" y="2854"/>
                </a:lnTo>
                <a:lnTo>
                  <a:pt x="5185" y="2850"/>
                </a:lnTo>
                <a:lnTo>
                  <a:pt x="5217" y="2847"/>
                </a:lnTo>
                <a:lnTo>
                  <a:pt x="5250" y="2846"/>
                </a:lnTo>
                <a:lnTo>
                  <a:pt x="5283" y="284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7" name="Прямоугольник 26"/>
          <p:cNvSpPr/>
          <p:nvPr>
            <p:custDataLst>
              <p:tags r:id="rId10"/>
            </p:custDataLst>
          </p:nvPr>
        </p:nvSpPr>
        <p:spPr>
          <a:xfrm>
            <a:off x="5292080" y="1052736"/>
            <a:ext cx="3564583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sz="1400" b="1" dirty="0">
                <a:solidFill>
                  <a:schemeClr val="tx2"/>
                </a:solidFill>
              </a:rPr>
              <a:t>Проведение </a:t>
            </a:r>
            <a:r>
              <a:rPr lang="ru-RU" sz="1400" b="1" dirty="0" smtClean="0">
                <a:solidFill>
                  <a:schemeClr val="tx2"/>
                </a:solidFill>
              </a:rPr>
              <a:t>НИР </a:t>
            </a:r>
            <a:r>
              <a:rPr lang="ru-RU" sz="1400" b="1" dirty="0">
                <a:solidFill>
                  <a:schemeClr val="tx2"/>
                </a:solidFill>
              </a:rPr>
              <a:t>и опытных работ</a:t>
            </a:r>
            <a:r>
              <a:rPr lang="ru-RU" sz="1400" dirty="0">
                <a:solidFill>
                  <a:schemeClr val="tx2"/>
                </a:solidFill>
              </a:rPr>
              <a:t>, </a:t>
            </a:r>
            <a:r>
              <a:rPr lang="ru-RU" sz="1400" b="1" dirty="0">
                <a:solidFill>
                  <a:schemeClr val="tx2"/>
                </a:solidFill>
              </a:rPr>
              <a:t>патентных исследований  </a:t>
            </a:r>
            <a:r>
              <a:rPr lang="ru-RU" sz="1400" b="1" dirty="0" smtClean="0">
                <a:solidFill>
                  <a:schemeClr val="tx2"/>
                </a:solidFill>
              </a:rPr>
              <a:t>                            и </a:t>
            </a:r>
            <a:r>
              <a:rPr lang="ru-RU" sz="1400" b="1" dirty="0">
                <a:solidFill>
                  <a:schemeClr val="tx2"/>
                </a:solidFill>
              </a:rPr>
              <a:t>лабораторных испытаний </a:t>
            </a:r>
            <a:endParaRPr lang="ru-RU" sz="1400" dirty="0">
              <a:solidFill>
                <a:schemeClr val="tx2"/>
              </a:solidFill>
            </a:endParaRPr>
          </a:p>
        </p:txBody>
      </p:sp>
      <p:sp>
        <p:nvSpPr>
          <p:cNvPr id="31" name="bitum_01"/>
          <p:cNvSpPr>
            <a:spLocks noEditPoints="1"/>
          </p:cNvSpPr>
          <p:nvPr>
            <p:custDataLst>
              <p:tags r:id="rId11"/>
            </p:custDataLst>
          </p:nvPr>
        </p:nvSpPr>
        <p:spPr bwMode="auto">
          <a:xfrm>
            <a:off x="287338" y="1202095"/>
            <a:ext cx="533400" cy="409575"/>
          </a:xfrm>
          <a:custGeom>
            <a:avLst/>
            <a:gdLst>
              <a:gd name="T0" fmla="*/ 779 w 16128"/>
              <a:gd name="T1" fmla="*/ 3970 h 12384"/>
              <a:gd name="T2" fmla="*/ 515 w 16128"/>
              <a:gd name="T3" fmla="*/ 4505 h 12384"/>
              <a:gd name="T4" fmla="*/ 291 w 16128"/>
              <a:gd name="T5" fmla="*/ 5054 h 12384"/>
              <a:gd name="T6" fmla="*/ 125 w 16128"/>
              <a:gd name="T7" fmla="*/ 5603 h 12384"/>
              <a:gd name="T8" fmla="*/ 25 w 16128"/>
              <a:gd name="T9" fmla="*/ 6152 h 12384"/>
              <a:gd name="T10" fmla="*/ 2 w 16128"/>
              <a:gd name="T11" fmla="*/ 6703 h 12384"/>
              <a:gd name="T12" fmla="*/ 69 w 16128"/>
              <a:gd name="T13" fmla="*/ 7254 h 12384"/>
              <a:gd name="T14" fmla="*/ 218 w 16128"/>
              <a:gd name="T15" fmla="*/ 7749 h 12384"/>
              <a:gd name="T16" fmla="*/ 429 w 16128"/>
              <a:gd name="T17" fmla="*/ 8174 h 12384"/>
              <a:gd name="T18" fmla="*/ 703 w 16128"/>
              <a:gd name="T19" fmla="*/ 8548 h 12384"/>
              <a:gd name="T20" fmla="*/ 1029 w 16128"/>
              <a:gd name="T21" fmla="*/ 8869 h 12384"/>
              <a:gd name="T22" fmla="*/ 1320 w 16128"/>
              <a:gd name="T23" fmla="*/ 9082 h 12384"/>
              <a:gd name="T24" fmla="*/ 1743 w 16128"/>
              <a:gd name="T25" fmla="*/ 9304 h 12384"/>
              <a:gd name="T26" fmla="*/ 2308 w 16128"/>
              <a:gd name="T27" fmla="*/ 9483 h 12384"/>
              <a:gd name="T28" fmla="*/ 2811 w 16128"/>
              <a:gd name="T29" fmla="*/ 9550 h 12384"/>
              <a:gd name="T30" fmla="*/ 3219 w 16128"/>
              <a:gd name="T31" fmla="*/ 9546 h 12384"/>
              <a:gd name="T32" fmla="*/ 3586 w 16128"/>
              <a:gd name="T33" fmla="*/ 9503 h 12384"/>
              <a:gd name="T34" fmla="*/ 3980 w 16128"/>
              <a:gd name="T35" fmla="*/ 9406 h 12384"/>
              <a:gd name="T36" fmla="*/ 4374 w 16128"/>
              <a:gd name="T37" fmla="*/ 9251 h 12384"/>
              <a:gd name="T38" fmla="*/ 4736 w 16128"/>
              <a:gd name="T39" fmla="*/ 9042 h 12384"/>
              <a:gd name="T40" fmla="*/ 5059 w 16128"/>
              <a:gd name="T41" fmla="*/ 8782 h 12384"/>
              <a:gd name="T42" fmla="*/ 5395 w 16128"/>
              <a:gd name="T43" fmla="*/ 8400 h 12384"/>
              <a:gd name="T44" fmla="*/ 5687 w 16128"/>
              <a:gd name="T45" fmla="*/ 7894 h 12384"/>
              <a:gd name="T46" fmla="*/ 5888 w 16128"/>
              <a:gd name="T47" fmla="*/ 7301 h 12384"/>
              <a:gd name="T48" fmla="*/ 5987 w 16128"/>
              <a:gd name="T49" fmla="*/ 6624 h 12384"/>
              <a:gd name="T50" fmla="*/ 5969 w 16128"/>
              <a:gd name="T51" fmla="*/ 6011 h 12384"/>
              <a:gd name="T52" fmla="*/ 5837 w 16128"/>
              <a:gd name="T53" fmla="*/ 5427 h 12384"/>
              <a:gd name="T54" fmla="*/ 5608 w 16128"/>
              <a:gd name="T55" fmla="*/ 4807 h 12384"/>
              <a:gd name="T56" fmla="*/ 5304 w 16128"/>
              <a:gd name="T57" fmla="*/ 4169 h 12384"/>
              <a:gd name="T58" fmla="*/ 5024 w 16128"/>
              <a:gd name="T59" fmla="*/ 3661 h 12384"/>
              <a:gd name="T60" fmla="*/ 4770 w 16128"/>
              <a:gd name="T61" fmla="*/ 3239 h 12384"/>
              <a:gd name="T62" fmla="*/ 4520 w 16128"/>
              <a:gd name="T63" fmla="*/ 2850 h 12384"/>
              <a:gd name="T64" fmla="*/ 4276 w 16128"/>
              <a:gd name="T65" fmla="*/ 2488 h 12384"/>
              <a:gd name="T66" fmla="*/ 3756 w 16128"/>
              <a:gd name="T67" fmla="*/ 1764 h 12384"/>
              <a:gd name="T68" fmla="*/ 3160 w 16128"/>
              <a:gd name="T69" fmla="*/ 994 h 12384"/>
              <a:gd name="T70" fmla="*/ 2538 w 16128"/>
              <a:gd name="T71" fmla="*/ 1336 h 12384"/>
              <a:gd name="T72" fmla="*/ 1680 w 16128"/>
              <a:gd name="T73" fmla="*/ 2511 h 12384"/>
              <a:gd name="T74" fmla="*/ 10527 w 16128"/>
              <a:gd name="T75" fmla="*/ 0 h 12384"/>
              <a:gd name="T76" fmla="*/ 2045 w 16128"/>
              <a:gd name="T77" fmla="*/ 10246 h 12384"/>
              <a:gd name="T78" fmla="*/ 1458 w 16128"/>
              <a:gd name="T79" fmla="*/ 10053 h 12384"/>
              <a:gd name="T80" fmla="*/ 2275 w 16128"/>
              <a:gd name="T81" fmla="*/ 10295 h 12384"/>
              <a:gd name="T82" fmla="*/ 5847 w 16128"/>
              <a:gd name="T83" fmla="*/ 3517 h 12384"/>
              <a:gd name="T84" fmla="*/ 6299 w 16128"/>
              <a:gd name="T85" fmla="*/ 4425 h 12384"/>
              <a:gd name="T86" fmla="*/ 6629 w 16128"/>
              <a:gd name="T87" fmla="*/ 5316 h 12384"/>
              <a:gd name="T88" fmla="*/ 6787 w 16128"/>
              <a:gd name="T89" fmla="*/ 6153 h 12384"/>
              <a:gd name="T90" fmla="*/ 6754 w 16128"/>
              <a:gd name="T91" fmla="*/ 7008 h 12384"/>
              <a:gd name="T92" fmla="*/ 6578 w 16128"/>
              <a:gd name="T93" fmla="*/ 7802 h 12384"/>
              <a:gd name="T94" fmla="*/ 6279 w 16128"/>
              <a:gd name="T95" fmla="*/ 8499 h 12384"/>
              <a:gd name="T96" fmla="*/ 5868 w 16128"/>
              <a:gd name="T97" fmla="*/ 9092 h 12384"/>
              <a:gd name="T98" fmla="*/ 5398 w 16128"/>
              <a:gd name="T99" fmla="*/ 9546 h 12384"/>
              <a:gd name="T100" fmla="*/ 4873 w 16128"/>
              <a:gd name="T101" fmla="*/ 9895 h 12384"/>
              <a:gd name="T102" fmla="*/ 4290 w 16128"/>
              <a:gd name="T103" fmla="*/ 10149 h 12384"/>
              <a:gd name="T104" fmla="*/ 3660 w 16128"/>
              <a:gd name="T105" fmla="*/ 10304 h 12384"/>
              <a:gd name="T106" fmla="*/ 13265 w 16128"/>
              <a:gd name="T107" fmla="*/ 12384 h 12384"/>
              <a:gd name="T108" fmla="*/ 8504 w 16128"/>
              <a:gd name="T109" fmla="*/ 2566 h 12384"/>
              <a:gd name="T110" fmla="*/ 7427 w 16128"/>
              <a:gd name="T111" fmla="*/ 9818 h 12384"/>
              <a:gd name="T112" fmla="*/ 4876 w 16128"/>
              <a:gd name="T113" fmla="*/ 1959 h 12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128" h="12384">
                <a:moveTo>
                  <a:pt x="1259" y="3152"/>
                </a:moveTo>
                <a:lnTo>
                  <a:pt x="1183" y="3273"/>
                </a:lnTo>
                <a:lnTo>
                  <a:pt x="1108" y="3397"/>
                </a:lnTo>
                <a:lnTo>
                  <a:pt x="1033" y="3521"/>
                </a:lnTo>
                <a:lnTo>
                  <a:pt x="959" y="3648"/>
                </a:lnTo>
                <a:lnTo>
                  <a:pt x="886" y="3776"/>
                </a:lnTo>
                <a:lnTo>
                  <a:pt x="814" y="3906"/>
                </a:lnTo>
                <a:lnTo>
                  <a:pt x="779" y="3970"/>
                </a:lnTo>
                <a:lnTo>
                  <a:pt x="745" y="4036"/>
                </a:lnTo>
                <a:lnTo>
                  <a:pt x="711" y="4103"/>
                </a:lnTo>
                <a:lnTo>
                  <a:pt x="676" y="4169"/>
                </a:lnTo>
                <a:lnTo>
                  <a:pt x="643" y="4236"/>
                </a:lnTo>
                <a:lnTo>
                  <a:pt x="611" y="4302"/>
                </a:lnTo>
                <a:lnTo>
                  <a:pt x="578" y="4369"/>
                </a:lnTo>
                <a:lnTo>
                  <a:pt x="546" y="4437"/>
                </a:lnTo>
                <a:lnTo>
                  <a:pt x="515" y="4505"/>
                </a:lnTo>
                <a:lnTo>
                  <a:pt x="485" y="4573"/>
                </a:lnTo>
                <a:lnTo>
                  <a:pt x="455" y="4640"/>
                </a:lnTo>
                <a:lnTo>
                  <a:pt x="425" y="4709"/>
                </a:lnTo>
                <a:lnTo>
                  <a:pt x="397" y="4778"/>
                </a:lnTo>
                <a:lnTo>
                  <a:pt x="370" y="4847"/>
                </a:lnTo>
                <a:lnTo>
                  <a:pt x="343" y="4916"/>
                </a:lnTo>
                <a:lnTo>
                  <a:pt x="317" y="4986"/>
                </a:lnTo>
                <a:lnTo>
                  <a:pt x="291" y="5054"/>
                </a:lnTo>
                <a:lnTo>
                  <a:pt x="267" y="5124"/>
                </a:lnTo>
                <a:lnTo>
                  <a:pt x="243" y="5194"/>
                </a:lnTo>
                <a:lnTo>
                  <a:pt x="221" y="5264"/>
                </a:lnTo>
                <a:lnTo>
                  <a:pt x="200" y="5332"/>
                </a:lnTo>
                <a:lnTo>
                  <a:pt x="179" y="5399"/>
                </a:lnTo>
                <a:lnTo>
                  <a:pt x="160" y="5466"/>
                </a:lnTo>
                <a:lnTo>
                  <a:pt x="142" y="5535"/>
                </a:lnTo>
                <a:lnTo>
                  <a:pt x="125" y="5603"/>
                </a:lnTo>
                <a:lnTo>
                  <a:pt x="109" y="5671"/>
                </a:lnTo>
                <a:lnTo>
                  <a:pt x="94" y="5740"/>
                </a:lnTo>
                <a:lnTo>
                  <a:pt x="80" y="5807"/>
                </a:lnTo>
                <a:lnTo>
                  <a:pt x="67" y="5876"/>
                </a:lnTo>
                <a:lnTo>
                  <a:pt x="54" y="5945"/>
                </a:lnTo>
                <a:lnTo>
                  <a:pt x="43" y="6014"/>
                </a:lnTo>
                <a:lnTo>
                  <a:pt x="34" y="6083"/>
                </a:lnTo>
                <a:lnTo>
                  <a:pt x="25" y="6152"/>
                </a:lnTo>
                <a:lnTo>
                  <a:pt x="18" y="6220"/>
                </a:lnTo>
                <a:lnTo>
                  <a:pt x="12" y="6289"/>
                </a:lnTo>
                <a:lnTo>
                  <a:pt x="7" y="6358"/>
                </a:lnTo>
                <a:lnTo>
                  <a:pt x="3" y="6427"/>
                </a:lnTo>
                <a:lnTo>
                  <a:pt x="1" y="6496"/>
                </a:lnTo>
                <a:lnTo>
                  <a:pt x="0" y="6564"/>
                </a:lnTo>
                <a:lnTo>
                  <a:pt x="0" y="6634"/>
                </a:lnTo>
                <a:lnTo>
                  <a:pt x="2" y="6703"/>
                </a:lnTo>
                <a:lnTo>
                  <a:pt x="5" y="6772"/>
                </a:lnTo>
                <a:lnTo>
                  <a:pt x="10" y="6841"/>
                </a:lnTo>
                <a:lnTo>
                  <a:pt x="16" y="6910"/>
                </a:lnTo>
                <a:lnTo>
                  <a:pt x="23" y="6978"/>
                </a:lnTo>
                <a:lnTo>
                  <a:pt x="32" y="7047"/>
                </a:lnTo>
                <a:lnTo>
                  <a:pt x="42" y="7116"/>
                </a:lnTo>
                <a:lnTo>
                  <a:pt x="54" y="7185"/>
                </a:lnTo>
                <a:lnTo>
                  <a:pt x="69" y="7254"/>
                </a:lnTo>
                <a:lnTo>
                  <a:pt x="84" y="7323"/>
                </a:lnTo>
                <a:lnTo>
                  <a:pt x="101" y="7391"/>
                </a:lnTo>
                <a:lnTo>
                  <a:pt x="119" y="7459"/>
                </a:lnTo>
                <a:lnTo>
                  <a:pt x="136" y="7519"/>
                </a:lnTo>
                <a:lnTo>
                  <a:pt x="155" y="7578"/>
                </a:lnTo>
                <a:lnTo>
                  <a:pt x="174" y="7635"/>
                </a:lnTo>
                <a:lnTo>
                  <a:pt x="196" y="7693"/>
                </a:lnTo>
                <a:lnTo>
                  <a:pt x="218" y="7749"/>
                </a:lnTo>
                <a:lnTo>
                  <a:pt x="240" y="7804"/>
                </a:lnTo>
                <a:lnTo>
                  <a:pt x="264" y="7860"/>
                </a:lnTo>
                <a:lnTo>
                  <a:pt x="289" y="7914"/>
                </a:lnTo>
                <a:lnTo>
                  <a:pt x="316" y="7967"/>
                </a:lnTo>
                <a:lnTo>
                  <a:pt x="343" y="8020"/>
                </a:lnTo>
                <a:lnTo>
                  <a:pt x="371" y="8072"/>
                </a:lnTo>
                <a:lnTo>
                  <a:pt x="399" y="8123"/>
                </a:lnTo>
                <a:lnTo>
                  <a:pt x="429" y="8174"/>
                </a:lnTo>
                <a:lnTo>
                  <a:pt x="461" y="8223"/>
                </a:lnTo>
                <a:lnTo>
                  <a:pt x="493" y="8273"/>
                </a:lnTo>
                <a:lnTo>
                  <a:pt x="525" y="8320"/>
                </a:lnTo>
                <a:lnTo>
                  <a:pt x="559" y="8368"/>
                </a:lnTo>
                <a:lnTo>
                  <a:pt x="594" y="8415"/>
                </a:lnTo>
                <a:lnTo>
                  <a:pt x="629" y="8460"/>
                </a:lnTo>
                <a:lnTo>
                  <a:pt x="665" y="8505"/>
                </a:lnTo>
                <a:lnTo>
                  <a:pt x="703" y="8548"/>
                </a:lnTo>
                <a:lnTo>
                  <a:pt x="741" y="8592"/>
                </a:lnTo>
                <a:lnTo>
                  <a:pt x="780" y="8634"/>
                </a:lnTo>
                <a:lnTo>
                  <a:pt x="820" y="8676"/>
                </a:lnTo>
                <a:lnTo>
                  <a:pt x="860" y="8716"/>
                </a:lnTo>
                <a:lnTo>
                  <a:pt x="901" y="8756"/>
                </a:lnTo>
                <a:lnTo>
                  <a:pt x="943" y="8794"/>
                </a:lnTo>
                <a:lnTo>
                  <a:pt x="986" y="8832"/>
                </a:lnTo>
                <a:lnTo>
                  <a:pt x="1029" y="8869"/>
                </a:lnTo>
                <a:lnTo>
                  <a:pt x="1074" y="8905"/>
                </a:lnTo>
                <a:lnTo>
                  <a:pt x="1119" y="8940"/>
                </a:lnTo>
                <a:lnTo>
                  <a:pt x="1164" y="8974"/>
                </a:lnTo>
                <a:lnTo>
                  <a:pt x="1195" y="8997"/>
                </a:lnTo>
                <a:lnTo>
                  <a:pt x="1226" y="9019"/>
                </a:lnTo>
                <a:lnTo>
                  <a:pt x="1257" y="9040"/>
                </a:lnTo>
                <a:lnTo>
                  <a:pt x="1288" y="9060"/>
                </a:lnTo>
                <a:lnTo>
                  <a:pt x="1320" y="9082"/>
                </a:lnTo>
                <a:lnTo>
                  <a:pt x="1352" y="9102"/>
                </a:lnTo>
                <a:lnTo>
                  <a:pt x="1384" y="9121"/>
                </a:lnTo>
                <a:lnTo>
                  <a:pt x="1417" y="9140"/>
                </a:lnTo>
                <a:lnTo>
                  <a:pt x="1481" y="9177"/>
                </a:lnTo>
                <a:lnTo>
                  <a:pt x="1544" y="9211"/>
                </a:lnTo>
                <a:lnTo>
                  <a:pt x="1610" y="9243"/>
                </a:lnTo>
                <a:lnTo>
                  <a:pt x="1676" y="9275"/>
                </a:lnTo>
                <a:lnTo>
                  <a:pt x="1743" y="9304"/>
                </a:lnTo>
                <a:lnTo>
                  <a:pt x="1811" y="9333"/>
                </a:lnTo>
                <a:lnTo>
                  <a:pt x="1880" y="9359"/>
                </a:lnTo>
                <a:lnTo>
                  <a:pt x="1949" y="9384"/>
                </a:lnTo>
                <a:lnTo>
                  <a:pt x="2020" y="9407"/>
                </a:lnTo>
                <a:lnTo>
                  <a:pt x="2091" y="9429"/>
                </a:lnTo>
                <a:lnTo>
                  <a:pt x="2162" y="9449"/>
                </a:lnTo>
                <a:lnTo>
                  <a:pt x="2235" y="9467"/>
                </a:lnTo>
                <a:lnTo>
                  <a:pt x="2308" y="9483"/>
                </a:lnTo>
                <a:lnTo>
                  <a:pt x="2382" y="9499"/>
                </a:lnTo>
                <a:lnTo>
                  <a:pt x="2456" y="9512"/>
                </a:lnTo>
                <a:lnTo>
                  <a:pt x="2531" y="9523"/>
                </a:lnTo>
                <a:lnTo>
                  <a:pt x="2587" y="9530"/>
                </a:lnTo>
                <a:lnTo>
                  <a:pt x="2643" y="9536"/>
                </a:lnTo>
                <a:lnTo>
                  <a:pt x="2698" y="9542"/>
                </a:lnTo>
                <a:lnTo>
                  <a:pt x="2755" y="9546"/>
                </a:lnTo>
                <a:lnTo>
                  <a:pt x="2811" y="9550"/>
                </a:lnTo>
                <a:lnTo>
                  <a:pt x="2869" y="9552"/>
                </a:lnTo>
                <a:lnTo>
                  <a:pt x="2925" y="9553"/>
                </a:lnTo>
                <a:lnTo>
                  <a:pt x="2983" y="9554"/>
                </a:lnTo>
                <a:lnTo>
                  <a:pt x="3030" y="9554"/>
                </a:lnTo>
                <a:lnTo>
                  <a:pt x="3077" y="9553"/>
                </a:lnTo>
                <a:lnTo>
                  <a:pt x="3125" y="9551"/>
                </a:lnTo>
                <a:lnTo>
                  <a:pt x="3172" y="9549"/>
                </a:lnTo>
                <a:lnTo>
                  <a:pt x="3219" y="9546"/>
                </a:lnTo>
                <a:lnTo>
                  <a:pt x="3266" y="9543"/>
                </a:lnTo>
                <a:lnTo>
                  <a:pt x="3312" y="9539"/>
                </a:lnTo>
                <a:lnTo>
                  <a:pt x="3359" y="9534"/>
                </a:lnTo>
                <a:lnTo>
                  <a:pt x="3404" y="9529"/>
                </a:lnTo>
                <a:lnTo>
                  <a:pt x="3450" y="9523"/>
                </a:lnTo>
                <a:lnTo>
                  <a:pt x="3496" y="9517"/>
                </a:lnTo>
                <a:lnTo>
                  <a:pt x="3541" y="9510"/>
                </a:lnTo>
                <a:lnTo>
                  <a:pt x="3586" y="9503"/>
                </a:lnTo>
                <a:lnTo>
                  <a:pt x="3631" y="9493"/>
                </a:lnTo>
                <a:lnTo>
                  <a:pt x="3675" y="9485"/>
                </a:lnTo>
                <a:lnTo>
                  <a:pt x="3720" y="9475"/>
                </a:lnTo>
                <a:lnTo>
                  <a:pt x="3773" y="9463"/>
                </a:lnTo>
                <a:lnTo>
                  <a:pt x="3825" y="9450"/>
                </a:lnTo>
                <a:lnTo>
                  <a:pt x="3877" y="9437"/>
                </a:lnTo>
                <a:lnTo>
                  <a:pt x="3929" y="9422"/>
                </a:lnTo>
                <a:lnTo>
                  <a:pt x="3980" y="9406"/>
                </a:lnTo>
                <a:lnTo>
                  <a:pt x="4031" y="9389"/>
                </a:lnTo>
                <a:lnTo>
                  <a:pt x="4081" y="9372"/>
                </a:lnTo>
                <a:lnTo>
                  <a:pt x="4131" y="9354"/>
                </a:lnTo>
                <a:lnTo>
                  <a:pt x="4180" y="9335"/>
                </a:lnTo>
                <a:lnTo>
                  <a:pt x="4230" y="9315"/>
                </a:lnTo>
                <a:lnTo>
                  <a:pt x="4278" y="9294"/>
                </a:lnTo>
                <a:lnTo>
                  <a:pt x="4326" y="9273"/>
                </a:lnTo>
                <a:lnTo>
                  <a:pt x="4374" y="9251"/>
                </a:lnTo>
                <a:lnTo>
                  <a:pt x="4421" y="9227"/>
                </a:lnTo>
                <a:lnTo>
                  <a:pt x="4467" y="9203"/>
                </a:lnTo>
                <a:lnTo>
                  <a:pt x="4514" y="9179"/>
                </a:lnTo>
                <a:lnTo>
                  <a:pt x="4559" y="9153"/>
                </a:lnTo>
                <a:lnTo>
                  <a:pt x="4604" y="9126"/>
                </a:lnTo>
                <a:lnTo>
                  <a:pt x="4648" y="9099"/>
                </a:lnTo>
                <a:lnTo>
                  <a:pt x="4692" y="9071"/>
                </a:lnTo>
                <a:lnTo>
                  <a:pt x="4736" y="9042"/>
                </a:lnTo>
                <a:lnTo>
                  <a:pt x="4778" y="9013"/>
                </a:lnTo>
                <a:lnTo>
                  <a:pt x="4820" y="8982"/>
                </a:lnTo>
                <a:lnTo>
                  <a:pt x="4862" y="8951"/>
                </a:lnTo>
                <a:lnTo>
                  <a:pt x="4902" y="8919"/>
                </a:lnTo>
                <a:lnTo>
                  <a:pt x="4942" y="8885"/>
                </a:lnTo>
                <a:lnTo>
                  <a:pt x="4983" y="8852"/>
                </a:lnTo>
                <a:lnTo>
                  <a:pt x="5021" y="8817"/>
                </a:lnTo>
                <a:lnTo>
                  <a:pt x="5059" y="8782"/>
                </a:lnTo>
                <a:lnTo>
                  <a:pt x="5097" y="8746"/>
                </a:lnTo>
                <a:lnTo>
                  <a:pt x="5135" y="8709"/>
                </a:lnTo>
                <a:lnTo>
                  <a:pt x="5171" y="8671"/>
                </a:lnTo>
                <a:lnTo>
                  <a:pt x="5218" y="8620"/>
                </a:lnTo>
                <a:lnTo>
                  <a:pt x="5264" y="8567"/>
                </a:lnTo>
                <a:lnTo>
                  <a:pt x="5309" y="8513"/>
                </a:lnTo>
                <a:lnTo>
                  <a:pt x="5352" y="8457"/>
                </a:lnTo>
                <a:lnTo>
                  <a:pt x="5395" y="8400"/>
                </a:lnTo>
                <a:lnTo>
                  <a:pt x="5436" y="8342"/>
                </a:lnTo>
                <a:lnTo>
                  <a:pt x="5476" y="8282"/>
                </a:lnTo>
                <a:lnTo>
                  <a:pt x="5515" y="8221"/>
                </a:lnTo>
                <a:lnTo>
                  <a:pt x="5552" y="8159"/>
                </a:lnTo>
                <a:lnTo>
                  <a:pt x="5588" y="8095"/>
                </a:lnTo>
                <a:lnTo>
                  <a:pt x="5623" y="8029"/>
                </a:lnTo>
                <a:lnTo>
                  <a:pt x="5656" y="7962"/>
                </a:lnTo>
                <a:lnTo>
                  <a:pt x="5687" y="7894"/>
                </a:lnTo>
                <a:lnTo>
                  <a:pt x="5717" y="7825"/>
                </a:lnTo>
                <a:lnTo>
                  <a:pt x="5747" y="7754"/>
                </a:lnTo>
                <a:lnTo>
                  <a:pt x="5774" y="7682"/>
                </a:lnTo>
                <a:lnTo>
                  <a:pt x="5800" y="7609"/>
                </a:lnTo>
                <a:lnTo>
                  <a:pt x="5824" y="7534"/>
                </a:lnTo>
                <a:lnTo>
                  <a:pt x="5847" y="7457"/>
                </a:lnTo>
                <a:lnTo>
                  <a:pt x="5869" y="7380"/>
                </a:lnTo>
                <a:lnTo>
                  <a:pt x="5888" y="7301"/>
                </a:lnTo>
                <a:lnTo>
                  <a:pt x="5906" y="7221"/>
                </a:lnTo>
                <a:lnTo>
                  <a:pt x="5923" y="7139"/>
                </a:lnTo>
                <a:lnTo>
                  <a:pt x="5937" y="7057"/>
                </a:lnTo>
                <a:lnTo>
                  <a:pt x="5950" y="6973"/>
                </a:lnTo>
                <a:lnTo>
                  <a:pt x="5962" y="6887"/>
                </a:lnTo>
                <a:lnTo>
                  <a:pt x="5972" y="6801"/>
                </a:lnTo>
                <a:lnTo>
                  <a:pt x="5980" y="6713"/>
                </a:lnTo>
                <a:lnTo>
                  <a:pt x="5987" y="6624"/>
                </a:lnTo>
                <a:lnTo>
                  <a:pt x="5991" y="6534"/>
                </a:lnTo>
                <a:lnTo>
                  <a:pt x="5994" y="6442"/>
                </a:lnTo>
                <a:lnTo>
                  <a:pt x="5995" y="6349"/>
                </a:lnTo>
                <a:lnTo>
                  <a:pt x="5994" y="6283"/>
                </a:lnTo>
                <a:lnTo>
                  <a:pt x="5991" y="6216"/>
                </a:lnTo>
                <a:lnTo>
                  <a:pt x="5986" y="6148"/>
                </a:lnTo>
                <a:lnTo>
                  <a:pt x="5978" y="6080"/>
                </a:lnTo>
                <a:lnTo>
                  <a:pt x="5969" y="6011"/>
                </a:lnTo>
                <a:lnTo>
                  <a:pt x="5959" y="5940"/>
                </a:lnTo>
                <a:lnTo>
                  <a:pt x="5947" y="5869"/>
                </a:lnTo>
                <a:lnTo>
                  <a:pt x="5933" y="5797"/>
                </a:lnTo>
                <a:lnTo>
                  <a:pt x="5917" y="5724"/>
                </a:lnTo>
                <a:lnTo>
                  <a:pt x="5899" y="5652"/>
                </a:lnTo>
                <a:lnTo>
                  <a:pt x="5880" y="5577"/>
                </a:lnTo>
                <a:lnTo>
                  <a:pt x="5860" y="5503"/>
                </a:lnTo>
                <a:lnTo>
                  <a:pt x="5837" y="5427"/>
                </a:lnTo>
                <a:lnTo>
                  <a:pt x="5813" y="5351"/>
                </a:lnTo>
                <a:lnTo>
                  <a:pt x="5788" y="5275"/>
                </a:lnTo>
                <a:lnTo>
                  <a:pt x="5761" y="5198"/>
                </a:lnTo>
                <a:lnTo>
                  <a:pt x="5734" y="5121"/>
                </a:lnTo>
                <a:lnTo>
                  <a:pt x="5703" y="5043"/>
                </a:lnTo>
                <a:lnTo>
                  <a:pt x="5673" y="4964"/>
                </a:lnTo>
                <a:lnTo>
                  <a:pt x="5641" y="4886"/>
                </a:lnTo>
                <a:lnTo>
                  <a:pt x="5608" y="4807"/>
                </a:lnTo>
                <a:lnTo>
                  <a:pt x="5573" y="4729"/>
                </a:lnTo>
                <a:lnTo>
                  <a:pt x="5538" y="4649"/>
                </a:lnTo>
                <a:lnTo>
                  <a:pt x="5502" y="4570"/>
                </a:lnTo>
                <a:lnTo>
                  <a:pt x="5463" y="4490"/>
                </a:lnTo>
                <a:lnTo>
                  <a:pt x="5425" y="4410"/>
                </a:lnTo>
                <a:lnTo>
                  <a:pt x="5386" y="4329"/>
                </a:lnTo>
                <a:lnTo>
                  <a:pt x="5345" y="4249"/>
                </a:lnTo>
                <a:lnTo>
                  <a:pt x="5304" y="4169"/>
                </a:lnTo>
                <a:lnTo>
                  <a:pt x="5262" y="4088"/>
                </a:lnTo>
                <a:lnTo>
                  <a:pt x="5218" y="4008"/>
                </a:lnTo>
                <a:lnTo>
                  <a:pt x="5174" y="3928"/>
                </a:lnTo>
                <a:lnTo>
                  <a:pt x="5145" y="3874"/>
                </a:lnTo>
                <a:lnTo>
                  <a:pt x="5115" y="3821"/>
                </a:lnTo>
                <a:lnTo>
                  <a:pt x="5085" y="3767"/>
                </a:lnTo>
                <a:lnTo>
                  <a:pt x="5054" y="3714"/>
                </a:lnTo>
                <a:lnTo>
                  <a:pt x="5024" y="3661"/>
                </a:lnTo>
                <a:lnTo>
                  <a:pt x="4993" y="3608"/>
                </a:lnTo>
                <a:lnTo>
                  <a:pt x="4961" y="3554"/>
                </a:lnTo>
                <a:lnTo>
                  <a:pt x="4930" y="3502"/>
                </a:lnTo>
                <a:lnTo>
                  <a:pt x="4898" y="3449"/>
                </a:lnTo>
                <a:lnTo>
                  <a:pt x="4867" y="3397"/>
                </a:lnTo>
                <a:lnTo>
                  <a:pt x="4834" y="3344"/>
                </a:lnTo>
                <a:lnTo>
                  <a:pt x="4802" y="3291"/>
                </a:lnTo>
                <a:lnTo>
                  <a:pt x="4770" y="3239"/>
                </a:lnTo>
                <a:lnTo>
                  <a:pt x="4737" y="3187"/>
                </a:lnTo>
                <a:lnTo>
                  <a:pt x="4704" y="3134"/>
                </a:lnTo>
                <a:lnTo>
                  <a:pt x="4671" y="3083"/>
                </a:lnTo>
                <a:lnTo>
                  <a:pt x="4641" y="3036"/>
                </a:lnTo>
                <a:lnTo>
                  <a:pt x="4611" y="2990"/>
                </a:lnTo>
                <a:lnTo>
                  <a:pt x="4580" y="2943"/>
                </a:lnTo>
                <a:lnTo>
                  <a:pt x="4550" y="2897"/>
                </a:lnTo>
                <a:lnTo>
                  <a:pt x="4520" y="2850"/>
                </a:lnTo>
                <a:lnTo>
                  <a:pt x="4490" y="2805"/>
                </a:lnTo>
                <a:lnTo>
                  <a:pt x="4459" y="2758"/>
                </a:lnTo>
                <a:lnTo>
                  <a:pt x="4429" y="2712"/>
                </a:lnTo>
                <a:lnTo>
                  <a:pt x="4398" y="2667"/>
                </a:lnTo>
                <a:lnTo>
                  <a:pt x="4368" y="2622"/>
                </a:lnTo>
                <a:lnTo>
                  <a:pt x="4337" y="2577"/>
                </a:lnTo>
                <a:lnTo>
                  <a:pt x="4306" y="2532"/>
                </a:lnTo>
                <a:lnTo>
                  <a:pt x="4276" y="2488"/>
                </a:lnTo>
                <a:lnTo>
                  <a:pt x="4246" y="2444"/>
                </a:lnTo>
                <a:lnTo>
                  <a:pt x="4214" y="2400"/>
                </a:lnTo>
                <a:lnTo>
                  <a:pt x="4184" y="2356"/>
                </a:lnTo>
                <a:lnTo>
                  <a:pt x="4098" y="2233"/>
                </a:lnTo>
                <a:lnTo>
                  <a:pt x="4011" y="2111"/>
                </a:lnTo>
                <a:lnTo>
                  <a:pt x="3924" y="1993"/>
                </a:lnTo>
                <a:lnTo>
                  <a:pt x="3839" y="1877"/>
                </a:lnTo>
                <a:lnTo>
                  <a:pt x="3756" y="1764"/>
                </a:lnTo>
                <a:lnTo>
                  <a:pt x="3674" y="1655"/>
                </a:lnTo>
                <a:lnTo>
                  <a:pt x="3594" y="1549"/>
                </a:lnTo>
                <a:lnTo>
                  <a:pt x="3515" y="1446"/>
                </a:lnTo>
                <a:lnTo>
                  <a:pt x="3439" y="1348"/>
                </a:lnTo>
                <a:lnTo>
                  <a:pt x="3365" y="1253"/>
                </a:lnTo>
                <a:lnTo>
                  <a:pt x="3294" y="1163"/>
                </a:lnTo>
                <a:lnTo>
                  <a:pt x="3226" y="1076"/>
                </a:lnTo>
                <a:lnTo>
                  <a:pt x="3160" y="994"/>
                </a:lnTo>
                <a:lnTo>
                  <a:pt x="3098" y="917"/>
                </a:lnTo>
                <a:lnTo>
                  <a:pt x="3039" y="845"/>
                </a:lnTo>
                <a:lnTo>
                  <a:pt x="2984" y="777"/>
                </a:lnTo>
                <a:lnTo>
                  <a:pt x="2907" y="871"/>
                </a:lnTo>
                <a:lnTo>
                  <a:pt x="2823" y="975"/>
                </a:lnTo>
                <a:lnTo>
                  <a:pt x="2734" y="1087"/>
                </a:lnTo>
                <a:lnTo>
                  <a:pt x="2639" y="1207"/>
                </a:lnTo>
                <a:lnTo>
                  <a:pt x="2538" y="1336"/>
                </a:lnTo>
                <a:lnTo>
                  <a:pt x="2433" y="1473"/>
                </a:lnTo>
                <a:lnTo>
                  <a:pt x="2324" y="1615"/>
                </a:lnTo>
                <a:lnTo>
                  <a:pt x="2213" y="1765"/>
                </a:lnTo>
                <a:lnTo>
                  <a:pt x="2098" y="1922"/>
                </a:lnTo>
                <a:lnTo>
                  <a:pt x="1980" y="2084"/>
                </a:lnTo>
                <a:lnTo>
                  <a:pt x="1861" y="2251"/>
                </a:lnTo>
                <a:lnTo>
                  <a:pt x="1741" y="2423"/>
                </a:lnTo>
                <a:lnTo>
                  <a:pt x="1680" y="2511"/>
                </a:lnTo>
                <a:lnTo>
                  <a:pt x="1620" y="2600"/>
                </a:lnTo>
                <a:lnTo>
                  <a:pt x="1559" y="2689"/>
                </a:lnTo>
                <a:lnTo>
                  <a:pt x="1499" y="2780"/>
                </a:lnTo>
                <a:lnTo>
                  <a:pt x="1438" y="2872"/>
                </a:lnTo>
                <a:lnTo>
                  <a:pt x="1378" y="2964"/>
                </a:lnTo>
                <a:lnTo>
                  <a:pt x="1318" y="3058"/>
                </a:lnTo>
                <a:lnTo>
                  <a:pt x="1259" y="3152"/>
                </a:lnTo>
                <a:close/>
                <a:moveTo>
                  <a:pt x="10527" y="0"/>
                </a:moveTo>
                <a:lnTo>
                  <a:pt x="14641" y="12384"/>
                </a:lnTo>
                <a:lnTo>
                  <a:pt x="16128" y="12384"/>
                </a:lnTo>
                <a:lnTo>
                  <a:pt x="11076" y="0"/>
                </a:lnTo>
                <a:lnTo>
                  <a:pt x="10527" y="0"/>
                </a:lnTo>
                <a:close/>
                <a:moveTo>
                  <a:pt x="2275" y="10295"/>
                </a:moveTo>
                <a:lnTo>
                  <a:pt x="2197" y="10280"/>
                </a:lnTo>
                <a:lnTo>
                  <a:pt x="2121" y="10264"/>
                </a:lnTo>
                <a:lnTo>
                  <a:pt x="2045" y="10246"/>
                </a:lnTo>
                <a:lnTo>
                  <a:pt x="1970" y="10227"/>
                </a:lnTo>
                <a:lnTo>
                  <a:pt x="1895" y="10207"/>
                </a:lnTo>
                <a:lnTo>
                  <a:pt x="1820" y="10185"/>
                </a:lnTo>
                <a:lnTo>
                  <a:pt x="1746" y="10161"/>
                </a:lnTo>
                <a:lnTo>
                  <a:pt x="1673" y="10136"/>
                </a:lnTo>
                <a:lnTo>
                  <a:pt x="1601" y="10111"/>
                </a:lnTo>
                <a:lnTo>
                  <a:pt x="1529" y="10082"/>
                </a:lnTo>
                <a:lnTo>
                  <a:pt x="1458" y="10053"/>
                </a:lnTo>
                <a:lnTo>
                  <a:pt x="1387" y="10023"/>
                </a:lnTo>
                <a:lnTo>
                  <a:pt x="1317" y="9991"/>
                </a:lnTo>
                <a:lnTo>
                  <a:pt x="1248" y="9958"/>
                </a:lnTo>
                <a:lnTo>
                  <a:pt x="1179" y="9924"/>
                </a:lnTo>
                <a:lnTo>
                  <a:pt x="1112" y="9887"/>
                </a:lnTo>
                <a:lnTo>
                  <a:pt x="94" y="12384"/>
                </a:lnTo>
                <a:lnTo>
                  <a:pt x="1581" y="12384"/>
                </a:lnTo>
                <a:lnTo>
                  <a:pt x="2275" y="10295"/>
                </a:lnTo>
                <a:close/>
                <a:moveTo>
                  <a:pt x="6204" y="0"/>
                </a:moveTo>
                <a:lnTo>
                  <a:pt x="5457" y="2850"/>
                </a:lnTo>
                <a:lnTo>
                  <a:pt x="5524" y="2959"/>
                </a:lnTo>
                <a:lnTo>
                  <a:pt x="5590" y="3070"/>
                </a:lnTo>
                <a:lnTo>
                  <a:pt x="5656" y="3181"/>
                </a:lnTo>
                <a:lnTo>
                  <a:pt x="5720" y="3292"/>
                </a:lnTo>
                <a:lnTo>
                  <a:pt x="5785" y="3405"/>
                </a:lnTo>
                <a:lnTo>
                  <a:pt x="5847" y="3517"/>
                </a:lnTo>
                <a:lnTo>
                  <a:pt x="5909" y="3630"/>
                </a:lnTo>
                <a:lnTo>
                  <a:pt x="5969" y="3744"/>
                </a:lnTo>
                <a:lnTo>
                  <a:pt x="6028" y="3857"/>
                </a:lnTo>
                <a:lnTo>
                  <a:pt x="6085" y="3970"/>
                </a:lnTo>
                <a:lnTo>
                  <a:pt x="6142" y="4084"/>
                </a:lnTo>
                <a:lnTo>
                  <a:pt x="6196" y="4198"/>
                </a:lnTo>
                <a:lnTo>
                  <a:pt x="6249" y="4312"/>
                </a:lnTo>
                <a:lnTo>
                  <a:pt x="6299" y="4425"/>
                </a:lnTo>
                <a:lnTo>
                  <a:pt x="6348" y="4537"/>
                </a:lnTo>
                <a:lnTo>
                  <a:pt x="6395" y="4651"/>
                </a:lnTo>
                <a:lnTo>
                  <a:pt x="6440" y="4763"/>
                </a:lnTo>
                <a:lnTo>
                  <a:pt x="6482" y="4874"/>
                </a:lnTo>
                <a:lnTo>
                  <a:pt x="6523" y="4986"/>
                </a:lnTo>
                <a:lnTo>
                  <a:pt x="6560" y="5097"/>
                </a:lnTo>
                <a:lnTo>
                  <a:pt x="6596" y="5206"/>
                </a:lnTo>
                <a:lnTo>
                  <a:pt x="6629" y="5316"/>
                </a:lnTo>
                <a:lnTo>
                  <a:pt x="6659" y="5424"/>
                </a:lnTo>
                <a:lnTo>
                  <a:pt x="6686" y="5532"/>
                </a:lnTo>
                <a:lnTo>
                  <a:pt x="6711" y="5638"/>
                </a:lnTo>
                <a:lnTo>
                  <a:pt x="6732" y="5744"/>
                </a:lnTo>
                <a:lnTo>
                  <a:pt x="6751" y="5848"/>
                </a:lnTo>
                <a:lnTo>
                  <a:pt x="6767" y="5951"/>
                </a:lnTo>
                <a:lnTo>
                  <a:pt x="6779" y="6052"/>
                </a:lnTo>
                <a:lnTo>
                  <a:pt x="6787" y="6153"/>
                </a:lnTo>
                <a:lnTo>
                  <a:pt x="6793" y="6252"/>
                </a:lnTo>
                <a:lnTo>
                  <a:pt x="6794" y="6349"/>
                </a:lnTo>
                <a:lnTo>
                  <a:pt x="6793" y="6462"/>
                </a:lnTo>
                <a:lnTo>
                  <a:pt x="6790" y="6575"/>
                </a:lnTo>
                <a:lnTo>
                  <a:pt x="6784" y="6685"/>
                </a:lnTo>
                <a:lnTo>
                  <a:pt x="6776" y="6793"/>
                </a:lnTo>
                <a:lnTo>
                  <a:pt x="6766" y="6901"/>
                </a:lnTo>
                <a:lnTo>
                  <a:pt x="6754" y="7008"/>
                </a:lnTo>
                <a:lnTo>
                  <a:pt x="6738" y="7112"/>
                </a:lnTo>
                <a:lnTo>
                  <a:pt x="6722" y="7215"/>
                </a:lnTo>
                <a:lnTo>
                  <a:pt x="6703" y="7316"/>
                </a:lnTo>
                <a:lnTo>
                  <a:pt x="6682" y="7417"/>
                </a:lnTo>
                <a:lnTo>
                  <a:pt x="6659" y="7516"/>
                </a:lnTo>
                <a:lnTo>
                  <a:pt x="6635" y="7612"/>
                </a:lnTo>
                <a:lnTo>
                  <a:pt x="6607" y="7708"/>
                </a:lnTo>
                <a:lnTo>
                  <a:pt x="6578" y="7802"/>
                </a:lnTo>
                <a:lnTo>
                  <a:pt x="6547" y="7894"/>
                </a:lnTo>
                <a:lnTo>
                  <a:pt x="6515" y="7985"/>
                </a:lnTo>
                <a:lnTo>
                  <a:pt x="6479" y="8074"/>
                </a:lnTo>
                <a:lnTo>
                  <a:pt x="6443" y="8163"/>
                </a:lnTo>
                <a:lnTo>
                  <a:pt x="6405" y="8249"/>
                </a:lnTo>
                <a:lnTo>
                  <a:pt x="6365" y="8334"/>
                </a:lnTo>
                <a:lnTo>
                  <a:pt x="6322" y="8417"/>
                </a:lnTo>
                <a:lnTo>
                  <a:pt x="6279" y="8499"/>
                </a:lnTo>
                <a:lnTo>
                  <a:pt x="6232" y="8579"/>
                </a:lnTo>
                <a:lnTo>
                  <a:pt x="6185" y="8656"/>
                </a:lnTo>
                <a:lnTo>
                  <a:pt x="6137" y="8733"/>
                </a:lnTo>
                <a:lnTo>
                  <a:pt x="6086" y="8808"/>
                </a:lnTo>
                <a:lnTo>
                  <a:pt x="6034" y="8881"/>
                </a:lnTo>
                <a:lnTo>
                  <a:pt x="5979" y="8953"/>
                </a:lnTo>
                <a:lnTo>
                  <a:pt x="5924" y="9023"/>
                </a:lnTo>
                <a:lnTo>
                  <a:pt x="5868" y="9092"/>
                </a:lnTo>
                <a:lnTo>
                  <a:pt x="5809" y="9158"/>
                </a:lnTo>
                <a:lnTo>
                  <a:pt x="5749" y="9223"/>
                </a:lnTo>
                <a:lnTo>
                  <a:pt x="5693" y="9281"/>
                </a:lnTo>
                <a:lnTo>
                  <a:pt x="5637" y="9337"/>
                </a:lnTo>
                <a:lnTo>
                  <a:pt x="5578" y="9391"/>
                </a:lnTo>
                <a:lnTo>
                  <a:pt x="5520" y="9445"/>
                </a:lnTo>
                <a:lnTo>
                  <a:pt x="5459" y="9496"/>
                </a:lnTo>
                <a:lnTo>
                  <a:pt x="5398" y="9546"/>
                </a:lnTo>
                <a:lnTo>
                  <a:pt x="5336" y="9595"/>
                </a:lnTo>
                <a:lnTo>
                  <a:pt x="5273" y="9642"/>
                </a:lnTo>
                <a:lnTo>
                  <a:pt x="5208" y="9689"/>
                </a:lnTo>
                <a:lnTo>
                  <a:pt x="5144" y="9733"/>
                </a:lnTo>
                <a:lnTo>
                  <a:pt x="5077" y="9776"/>
                </a:lnTo>
                <a:lnTo>
                  <a:pt x="5010" y="9817"/>
                </a:lnTo>
                <a:lnTo>
                  <a:pt x="4942" y="9857"/>
                </a:lnTo>
                <a:lnTo>
                  <a:pt x="4873" y="9895"/>
                </a:lnTo>
                <a:lnTo>
                  <a:pt x="4803" y="9933"/>
                </a:lnTo>
                <a:lnTo>
                  <a:pt x="4733" y="9968"/>
                </a:lnTo>
                <a:lnTo>
                  <a:pt x="4661" y="10003"/>
                </a:lnTo>
                <a:lnTo>
                  <a:pt x="4588" y="10035"/>
                </a:lnTo>
                <a:lnTo>
                  <a:pt x="4515" y="10065"/>
                </a:lnTo>
                <a:lnTo>
                  <a:pt x="4440" y="10095"/>
                </a:lnTo>
                <a:lnTo>
                  <a:pt x="4366" y="10123"/>
                </a:lnTo>
                <a:lnTo>
                  <a:pt x="4290" y="10149"/>
                </a:lnTo>
                <a:lnTo>
                  <a:pt x="4213" y="10174"/>
                </a:lnTo>
                <a:lnTo>
                  <a:pt x="4137" y="10197"/>
                </a:lnTo>
                <a:lnTo>
                  <a:pt x="4059" y="10219"/>
                </a:lnTo>
                <a:lnTo>
                  <a:pt x="3981" y="10239"/>
                </a:lnTo>
                <a:lnTo>
                  <a:pt x="3901" y="10258"/>
                </a:lnTo>
                <a:lnTo>
                  <a:pt x="3821" y="10275"/>
                </a:lnTo>
                <a:lnTo>
                  <a:pt x="3741" y="10290"/>
                </a:lnTo>
                <a:lnTo>
                  <a:pt x="3660" y="10304"/>
                </a:lnTo>
                <a:lnTo>
                  <a:pt x="3578" y="10316"/>
                </a:lnTo>
                <a:lnTo>
                  <a:pt x="3497" y="10326"/>
                </a:lnTo>
                <a:lnTo>
                  <a:pt x="2956" y="12384"/>
                </a:lnTo>
                <a:lnTo>
                  <a:pt x="7325" y="12384"/>
                </a:lnTo>
                <a:lnTo>
                  <a:pt x="7365" y="11357"/>
                </a:lnTo>
                <a:lnTo>
                  <a:pt x="8856" y="11357"/>
                </a:lnTo>
                <a:lnTo>
                  <a:pt x="8898" y="12384"/>
                </a:lnTo>
                <a:lnTo>
                  <a:pt x="13265" y="12384"/>
                </a:lnTo>
                <a:lnTo>
                  <a:pt x="10018" y="0"/>
                </a:lnTo>
                <a:lnTo>
                  <a:pt x="8402" y="0"/>
                </a:lnTo>
                <a:lnTo>
                  <a:pt x="8443" y="1027"/>
                </a:lnTo>
                <a:lnTo>
                  <a:pt x="7779" y="1027"/>
                </a:lnTo>
                <a:lnTo>
                  <a:pt x="7820" y="0"/>
                </a:lnTo>
                <a:lnTo>
                  <a:pt x="6204" y="0"/>
                </a:lnTo>
                <a:close/>
                <a:moveTo>
                  <a:pt x="7717" y="2566"/>
                </a:moveTo>
                <a:lnTo>
                  <a:pt x="8504" y="2566"/>
                </a:lnTo>
                <a:lnTo>
                  <a:pt x="8619" y="5423"/>
                </a:lnTo>
                <a:lnTo>
                  <a:pt x="7603" y="5423"/>
                </a:lnTo>
                <a:lnTo>
                  <a:pt x="7717" y="2566"/>
                </a:lnTo>
                <a:close/>
                <a:moveTo>
                  <a:pt x="7427" y="9818"/>
                </a:moveTo>
                <a:lnTo>
                  <a:pt x="7542" y="6961"/>
                </a:lnTo>
                <a:lnTo>
                  <a:pt x="8680" y="6961"/>
                </a:lnTo>
                <a:lnTo>
                  <a:pt x="8795" y="9818"/>
                </a:lnTo>
                <a:lnTo>
                  <a:pt x="7427" y="9818"/>
                </a:lnTo>
                <a:close/>
                <a:moveTo>
                  <a:pt x="5146" y="0"/>
                </a:moveTo>
                <a:lnTo>
                  <a:pt x="4540" y="1486"/>
                </a:lnTo>
                <a:lnTo>
                  <a:pt x="4594" y="1562"/>
                </a:lnTo>
                <a:lnTo>
                  <a:pt x="4650" y="1639"/>
                </a:lnTo>
                <a:lnTo>
                  <a:pt x="4706" y="1718"/>
                </a:lnTo>
                <a:lnTo>
                  <a:pt x="4763" y="1797"/>
                </a:lnTo>
                <a:lnTo>
                  <a:pt x="4819" y="1878"/>
                </a:lnTo>
                <a:lnTo>
                  <a:pt x="4876" y="1959"/>
                </a:lnTo>
                <a:lnTo>
                  <a:pt x="4932" y="2042"/>
                </a:lnTo>
                <a:lnTo>
                  <a:pt x="4990" y="2126"/>
                </a:lnTo>
                <a:lnTo>
                  <a:pt x="5695" y="0"/>
                </a:lnTo>
                <a:lnTo>
                  <a:pt x="5146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9" name="Прямоугольник 28"/>
          <p:cNvSpPr/>
          <p:nvPr>
            <p:custDataLst>
              <p:tags r:id="rId12"/>
            </p:custDataLst>
          </p:nvPr>
        </p:nvSpPr>
        <p:spPr>
          <a:xfrm>
            <a:off x="899592" y="1052736"/>
            <a:ext cx="356445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sz="1400" b="1" dirty="0">
                <a:solidFill>
                  <a:schemeClr val="tx2"/>
                </a:solidFill>
              </a:rPr>
              <a:t>Разработка, производство </a:t>
            </a:r>
            <a:r>
              <a:rPr lang="ru-RU" sz="1400" b="1" dirty="0" smtClean="0">
                <a:solidFill>
                  <a:schemeClr val="tx2"/>
                </a:solidFill>
              </a:rPr>
              <a:t>                        и </a:t>
            </a:r>
            <a:r>
              <a:rPr lang="ru-RU" sz="1400" b="1" dirty="0">
                <a:solidFill>
                  <a:schemeClr val="tx2"/>
                </a:solidFill>
              </a:rPr>
              <a:t>применение современных битумных материалов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287524" y="1674910"/>
            <a:ext cx="2016224" cy="2006118"/>
          </a:xfrm>
          <a:prstGeom prst="rect">
            <a:avLst/>
          </a:prstGeom>
          <a:solidFill>
            <a:schemeClr val="accent1">
              <a:alpha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Разработка передовых битумных материалов отвечающих условиям эксплуатации</a:t>
            </a:r>
          </a:p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Обеспечение качества современных битумных                      материалов</a:t>
            </a:r>
            <a:endParaRPr lang="ru-RU" sz="1200" b="1" dirty="0">
              <a:solidFill>
                <a:schemeClr val="bg1"/>
              </a:solidFill>
            </a:endParaRPr>
          </a:p>
        </p:txBody>
      </p:sp>
      <p:pic>
        <p:nvPicPr>
          <p:cNvPr id="32775" name="Picture 7" descr="\\gazprom-neft.local\dfs\Газпром нефть\Папки пользователей\Личные папки\Biryulin.DL\My Documents\My Pictures\Новая папка\_GOL2421.JPG"/>
          <p:cNvPicPr>
            <a:picLocks noGrp="1" noChangeAspect="1" noChangeArrowheads="1"/>
          </p:cNvPicPr>
          <p:nvPr>
            <p:ph sz="quarter" idx="18"/>
          </p:nvPr>
        </p:nvPicPr>
        <p:blipFill rotWithShape="1">
          <a:blip r:embed="rId21" cstate="print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9064" b="9798"/>
          <a:stretch/>
        </p:blipFill>
        <p:spPr bwMode="auto">
          <a:xfrm>
            <a:off x="287524" y="4329100"/>
            <a:ext cx="4176526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gost"/>
          <p:cNvSpPr>
            <a:spLocks noEditPoints="1"/>
          </p:cNvSpPr>
          <p:nvPr>
            <p:custDataLst>
              <p:tags r:id="rId13"/>
            </p:custDataLst>
          </p:nvPr>
        </p:nvSpPr>
        <p:spPr bwMode="auto">
          <a:xfrm>
            <a:off x="286631" y="3871206"/>
            <a:ext cx="577850" cy="323850"/>
          </a:xfrm>
          <a:custGeom>
            <a:avLst/>
            <a:gdLst>
              <a:gd name="T0" fmla="*/ 13459 w 16016"/>
              <a:gd name="T1" fmla="*/ 2788 h 8976"/>
              <a:gd name="T2" fmla="*/ 6702 w 16016"/>
              <a:gd name="T3" fmla="*/ 3359 h 8976"/>
              <a:gd name="T4" fmla="*/ 6490 w 16016"/>
              <a:gd name="T5" fmla="*/ 2962 h 8976"/>
              <a:gd name="T6" fmla="*/ 6186 w 16016"/>
              <a:gd name="T7" fmla="*/ 2806 h 8976"/>
              <a:gd name="T8" fmla="*/ 5860 w 16016"/>
              <a:gd name="T9" fmla="*/ 2813 h 8976"/>
              <a:gd name="T10" fmla="*/ 5536 w 16016"/>
              <a:gd name="T11" fmla="*/ 2997 h 8976"/>
              <a:gd name="T12" fmla="*/ 5362 w 16016"/>
              <a:gd name="T13" fmla="*/ 3345 h 8976"/>
              <a:gd name="T14" fmla="*/ 5380 w 16016"/>
              <a:gd name="T15" fmla="*/ 5656 h 8976"/>
              <a:gd name="T16" fmla="*/ 5566 w 16016"/>
              <a:gd name="T17" fmla="*/ 6027 h 8976"/>
              <a:gd name="T18" fmla="*/ 5778 w 16016"/>
              <a:gd name="T19" fmla="*/ 6156 h 8976"/>
              <a:gd name="T20" fmla="*/ 6151 w 16016"/>
              <a:gd name="T21" fmla="*/ 6189 h 8976"/>
              <a:gd name="T22" fmla="*/ 6546 w 16016"/>
              <a:gd name="T23" fmla="*/ 5987 h 8976"/>
              <a:gd name="T24" fmla="*/ 6719 w 16016"/>
              <a:gd name="T25" fmla="*/ 5545 h 8976"/>
              <a:gd name="T26" fmla="*/ 7474 w 16016"/>
              <a:gd name="T27" fmla="*/ 5883 h 8976"/>
              <a:gd name="T28" fmla="*/ 7268 w 16016"/>
              <a:gd name="T29" fmla="*/ 6351 h 8976"/>
              <a:gd name="T30" fmla="*/ 6925 w 16016"/>
              <a:gd name="T31" fmla="*/ 6695 h 8976"/>
              <a:gd name="T32" fmla="*/ 6467 w 16016"/>
              <a:gd name="T33" fmla="*/ 6898 h 8976"/>
              <a:gd name="T34" fmla="*/ 5900 w 16016"/>
              <a:gd name="T35" fmla="*/ 6942 h 8976"/>
              <a:gd name="T36" fmla="*/ 5329 w 16016"/>
              <a:gd name="T37" fmla="*/ 6801 h 8976"/>
              <a:gd name="T38" fmla="*/ 4924 w 16016"/>
              <a:gd name="T39" fmla="*/ 6497 h 8976"/>
              <a:gd name="T40" fmla="*/ 4676 w 16016"/>
              <a:gd name="T41" fmla="*/ 6068 h 8976"/>
              <a:gd name="T42" fmla="*/ 4566 w 16016"/>
              <a:gd name="T43" fmla="*/ 5551 h 8976"/>
              <a:gd name="T44" fmla="*/ 4578 w 16016"/>
              <a:gd name="T45" fmla="*/ 3265 h 8976"/>
              <a:gd name="T46" fmla="*/ 4712 w 16016"/>
              <a:gd name="T47" fmla="*/ 2812 h 8976"/>
              <a:gd name="T48" fmla="*/ 4990 w 16016"/>
              <a:gd name="T49" fmla="*/ 2420 h 8976"/>
              <a:gd name="T50" fmla="*/ 5425 w 16016"/>
              <a:gd name="T51" fmla="*/ 2136 h 8976"/>
              <a:gd name="T52" fmla="*/ 6045 w 16016"/>
              <a:gd name="T53" fmla="*/ 2029 h 8976"/>
              <a:gd name="T54" fmla="*/ 6634 w 16016"/>
              <a:gd name="T55" fmla="*/ 2131 h 8976"/>
              <a:gd name="T56" fmla="*/ 7069 w 16016"/>
              <a:gd name="T57" fmla="*/ 2405 h 8976"/>
              <a:gd name="T58" fmla="*/ 7359 w 16016"/>
              <a:gd name="T59" fmla="*/ 2793 h 8976"/>
              <a:gd name="T60" fmla="*/ 7503 w 16016"/>
              <a:gd name="T61" fmla="*/ 3254 h 8976"/>
              <a:gd name="T62" fmla="*/ 11202 w 16016"/>
              <a:gd name="T63" fmla="*/ 5999 h 8976"/>
              <a:gd name="T64" fmla="*/ 11020 w 16016"/>
              <a:gd name="T65" fmla="*/ 6376 h 8976"/>
              <a:gd name="T66" fmla="*/ 10736 w 16016"/>
              <a:gd name="T67" fmla="*/ 6665 h 8976"/>
              <a:gd name="T68" fmla="*/ 10370 w 16016"/>
              <a:gd name="T69" fmla="*/ 6857 h 8976"/>
              <a:gd name="T70" fmla="*/ 9944 w 16016"/>
              <a:gd name="T71" fmla="*/ 6942 h 8976"/>
              <a:gd name="T72" fmla="*/ 9380 w 16016"/>
              <a:gd name="T73" fmla="*/ 6901 h 8976"/>
              <a:gd name="T74" fmla="*/ 8903 w 16016"/>
              <a:gd name="T75" fmla="*/ 6687 h 8976"/>
              <a:gd name="T76" fmla="*/ 8566 w 16016"/>
              <a:gd name="T77" fmla="*/ 6335 h 8976"/>
              <a:gd name="T78" fmla="*/ 8375 w 16016"/>
              <a:gd name="T79" fmla="*/ 5868 h 8976"/>
              <a:gd name="T80" fmla="*/ 8324 w 16016"/>
              <a:gd name="T81" fmla="*/ 3489 h 8976"/>
              <a:gd name="T82" fmla="*/ 8403 w 16016"/>
              <a:gd name="T83" fmla="*/ 3002 h 8976"/>
              <a:gd name="T84" fmla="*/ 8624 w 16016"/>
              <a:gd name="T85" fmla="*/ 2569 h 8976"/>
              <a:gd name="T86" fmla="*/ 8987 w 16016"/>
              <a:gd name="T87" fmla="*/ 2241 h 8976"/>
              <a:gd name="T88" fmla="*/ 9496 w 16016"/>
              <a:gd name="T89" fmla="*/ 2053 h 8976"/>
              <a:gd name="T90" fmla="*/ 10056 w 16016"/>
              <a:gd name="T91" fmla="*/ 2044 h 8976"/>
              <a:gd name="T92" fmla="*/ 10483 w 16016"/>
              <a:gd name="T93" fmla="*/ 2162 h 8976"/>
              <a:gd name="T94" fmla="*/ 10827 w 16016"/>
              <a:gd name="T95" fmla="*/ 2394 h 8976"/>
              <a:gd name="T96" fmla="*/ 11078 w 16016"/>
              <a:gd name="T97" fmla="*/ 2704 h 8976"/>
              <a:gd name="T98" fmla="*/ 11235 w 16016"/>
              <a:gd name="T99" fmla="*/ 3072 h 8976"/>
              <a:gd name="T100" fmla="*/ 10358 w 16016"/>
              <a:gd name="T101" fmla="*/ 3056 h 8976"/>
              <a:gd name="T102" fmla="*/ 10021 w 16016"/>
              <a:gd name="T103" fmla="*/ 2822 h 8976"/>
              <a:gd name="T104" fmla="*/ 9644 w 16016"/>
              <a:gd name="T105" fmla="*/ 2811 h 8976"/>
              <a:gd name="T106" fmla="*/ 9334 w 16016"/>
              <a:gd name="T107" fmla="*/ 2973 h 8976"/>
              <a:gd name="T108" fmla="*/ 9134 w 16016"/>
              <a:gd name="T109" fmla="*/ 3372 h 8976"/>
              <a:gd name="T110" fmla="*/ 9176 w 16016"/>
              <a:gd name="T111" fmla="*/ 5750 h 8976"/>
              <a:gd name="T112" fmla="*/ 9477 w 16016"/>
              <a:gd name="T113" fmla="*/ 6107 h 8976"/>
              <a:gd name="T114" fmla="*/ 9769 w 16016"/>
              <a:gd name="T115" fmla="*/ 6180 h 8976"/>
              <a:gd name="T116" fmla="*/ 10179 w 16016"/>
              <a:gd name="T117" fmla="*/ 6085 h 8976"/>
              <a:gd name="T118" fmla="*/ 10435 w 16016"/>
              <a:gd name="T119" fmla="*/ 5782 h 8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016" h="8976">
                <a:moveTo>
                  <a:pt x="0" y="0"/>
                </a:moveTo>
                <a:lnTo>
                  <a:pt x="16016" y="0"/>
                </a:lnTo>
                <a:lnTo>
                  <a:pt x="16016" y="8976"/>
                </a:lnTo>
                <a:lnTo>
                  <a:pt x="0" y="8976"/>
                </a:lnTo>
                <a:lnTo>
                  <a:pt x="0" y="0"/>
                </a:lnTo>
                <a:close/>
                <a:moveTo>
                  <a:pt x="13459" y="2788"/>
                </a:moveTo>
                <a:lnTo>
                  <a:pt x="13459" y="6905"/>
                </a:lnTo>
                <a:lnTo>
                  <a:pt x="12668" y="6905"/>
                </a:lnTo>
                <a:lnTo>
                  <a:pt x="12668" y="2788"/>
                </a:lnTo>
                <a:lnTo>
                  <a:pt x="11605" y="2788"/>
                </a:lnTo>
                <a:lnTo>
                  <a:pt x="11605" y="2064"/>
                </a:lnTo>
                <a:lnTo>
                  <a:pt x="14531" y="2064"/>
                </a:lnTo>
                <a:lnTo>
                  <a:pt x="14531" y="2788"/>
                </a:lnTo>
                <a:lnTo>
                  <a:pt x="13459" y="2788"/>
                </a:lnTo>
                <a:close/>
                <a:moveTo>
                  <a:pt x="2437" y="2802"/>
                </a:moveTo>
                <a:lnTo>
                  <a:pt x="2437" y="6905"/>
                </a:lnTo>
                <a:lnTo>
                  <a:pt x="1646" y="6905"/>
                </a:lnTo>
                <a:lnTo>
                  <a:pt x="1646" y="2064"/>
                </a:lnTo>
                <a:lnTo>
                  <a:pt x="4307" y="2064"/>
                </a:lnTo>
                <a:lnTo>
                  <a:pt x="4307" y="2802"/>
                </a:lnTo>
                <a:lnTo>
                  <a:pt x="2437" y="2802"/>
                </a:lnTo>
                <a:close/>
                <a:moveTo>
                  <a:pt x="6719" y="3512"/>
                </a:moveTo>
                <a:lnTo>
                  <a:pt x="6719" y="3489"/>
                </a:lnTo>
                <a:lnTo>
                  <a:pt x="6717" y="3465"/>
                </a:lnTo>
                <a:lnTo>
                  <a:pt x="6715" y="3440"/>
                </a:lnTo>
                <a:lnTo>
                  <a:pt x="6712" y="3414"/>
                </a:lnTo>
                <a:lnTo>
                  <a:pt x="6707" y="3387"/>
                </a:lnTo>
                <a:lnTo>
                  <a:pt x="6702" y="3359"/>
                </a:lnTo>
                <a:lnTo>
                  <a:pt x="6696" y="3330"/>
                </a:lnTo>
                <a:lnTo>
                  <a:pt x="6688" y="3301"/>
                </a:lnTo>
                <a:lnTo>
                  <a:pt x="6680" y="3269"/>
                </a:lnTo>
                <a:lnTo>
                  <a:pt x="6670" y="3239"/>
                </a:lnTo>
                <a:lnTo>
                  <a:pt x="6659" y="3210"/>
                </a:lnTo>
                <a:lnTo>
                  <a:pt x="6646" y="3180"/>
                </a:lnTo>
                <a:lnTo>
                  <a:pt x="6632" y="3151"/>
                </a:lnTo>
                <a:lnTo>
                  <a:pt x="6616" y="3122"/>
                </a:lnTo>
                <a:lnTo>
                  <a:pt x="6599" y="3094"/>
                </a:lnTo>
                <a:lnTo>
                  <a:pt x="6581" y="3066"/>
                </a:lnTo>
                <a:lnTo>
                  <a:pt x="6561" y="3038"/>
                </a:lnTo>
                <a:lnTo>
                  <a:pt x="6539" y="3012"/>
                </a:lnTo>
                <a:lnTo>
                  <a:pt x="6516" y="2987"/>
                </a:lnTo>
                <a:lnTo>
                  <a:pt x="6490" y="2962"/>
                </a:lnTo>
                <a:lnTo>
                  <a:pt x="6464" y="2939"/>
                </a:lnTo>
                <a:lnTo>
                  <a:pt x="6436" y="2917"/>
                </a:lnTo>
                <a:lnTo>
                  <a:pt x="6406" y="2895"/>
                </a:lnTo>
                <a:lnTo>
                  <a:pt x="6375" y="2875"/>
                </a:lnTo>
                <a:lnTo>
                  <a:pt x="6358" y="2865"/>
                </a:lnTo>
                <a:lnTo>
                  <a:pt x="6341" y="2856"/>
                </a:lnTo>
                <a:lnTo>
                  <a:pt x="6324" y="2848"/>
                </a:lnTo>
                <a:lnTo>
                  <a:pt x="6306" y="2840"/>
                </a:lnTo>
                <a:lnTo>
                  <a:pt x="6287" y="2833"/>
                </a:lnTo>
                <a:lnTo>
                  <a:pt x="6268" y="2826"/>
                </a:lnTo>
                <a:lnTo>
                  <a:pt x="6248" y="2820"/>
                </a:lnTo>
                <a:lnTo>
                  <a:pt x="6228" y="2815"/>
                </a:lnTo>
                <a:lnTo>
                  <a:pt x="6207" y="2810"/>
                </a:lnTo>
                <a:lnTo>
                  <a:pt x="6186" y="2806"/>
                </a:lnTo>
                <a:lnTo>
                  <a:pt x="6164" y="2803"/>
                </a:lnTo>
                <a:lnTo>
                  <a:pt x="6141" y="2800"/>
                </a:lnTo>
                <a:lnTo>
                  <a:pt x="6118" y="2798"/>
                </a:lnTo>
                <a:lnTo>
                  <a:pt x="6094" y="2796"/>
                </a:lnTo>
                <a:lnTo>
                  <a:pt x="6070" y="2795"/>
                </a:lnTo>
                <a:lnTo>
                  <a:pt x="6045" y="2795"/>
                </a:lnTo>
                <a:lnTo>
                  <a:pt x="6020" y="2795"/>
                </a:lnTo>
                <a:lnTo>
                  <a:pt x="5996" y="2796"/>
                </a:lnTo>
                <a:lnTo>
                  <a:pt x="5972" y="2797"/>
                </a:lnTo>
                <a:lnTo>
                  <a:pt x="5948" y="2799"/>
                </a:lnTo>
                <a:lnTo>
                  <a:pt x="5926" y="2802"/>
                </a:lnTo>
                <a:lnTo>
                  <a:pt x="5903" y="2805"/>
                </a:lnTo>
                <a:lnTo>
                  <a:pt x="5881" y="2809"/>
                </a:lnTo>
                <a:lnTo>
                  <a:pt x="5860" y="2813"/>
                </a:lnTo>
                <a:lnTo>
                  <a:pt x="5839" y="2818"/>
                </a:lnTo>
                <a:lnTo>
                  <a:pt x="5819" y="2823"/>
                </a:lnTo>
                <a:lnTo>
                  <a:pt x="5799" y="2829"/>
                </a:lnTo>
                <a:lnTo>
                  <a:pt x="5780" y="2836"/>
                </a:lnTo>
                <a:lnTo>
                  <a:pt x="5761" y="2843"/>
                </a:lnTo>
                <a:lnTo>
                  <a:pt x="5743" y="2851"/>
                </a:lnTo>
                <a:lnTo>
                  <a:pt x="5725" y="2859"/>
                </a:lnTo>
                <a:lnTo>
                  <a:pt x="5708" y="2868"/>
                </a:lnTo>
                <a:lnTo>
                  <a:pt x="5675" y="2887"/>
                </a:lnTo>
                <a:lnTo>
                  <a:pt x="5644" y="2906"/>
                </a:lnTo>
                <a:lnTo>
                  <a:pt x="5615" y="2927"/>
                </a:lnTo>
                <a:lnTo>
                  <a:pt x="5587" y="2949"/>
                </a:lnTo>
                <a:lnTo>
                  <a:pt x="5561" y="2973"/>
                </a:lnTo>
                <a:lnTo>
                  <a:pt x="5536" y="2997"/>
                </a:lnTo>
                <a:lnTo>
                  <a:pt x="5525" y="3009"/>
                </a:lnTo>
                <a:lnTo>
                  <a:pt x="5514" y="3022"/>
                </a:lnTo>
                <a:lnTo>
                  <a:pt x="5502" y="3035"/>
                </a:lnTo>
                <a:lnTo>
                  <a:pt x="5492" y="3048"/>
                </a:lnTo>
                <a:lnTo>
                  <a:pt x="5473" y="3076"/>
                </a:lnTo>
                <a:lnTo>
                  <a:pt x="5455" y="3104"/>
                </a:lnTo>
                <a:lnTo>
                  <a:pt x="5438" y="3132"/>
                </a:lnTo>
                <a:lnTo>
                  <a:pt x="5423" y="3161"/>
                </a:lnTo>
                <a:lnTo>
                  <a:pt x="5410" y="3191"/>
                </a:lnTo>
                <a:lnTo>
                  <a:pt x="5398" y="3221"/>
                </a:lnTo>
                <a:lnTo>
                  <a:pt x="5387" y="3251"/>
                </a:lnTo>
                <a:lnTo>
                  <a:pt x="5378" y="3282"/>
                </a:lnTo>
                <a:lnTo>
                  <a:pt x="5369" y="3314"/>
                </a:lnTo>
                <a:lnTo>
                  <a:pt x="5362" y="3345"/>
                </a:lnTo>
                <a:lnTo>
                  <a:pt x="5356" y="3375"/>
                </a:lnTo>
                <a:lnTo>
                  <a:pt x="5351" y="3405"/>
                </a:lnTo>
                <a:lnTo>
                  <a:pt x="5348" y="3434"/>
                </a:lnTo>
                <a:lnTo>
                  <a:pt x="5345" y="3463"/>
                </a:lnTo>
                <a:lnTo>
                  <a:pt x="5343" y="3491"/>
                </a:lnTo>
                <a:lnTo>
                  <a:pt x="5343" y="3519"/>
                </a:lnTo>
                <a:lnTo>
                  <a:pt x="5350" y="5374"/>
                </a:lnTo>
                <a:lnTo>
                  <a:pt x="5350" y="5417"/>
                </a:lnTo>
                <a:lnTo>
                  <a:pt x="5352" y="5459"/>
                </a:lnTo>
                <a:lnTo>
                  <a:pt x="5355" y="5500"/>
                </a:lnTo>
                <a:lnTo>
                  <a:pt x="5360" y="5540"/>
                </a:lnTo>
                <a:lnTo>
                  <a:pt x="5365" y="5580"/>
                </a:lnTo>
                <a:lnTo>
                  <a:pt x="5372" y="5618"/>
                </a:lnTo>
                <a:lnTo>
                  <a:pt x="5380" y="5656"/>
                </a:lnTo>
                <a:lnTo>
                  <a:pt x="5390" y="5694"/>
                </a:lnTo>
                <a:lnTo>
                  <a:pt x="5400" y="5730"/>
                </a:lnTo>
                <a:lnTo>
                  <a:pt x="5412" y="5765"/>
                </a:lnTo>
                <a:lnTo>
                  <a:pt x="5425" y="5800"/>
                </a:lnTo>
                <a:lnTo>
                  <a:pt x="5440" y="5833"/>
                </a:lnTo>
                <a:lnTo>
                  <a:pt x="5455" y="5866"/>
                </a:lnTo>
                <a:lnTo>
                  <a:pt x="5472" y="5898"/>
                </a:lnTo>
                <a:lnTo>
                  <a:pt x="5490" y="5929"/>
                </a:lnTo>
                <a:lnTo>
                  <a:pt x="5510" y="5959"/>
                </a:lnTo>
                <a:lnTo>
                  <a:pt x="5521" y="5974"/>
                </a:lnTo>
                <a:lnTo>
                  <a:pt x="5531" y="5988"/>
                </a:lnTo>
                <a:lnTo>
                  <a:pt x="5542" y="6001"/>
                </a:lnTo>
                <a:lnTo>
                  <a:pt x="5554" y="6014"/>
                </a:lnTo>
                <a:lnTo>
                  <a:pt x="5566" y="6027"/>
                </a:lnTo>
                <a:lnTo>
                  <a:pt x="5578" y="6039"/>
                </a:lnTo>
                <a:lnTo>
                  <a:pt x="5591" y="6051"/>
                </a:lnTo>
                <a:lnTo>
                  <a:pt x="5604" y="6062"/>
                </a:lnTo>
                <a:lnTo>
                  <a:pt x="5618" y="6073"/>
                </a:lnTo>
                <a:lnTo>
                  <a:pt x="5632" y="6084"/>
                </a:lnTo>
                <a:lnTo>
                  <a:pt x="5646" y="6093"/>
                </a:lnTo>
                <a:lnTo>
                  <a:pt x="5661" y="6103"/>
                </a:lnTo>
                <a:lnTo>
                  <a:pt x="5677" y="6112"/>
                </a:lnTo>
                <a:lnTo>
                  <a:pt x="5693" y="6120"/>
                </a:lnTo>
                <a:lnTo>
                  <a:pt x="5709" y="6128"/>
                </a:lnTo>
                <a:lnTo>
                  <a:pt x="5726" y="6136"/>
                </a:lnTo>
                <a:lnTo>
                  <a:pt x="5743" y="6143"/>
                </a:lnTo>
                <a:lnTo>
                  <a:pt x="5760" y="6150"/>
                </a:lnTo>
                <a:lnTo>
                  <a:pt x="5778" y="6156"/>
                </a:lnTo>
                <a:lnTo>
                  <a:pt x="5797" y="6162"/>
                </a:lnTo>
                <a:lnTo>
                  <a:pt x="5816" y="6167"/>
                </a:lnTo>
                <a:lnTo>
                  <a:pt x="5835" y="6172"/>
                </a:lnTo>
                <a:lnTo>
                  <a:pt x="5855" y="6176"/>
                </a:lnTo>
                <a:lnTo>
                  <a:pt x="5875" y="6180"/>
                </a:lnTo>
                <a:lnTo>
                  <a:pt x="5895" y="6184"/>
                </a:lnTo>
                <a:lnTo>
                  <a:pt x="5917" y="6187"/>
                </a:lnTo>
                <a:lnTo>
                  <a:pt x="5938" y="6189"/>
                </a:lnTo>
                <a:lnTo>
                  <a:pt x="5960" y="6191"/>
                </a:lnTo>
                <a:lnTo>
                  <a:pt x="6005" y="6194"/>
                </a:lnTo>
                <a:lnTo>
                  <a:pt x="6052" y="6195"/>
                </a:lnTo>
                <a:lnTo>
                  <a:pt x="6085" y="6194"/>
                </a:lnTo>
                <a:lnTo>
                  <a:pt x="6118" y="6192"/>
                </a:lnTo>
                <a:lnTo>
                  <a:pt x="6151" y="6189"/>
                </a:lnTo>
                <a:lnTo>
                  <a:pt x="6183" y="6184"/>
                </a:lnTo>
                <a:lnTo>
                  <a:pt x="6214" y="6177"/>
                </a:lnTo>
                <a:lnTo>
                  <a:pt x="6245" y="6169"/>
                </a:lnTo>
                <a:lnTo>
                  <a:pt x="6275" y="6160"/>
                </a:lnTo>
                <a:lnTo>
                  <a:pt x="6304" y="6149"/>
                </a:lnTo>
                <a:lnTo>
                  <a:pt x="6334" y="6137"/>
                </a:lnTo>
                <a:lnTo>
                  <a:pt x="6362" y="6123"/>
                </a:lnTo>
                <a:lnTo>
                  <a:pt x="6390" y="6108"/>
                </a:lnTo>
                <a:lnTo>
                  <a:pt x="6417" y="6092"/>
                </a:lnTo>
                <a:lnTo>
                  <a:pt x="6444" y="6074"/>
                </a:lnTo>
                <a:lnTo>
                  <a:pt x="6470" y="6054"/>
                </a:lnTo>
                <a:lnTo>
                  <a:pt x="6496" y="6033"/>
                </a:lnTo>
                <a:lnTo>
                  <a:pt x="6522" y="6011"/>
                </a:lnTo>
                <a:lnTo>
                  <a:pt x="6546" y="5987"/>
                </a:lnTo>
                <a:lnTo>
                  <a:pt x="6568" y="5963"/>
                </a:lnTo>
                <a:lnTo>
                  <a:pt x="6589" y="5937"/>
                </a:lnTo>
                <a:lnTo>
                  <a:pt x="6608" y="5910"/>
                </a:lnTo>
                <a:lnTo>
                  <a:pt x="6626" y="5882"/>
                </a:lnTo>
                <a:lnTo>
                  <a:pt x="6642" y="5853"/>
                </a:lnTo>
                <a:lnTo>
                  <a:pt x="6657" y="5823"/>
                </a:lnTo>
                <a:lnTo>
                  <a:pt x="6670" y="5792"/>
                </a:lnTo>
                <a:lnTo>
                  <a:pt x="6682" y="5760"/>
                </a:lnTo>
                <a:lnTo>
                  <a:pt x="6692" y="5727"/>
                </a:lnTo>
                <a:lnTo>
                  <a:pt x="6700" y="5693"/>
                </a:lnTo>
                <a:lnTo>
                  <a:pt x="6707" y="5657"/>
                </a:lnTo>
                <a:lnTo>
                  <a:pt x="6712" y="5621"/>
                </a:lnTo>
                <a:lnTo>
                  <a:pt x="6716" y="5583"/>
                </a:lnTo>
                <a:lnTo>
                  <a:pt x="6719" y="5545"/>
                </a:lnTo>
                <a:lnTo>
                  <a:pt x="6719" y="5506"/>
                </a:lnTo>
                <a:lnTo>
                  <a:pt x="6719" y="3512"/>
                </a:lnTo>
                <a:close/>
                <a:moveTo>
                  <a:pt x="7526" y="5437"/>
                </a:moveTo>
                <a:lnTo>
                  <a:pt x="7526" y="5480"/>
                </a:lnTo>
                <a:lnTo>
                  <a:pt x="7524" y="5523"/>
                </a:lnTo>
                <a:lnTo>
                  <a:pt x="7522" y="5565"/>
                </a:lnTo>
                <a:lnTo>
                  <a:pt x="7519" y="5606"/>
                </a:lnTo>
                <a:lnTo>
                  <a:pt x="7515" y="5647"/>
                </a:lnTo>
                <a:lnTo>
                  <a:pt x="7511" y="5689"/>
                </a:lnTo>
                <a:lnTo>
                  <a:pt x="7504" y="5729"/>
                </a:lnTo>
                <a:lnTo>
                  <a:pt x="7498" y="5768"/>
                </a:lnTo>
                <a:lnTo>
                  <a:pt x="7491" y="5807"/>
                </a:lnTo>
                <a:lnTo>
                  <a:pt x="7483" y="5845"/>
                </a:lnTo>
                <a:lnTo>
                  <a:pt x="7474" y="5883"/>
                </a:lnTo>
                <a:lnTo>
                  <a:pt x="7464" y="5920"/>
                </a:lnTo>
                <a:lnTo>
                  <a:pt x="7454" y="5957"/>
                </a:lnTo>
                <a:lnTo>
                  <a:pt x="7443" y="5993"/>
                </a:lnTo>
                <a:lnTo>
                  <a:pt x="7430" y="6028"/>
                </a:lnTo>
                <a:lnTo>
                  <a:pt x="7417" y="6063"/>
                </a:lnTo>
                <a:lnTo>
                  <a:pt x="7403" y="6098"/>
                </a:lnTo>
                <a:lnTo>
                  <a:pt x="7389" y="6131"/>
                </a:lnTo>
                <a:lnTo>
                  <a:pt x="7374" y="6165"/>
                </a:lnTo>
                <a:lnTo>
                  <a:pt x="7358" y="6197"/>
                </a:lnTo>
                <a:lnTo>
                  <a:pt x="7341" y="6229"/>
                </a:lnTo>
                <a:lnTo>
                  <a:pt x="7324" y="6260"/>
                </a:lnTo>
                <a:lnTo>
                  <a:pt x="7306" y="6292"/>
                </a:lnTo>
                <a:lnTo>
                  <a:pt x="7287" y="6322"/>
                </a:lnTo>
                <a:lnTo>
                  <a:pt x="7268" y="6351"/>
                </a:lnTo>
                <a:lnTo>
                  <a:pt x="7247" y="6380"/>
                </a:lnTo>
                <a:lnTo>
                  <a:pt x="7227" y="6408"/>
                </a:lnTo>
                <a:lnTo>
                  <a:pt x="7205" y="6436"/>
                </a:lnTo>
                <a:lnTo>
                  <a:pt x="7183" y="6463"/>
                </a:lnTo>
                <a:lnTo>
                  <a:pt x="7160" y="6489"/>
                </a:lnTo>
                <a:lnTo>
                  <a:pt x="7136" y="6515"/>
                </a:lnTo>
                <a:lnTo>
                  <a:pt x="7112" y="6540"/>
                </a:lnTo>
                <a:lnTo>
                  <a:pt x="7087" y="6564"/>
                </a:lnTo>
                <a:lnTo>
                  <a:pt x="7061" y="6588"/>
                </a:lnTo>
                <a:lnTo>
                  <a:pt x="7035" y="6611"/>
                </a:lnTo>
                <a:lnTo>
                  <a:pt x="7008" y="6633"/>
                </a:lnTo>
                <a:lnTo>
                  <a:pt x="6981" y="6654"/>
                </a:lnTo>
                <a:lnTo>
                  <a:pt x="6953" y="6675"/>
                </a:lnTo>
                <a:lnTo>
                  <a:pt x="6925" y="6695"/>
                </a:lnTo>
                <a:lnTo>
                  <a:pt x="6896" y="6714"/>
                </a:lnTo>
                <a:lnTo>
                  <a:pt x="6866" y="6733"/>
                </a:lnTo>
                <a:lnTo>
                  <a:pt x="6836" y="6751"/>
                </a:lnTo>
                <a:lnTo>
                  <a:pt x="6805" y="6768"/>
                </a:lnTo>
                <a:lnTo>
                  <a:pt x="6774" y="6784"/>
                </a:lnTo>
                <a:lnTo>
                  <a:pt x="6742" y="6799"/>
                </a:lnTo>
                <a:lnTo>
                  <a:pt x="6710" y="6814"/>
                </a:lnTo>
                <a:lnTo>
                  <a:pt x="6677" y="6828"/>
                </a:lnTo>
                <a:lnTo>
                  <a:pt x="6643" y="6842"/>
                </a:lnTo>
                <a:lnTo>
                  <a:pt x="6609" y="6854"/>
                </a:lnTo>
                <a:lnTo>
                  <a:pt x="6575" y="6866"/>
                </a:lnTo>
                <a:lnTo>
                  <a:pt x="6540" y="6877"/>
                </a:lnTo>
                <a:lnTo>
                  <a:pt x="6503" y="6888"/>
                </a:lnTo>
                <a:lnTo>
                  <a:pt x="6467" y="6898"/>
                </a:lnTo>
                <a:lnTo>
                  <a:pt x="6431" y="6906"/>
                </a:lnTo>
                <a:lnTo>
                  <a:pt x="6395" y="6914"/>
                </a:lnTo>
                <a:lnTo>
                  <a:pt x="6357" y="6921"/>
                </a:lnTo>
                <a:lnTo>
                  <a:pt x="6320" y="6927"/>
                </a:lnTo>
                <a:lnTo>
                  <a:pt x="6282" y="6932"/>
                </a:lnTo>
                <a:lnTo>
                  <a:pt x="6244" y="6937"/>
                </a:lnTo>
                <a:lnTo>
                  <a:pt x="6205" y="6940"/>
                </a:lnTo>
                <a:lnTo>
                  <a:pt x="6165" y="6943"/>
                </a:lnTo>
                <a:lnTo>
                  <a:pt x="6126" y="6945"/>
                </a:lnTo>
                <a:lnTo>
                  <a:pt x="6086" y="6946"/>
                </a:lnTo>
                <a:lnTo>
                  <a:pt x="6045" y="6947"/>
                </a:lnTo>
                <a:lnTo>
                  <a:pt x="5996" y="6946"/>
                </a:lnTo>
                <a:lnTo>
                  <a:pt x="5948" y="6945"/>
                </a:lnTo>
                <a:lnTo>
                  <a:pt x="5900" y="6942"/>
                </a:lnTo>
                <a:lnTo>
                  <a:pt x="5854" y="6939"/>
                </a:lnTo>
                <a:lnTo>
                  <a:pt x="5808" y="6934"/>
                </a:lnTo>
                <a:lnTo>
                  <a:pt x="5764" y="6929"/>
                </a:lnTo>
                <a:lnTo>
                  <a:pt x="5720" y="6922"/>
                </a:lnTo>
                <a:lnTo>
                  <a:pt x="5677" y="6915"/>
                </a:lnTo>
                <a:lnTo>
                  <a:pt x="5635" y="6906"/>
                </a:lnTo>
                <a:lnTo>
                  <a:pt x="5594" y="6897"/>
                </a:lnTo>
                <a:lnTo>
                  <a:pt x="5553" y="6886"/>
                </a:lnTo>
                <a:lnTo>
                  <a:pt x="5514" y="6874"/>
                </a:lnTo>
                <a:lnTo>
                  <a:pt x="5474" y="6861"/>
                </a:lnTo>
                <a:lnTo>
                  <a:pt x="5437" y="6848"/>
                </a:lnTo>
                <a:lnTo>
                  <a:pt x="5400" y="6833"/>
                </a:lnTo>
                <a:lnTo>
                  <a:pt x="5364" y="6818"/>
                </a:lnTo>
                <a:lnTo>
                  <a:pt x="5329" y="6801"/>
                </a:lnTo>
                <a:lnTo>
                  <a:pt x="5294" y="6784"/>
                </a:lnTo>
                <a:lnTo>
                  <a:pt x="5261" y="6766"/>
                </a:lnTo>
                <a:lnTo>
                  <a:pt x="5228" y="6748"/>
                </a:lnTo>
                <a:lnTo>
                  <a:pt x="5196" y="6729"/>
                </a:lnTo>
                <a:lnTo>
                  <a:pt x="5165" y="6709"/>
                </a:lnTo>
                <a:lnTo>
                  <a:pt x="5135" y="6688"/>
                </a:lnTo>
                <a:lnTo>
                  <a:pt x="5106" y="6667"/>
                </a:lnTo>
                <a:lnTo>
                  <a:pt x="5077" y="6644"/>
                </a:lnTo>
                <a:lnTo>
                  <a:pt x="5050" y="6622"/>
                </a:lnTo>
                <a:lnTo>
                  <a:pt x="5023" y="6598"/>
                </a:lnTo>
                <a:lnTo>
                  <a:pt x="4997" y="6574"/>
                </a:lnTo>
                <a:lnTo>
                  <a:pt x="4972" y="6549"/>
                </a:lnTo>
                <a:lnTo>
                  <a:pt x="4948" y="6524"/>
                </a:lnTo>
                <a:lnTo>
                  <a:pt x="4924" y="6497"/>
                </a:lnTo>
                <a:lnTo>
                  <a:pt x="4902" y="6470"/>
                </a:lnTo>
                <a:lnTo>
                  <a:pt x="4880" y="6443"/>
                </a:lnTo>
                <a:lnTo>
                  <a:pt x="4859" y="6415"/>
                </a:lnTo>
                <a:lnTo>
                  <a:pt x="4839" y="6386"/>
                </a:lnTo>
                <a:lnTo>
                  <a:pt x="4819" y="6357"/>
                </a:lnTo>
                <a:lnTo>
                  <a:pt x="4800" y="6327"/>
                </a:lnTo>
                <a:lnTo>
                  <a:pt x="4782" y="6297"/>
                </a:lnTo>
                <a:lnTo>
                  <a:pt x="4765" y="6265"/>
                </a:lnTo>
                <a:lnTo>
                  <a:pt x="4748" y="6233"/>
                </a:lnTo>
                <a:lnTo>
                  <a:pt x="4732" y="6201"/>
                </a:lnTo>
                <a:lnTo>
                  <a:pt x="4717" y="6169"/>
                </a:lnTo>
                <a:lnTo>
                  <a:pt x="4703" y="6136"/>
                </a:lnTo>
                <a:lnTo>
                  <a:pt x="4689" y="6102"/>
                </a:lnTo>
                <a:lnTo>
                  <a:pt x="4676" y="6068"/>
                </a:lnTo>
                <a:lnTo>
                  <a:pt x="4664" y="6033"/>
                </a:lnTo>
                <a:lnTo>
                  <a:pt x="4652" y="5998"/>
                </a:lnTo>
                <a:lnTo>
                  <a:pt x="4641" y="5962"/>
                </a:lnTo>
                <a:lnTo>
                  <a:pt x="4631" y="5926"/>
                </a:lnTo>
                <a:lnTo>
                  <a:pt x="4622" y="5890"/>
                </a:lnTo>
                <a:lnTo>
                  <a:pt x="4613" y="5853"/>
                </a:lnTo>
                <a:lnTo>
                  <a:pt x="4605" y="5816"/>
                </a:lnTo>
                <a:lnTo>
                  <a:pt x="4598" y="5779"/>
                </a:lnTo>
                <a:lnTo>
                  <a:pt x="4591" y="5742"/>
                </a:lnTo>
                <a:lnTo>
                  <a:pt x="4585" y="5704"/>
                </a:lnTo>
                <a:lnTo>
                  <a:pt x="4579" y="5666"/>
                </a:lnTo>
                <a:lnTo>
                  <a:pt x="4574" y="5628"/>
                </a:lnTo>
                <a:lnTo>
                  <a:pt x="4570" y="5589"/>
                </a:lnTo>
                <a:lnTo>
                  <a:pt x="4566" y="5551"/>
                </a:lnTo>
                <a:lnTo>
                  <a:pt x="4563" y="5512"/>
                </a:lnTo>
                <a:lnTo>
                  <a:pt x="4561" y="5473"/>
                </a:lnTo>
                <a:lnTo>
                  <a:pt x="4559" y="5433"/>
                </a:lnTo>
                <a:lnTo>
                  <a:pt x="4558" y="5394"/>
                </a:lnTo>
                <a:lnTo>
                  <a:pt x="4558" y="5354"/>
                </a:lnTo>
                <a:lnTo>
                  <a:pt x="4558" y="3525"/>
                </a:lnTo>
                <a:lnTo>
                  <a:pt x="4558" y="3493"/>
                </a:lnTo>
                <a:lnTo>
                  <a:pt x="4559" y="3461"/>
                </a:lnTo>
                <a:lnTo>
                  <a:pt x="4561" y="3428"/>
                </a:lnTo>
                <a:lnTo>
                  <a:pt x="4563" y="3396"/>
                </a:lnTo>
                <a:lnTo>
                  <a:pt x="4566" y="3364"/>
                </a:lnTo>
                <a:lnTo>
                  <a:pt x="4569" y="3331"/>
                </a:lnTo>
                <a:lnTo>
                  <a:pt x="4573" y="3299"/>
                </a:lnTo>
                <a:lnTo>
                  <a:pt x="4578" y="3265"/>
                </a:lnTo>
                <a:lnTo>
                  <a:pt x="4583" y="3233"/>
                </a:lnTo>
                <a:lnTo>
                  <a:pt x="4589" y="3200"/>
                </a:lnTo>
                <a:lnTo>
                  <a:pt x="4596" y="3167"/>
                </a:lnTo>
                <a:lnTo>
                  <a:pt x="4603" y="3135"/>
                </a:lnTo>
                <a:lnTo>
                  <a:pt x="4611" y="3102"/>
                </a:lnTo>
                <a:lnTo>
                  <a:pt x="4619" y="3069"/>
                </a:lnTo>
                <a:lnTo>
                  <a:pt x="4628" y="3036"/>
                </a:lnTo>
                <a:lnTo>
                  <a:pt x="4638" y="3003"/>
                </a:lnTo>
                <a:lnTo>
                  <a:pt x="4648" y="2970"/>
                </a:lnTo>
                <a:lnTo>
                  <a:pt x="4659" y="2938"/>
                </a:lnTo>
                <a:lnTo>
                  <a:pt x="4671" y="2906"/>
                </a:lnTo>
                <a:lnTo>
                  <a:pt x="4684" y="2874"/>
                </a:lnTo>
                <a:lnTo>
                  <a:pt x="4697" y="2843"/>
                </a:lnTo>
                <a:lnTo>
                  <a:pt x="4712" y="2812"/>
                </a:lnTo>
                <a:lnTo>
                  <a:pt x="4727" y="2782"/>
                </a:lnTo>
                <a:lnTo>
                  <a:pt x="4742" y="2752"/>
                </a:lnTo>
                <a:lnTo>
                  <a:pt x="4759" y="2722"/>
                </a:lnTo>
                <a:lnTo>
                  <a:pt x="4776" y="2691"/>
                </a:lnTo>
                <a:lnTo>
                  <a:pt x="4794" y="2662"/>
                </a:lnTo>
                <a:lnTo>
                  <a:pt x="4812" y="2634"/>
                </a:lnTo>
                <a:lnTo>
                  <a:pt x="4832" y="2606"/>
                </a:lnTo>
                <a:lnTo>
                  <a:pt x="4852" y="2578"/>
                </a:lnTo>
                <a:lnTo>
                  <a:pt x="4873" y="2550"/>
                </a:lnTo>
                <a:lnTo>
                  <a:pt x="4895" y="2523"/>
                </a:lnTo>
                <a:lnTo>
                  <a:pt x="4917" y="2497"/>
                </a:lnTo>
                <a:lnTo>
                  <a:pt x="4941" y="2470"/>
                </a:lnTo>
                <a:lnTo>
                  <a:pt x="4965" y="2445"/>
                </a:lnTo>
                <a:lnTo>
                  <a:pt x="4990" y="2420"/>
                </a:lnTo>
                <a:lnTo>
                  <a:pt x="5016" y="2396"/>
                </a:lnTo>
                <a:lnTo>
                  <a:pt x="5042" y="2372"/>
                </a:lnTo>
                <a:lnTo>
                  <a:pt x="5070" y="2349"/>
                </a:lnTo>
                <a:lnTo>
                  <a:pt x="5098" y="2327"/>
                </a:lnTo>
                <a:lnTo>
                  <a:pt x="5127" y="2305"/>
                </a:lnTo>
                <a:lnTo>
                  <a:pt x="5157" y="2284"/>
                </a:lnTo>
                <a:lnTo>
                  <a:pt x="5188" y="2263"/>
                </a:lnTo>
                <a:lnTo>
                  <a:pt x="5219" y="2243"/>
                </a:lnTo>
                <a:lnTo>
                  <a:pt x="5251" y="2224"/>
                </a:lnTo>
                <a:lnTo>
                  <a:pt x="5284" y="2205"/>
                </a:lnTo>
                <a:lnTo>
                  <a:pt x="5318" y="2187"/>
                </a:lnTo>
                <a:lnTo>
                  <a:pt x="5353" y="2169"/>
                </a:lnTo>
                <a:lnTo>
                  <a:pt x="5389" y="2152"/>
                </a:lnTo>
                <a:lnTo>
                  <a:pt x="5425" y="2136"/>
                </a:lnTo>
                <a:lnTo>
                  <a:pt x="5463" y="2122"/>
                </a:lnTo>
                <a:lnTo>
                  <a:pt x="5502" y="2108"/>
                </a:lnTo>
                <a:lnTo>
                  <a:pt x="5542" y="2096"/>
                </a:lnTo>
                <a:lnTo>
                  <a:pt x="5583" y="2083"/>
                </a:lnTo>
                <a:lnTo>
                  <a:pt x="5625" y="2073"/>
                </a:lnTo>
                <a:lnTo>
                  <a:pt x="5667" y="2064"/>
                </a:lnTo>
                <a:lnTo>
                  <a:pt x="5711" y="2056"/>
                </a:lnTo>
                <a:lnTo>
                  <a:pt x="5756" y="2049"/>
                </a:lnTo>
                <a:lnTo>
                  <a:pt x="5802" y="2043"/>
                </a:lnTo>
                <a:lnTo>
                  <a:pt x="5848" y="2038"/>
                </a:lnTo>
                <a:lnTo>
                  <a:pt x="5896" y="2034"/>
                </a:lnTo>
                <a:lnTo>
                  <a:pt x="5945" y="2031"/>
                </a:lnTo>
                <a:lnTo>
                  <a:pt x="5994" y="2030"/>
                </a:lnTo>
                <a:lnTo>
                  <a:pt x="6045" y="2029"/>
                </a:lnTo>
                <a:lnTo>
                  <a:pt x="6092" y="2029"/>
                </a:lnTo>
                <a:lnTo>
                  <a:pt x="6139" y="2031"/>
                </a:lnTo>
                <a:lnTo>
                  <a:pt x="6184" y="2034"/>
                </a:lnTo>
                <a:lnTo>
                  <a:pt x="6229" y="2037"/>
                </a:lnTo>
                <a:lnTo>
                  <a:pt x="6273" y="2042"/>
                </a:lnTo>
                <a:lnTo>
                  <a:pt x="6317" y="2048"/>
                </a:lnTo>
                <a:lnTo>
                  <a:pt x="6359" y="2054"/>
                </a:lnTo>
                <a:lnTo>
                  <a:pt x="6401" y="2062"/>
                </a:lnTo>
                <a:lnTo>
                  <a:pt x="6442" y="2071"/>
                </a:lnTo>
                <a:lnTo>
                  <a:pt x="6482" y="2081"/>
                </a:lnTo>
                <a:lnTo>
                  <a:pt x="6522" y="2091"/>
                </a:lnTo>
                <a:lnTo>
                  <a:pt x="6560" y="2104"/>
                </a:lnTo>
                <a:lnTo>
                  <a:pt x="6598" y="2117"/>
                </a:lnTo>
                <a:lnTo>
                  <a:pt x="6634" y="2131"/>
                </a:lnTo>
                <a:lnTo>
                  <a:pt x="6670" y="2146"/>
                </a:lnTo>
                <a:lnTo>
                  <a:pt x="6706" y="2162"/>
                </a:lnTo>
                <a:lnTo>
                  <a:pt x="6740" y="2179"/>
                </a:lnTo>
                <a:lnTo>
                  <a:pt x="6774" y="2196"/>
                </a:lnTo>
                <a:lnTo>
                  <a:pt x="6806" y="2214"/>
                </a:lnTo>
                <a:lnTo>
                  <a:pt x="6839" y="2233"/>
                </a:lnTo>
                <a:lnTo>
                  <a:pt x="6870" y="2252"/>
                </a:lnTo>
                <a:lnTo>
                  <a:pt x="6901" y="2272"/>
                </a:lnTo>
                <a:lnTo>
                  <a:pt x="6931" y="2293"/>
                </a:lnTo>
                <a:lnTo>
                  <a:pt x="6960" y="2314"/>
                </a:lnTo>
                <a:lnTo>
                  <a:pt x="6988" y="2336"/>
                </a:lnTo>
                <a:lnTo>
                  <a:pt x="7016" y="2358"/>
                </a:lnTo>
                <a:lnTo>
                  <a:pt x="7043" y="2381"/>
                </a:lnTo>
                <a:lnTo>
                  <a:pt x="7069" y="2405"/>
                </a:lnTo>
                <a:lnTo>
                  <a:pt x="7095" y="2429"/>
                </a:lnTo>
                <a:lnTo>
                  <a:pt x="7120" y="2454"/>
                </a:lnTo>
                <a:lnTo>
                  <a:pt x="7144" y="2480"/>
                </a:lnTo>
                <a:lnTo>
                  <a:pt x="7167" y="2506"/>
                </a:lnTo>
                <a:lnTo>
                  <a:pt x="7190" y="2532"/>
                </a:lnTo>
                <a:lnTo>
                  <a:pt x="7212" y="2560"/>
                </a:lnTo>
                <a:lnTo>
                  <a:pt x="7233" y="2587"/>
                </a:lnTo>
                <a:lnTo>
                  <a:pt x="7253" y="2615"/>
                </a:lnTo>
                <a:lnTo>
                  <a:pt x="7273" y="2644"/>
                </a:lnTo>
                <a:lnTo>
                  <a:pt x="7292" y="2672"/>
                </a:lnTo>
                <a:lnTo>
                  <a:pt x="7310" y="2703"/>
                </a:lnTo>
                <a:lnTo>
                  <a:pt x="7327" y="2732"/>
                </a:lnTo>
                <a:lnTo>
                  <a:pt x="7344" y="2763"/>
                </a:lnTo>
                <a:lnTo>
                  <a:pt x="7359" y="2793"/>
                </a:lnTo>
                <a:lnTo>
                  <a:pt x="7374" y="2824"/>
                </a:lnTo>
                <a:lnTo>
                  <a:pt x="7389" y="2856"/>
                </a:lnTo>
                <a:lnTo>
                  <a:pt x="7402" y="2888"/>
                </a:lnTo>
                <a:lnTo>
                  <a:pt x="7415" y="2920"/>
                </a:lnTo>
                <a:lnTo>
                  <a:pt x="7427" y="2953"/>
                </a:lnTo>
                <a:lnTo>
                  <a:pt x="7438" y="2986"/>
                </a:lnTo>
                <a:lnTo>
                  <a:pt x="7449" y="3019"/>
                </a:lnTo>
                <a:lnTo>
                  <a:pt x="7458" y="3053"/>
                </a:lnTo>
                <a:lnTo>
                  <a:pt x="7468" y="3086"/>
                </a:lnTo>
                <a:lnTo>
                  <a:pt x="7476" y="3120"/>
                </a:lnTo>
                <a:lnTo>
                  <a:pt x="7484" y="3153"/>
                </a:lnTo>
                <a:lnTo>
                  <a:pt x="7491" y="3187"/>
                </a:lnTo>
                <a:lnTo>
                  <a:pt x="7497" y="3220"/>
                </a:lnTo>
                <a:lnTo>
                  <a:pt x="7503" y="3254"/>
                </a:lnTo>
                <a:lnTo>
                  <a:pt x="7509" y="3288"/>
                </a:lnTo>
                <a:lnTo>
                  <a:pt x="7514" y="3322"/>
                </a:lnTo>
                <a:lnTo>
                  <a:pt x="7517" y="3356"/>
                </a:lnTo>
                <a:lnTo>
                  <a:pt x="7520" y="3390"/>
                </a:lnTo>
                <a:lnTo>
                  <a:pt x="7523" y="3424"/>
                </a:lnTo>
                <a:lnTo>
                  <a:pt x="7525" y="3457"/>
                </a:lnTo>
                <a:lnTo>
                  <a:pt x="7526" y="3491"/>
                </a:lnTo>
                <a:lnTo>
                  <a:pt x="7526" y="3525"/>
                </a:lnTo>
                <a:lnTo>
                  <a:pt x="7526" y="5437"/>
                </a:lnTo>
                <a:close/>
                <a:moveTo>
                  <a:pt x="11236" y="5876"/>
                </a:moveTo>
                <a:lnTo>
                  <a:pt x="11228" y="5907"/>
                </a:lnTo>
                <a:lnTo>
                  <a:pt x="11220" y="5938"/>
                </a:lnTo>
                <a:lnTo>
                  <a:pt x="11212" y="5969"/>
                </a:lnTo>
                <a:lnTo>
                  <a:pt x="11202" y="5999"/>
                </a:lnTo>
                <a:lnTo>
                  <a:pt x="11193" y="6029"/>
                </a:lnTo>
                <a:lnTo>
                  <a:pt x="11182" y="6058"/>
                </a:lnTo>
                <a:lnTo>
                  <a:pt x="11172" y="6087"/>
                </a:lnTo>
                <a:lnTo>
                  <a:pt x="11160" y="6115"/>
                </a:lnTo>
                <a:lnTo>
                  <a:pt x="11149" y="6143"/>
                </a:lnTo>
                <a:lnTo>
                  <a:pt x="11136" y="6170"/>
                </a:lnTo>
                <a:lnTo>
                  <a:pt x="11124" y="6198"/>
                </a:lnTo>
                <a:lnTo>
                  <a:pt x="11110" y="6224"/>
                </a:lnTo>
                <a:lnTo>
                  <a:pt x="11097" y="6250"/>
                </a:lnTo>
                <a:lnTo>
                  <a:pt x="11082" y="6276"/>
                </a:lnTo>
                <a:lnTo>
                  <a:pt x="11067" y="6302"/>
                </a:lnTo>
                <a:lnTo>
                  <a:pt x="11052" y="6327"/>
                </a:lnTo>
                <a:lnTo>
                  <a:pt x="11036" y="6352"/>
                </a:lnTo>
                <a:lnTo>
                  <a:pt x="11020" y="6376"/>
                </a:lnTo>
                <a:lnTo>
                  <a:pt x="11003" y="6399"/>
                </a:lnTo>
                <a:lnTo>
                  <a:pt x="10985" y="6422"/>
                </a:lnTo>
                <a:lnTo>
                  <a:pt x="10967" y="6445"/>
                </a:lnTo>
                <a:lnTo>
                  <a:pt x="10949" y="6467"/>
                </a:lnTo>
                <a:lnTo>
                  <a:pt x="10930" y="6489"/>
                </a:lnTo>
                <a:lnTo>
                  <a:pt x="10910" y="6510"/>
                </a:lnTo>
                <a:lnTo>
                  <a:pt x="10890" y="6531"/>
                </a:lnTo>
                <a:lnTo>
                  <a:pt x="10870" y="6551"/>
                </a:lnTo>
                <a:lnTo>
                  <a:pt x="10849" y="6571"/>
                </a:lnTo>
                <a:lnTo>
                  <a:pt x="10827" y="6591"/>
                </a:lnTo>
                <a:lnTo>
                  <a:pt x="10805" y="6610"/>
                </a:lnTo>
                <a:lnTo>
                  <a:pt x="10783" y="6629"/>
                </a:lnTo>
                <a:lnTo>
                  <a:pt x="10760" y="6647"/>
                </a:lnTo>
                <a:lnTo>
                  <a:pt x="10736" y="6665"/>
                </a:lnTo>
                <a:lnTo>
                  <a:pt x="10712" y="6682"/>
                </a:lnTo>
                <a:lnTo>
                  <a:pt x="10688" y="6699"/>
                </a:lnTo>
                <a:lnTo>
                  <a:pt x="10663" y="6715"/>
                </a:lnTo>
                <a:lnTo>
                  <a:pt x="10638" y="6731"/>
                </a:lnTo>
                <a:lnTo>
                  <a:pt x="10613" y="6746"/>
                </a:lnTo>
                <a:lnTo>
                  <a:pt x="10587" y="6760"/>
                </a:lnTo>
                <a:lnTo>
                  <a:pt x="10561" y="6774"/>
                </a:lnTo>
                <a:lnTo>
                  <a:pt x="10535" y="6788"/>
                </a:lnTo>
                <a:lnTo>
                  <a:pt x="10508" y="6801"/>
                </a:lnTo>
                <a:lnTo>
                  <a:pt x="10481" y="6813"/>
                </a:lnTo>
                <a:lnTo>
                  <a:pt x="10454" y="6825"/>
                </a:lnTo>
                <a:lnTo>
                  <a:pt x="10426" y="6836"/>
                </a:lnTo>
                <a:lnTo>
                  <a:pt x="10398" y="6847"/>
                </a:lnTo>
                <a:lnTo>
                  <a:pt x="10370" y="6857"/>
                </a:lnTo>
                <a:lnTo>
                  <a:pt x="10342" y="6867"/>
                </a:lnTo>
                <a:lnTo>
                  <a:pt x="10313" y="6876"/>
                </a:lnTo>
                <a:lnTo>
                  <a:pt x="10284" y="6885"/>
                </a:lnTo>
                <a:lnTo>
                  <a:pt x="10255" y="6893"/>
                </a:lnTo>
                <a:lnTo>
                  <a:pt x="10225" y="6900"/>
                </a:lnTo>
                <a:lnTo>
                  <a:pt x="10195" y="6907"/>
                </a:lnTo>
                <a:lnTo>
                  <a:pt x="10165" y="6914"/>
                </a:lnTo>
                <a:lnTo>
                  <a:pt x="10135" y="6919"/>
                </a:lnTo>
                <a:lnTo>
                  <a:pt x="10104" y="6925"/>
                </a:lnTo>
                <a:lnTo>
                  <a:pt x="10072" y="6929"/>
                </a:lnTo>
                <a:lnTo>
                  <a:pt x="10041" y="6933"/>
                </a:lnTo>
                <a:lnTo>
                  <a:pt x="10009" y="6937"/>
                </a:lnTo>
                <a:lnTo>
                  <a:pt x="9977" y="6940"/>
                </a:lnTo>
                <a:lnTo>
                  <a:pt x="9944" y="6942"/>
                </a:lnTo>
                <a:lnTo>
                  <a:pt x="9912" y="6944"/>
                </a:lnTo>
                <a:lnTo>
                  <a:pt x="9879" y="6946"/>
                </a:lnTo>
                <a:lnTo>
                  <a:pt x="9845" y="6947"/>
                </a:lnTo>
                <a:lnTo>
                  <a:pt x="9812" y="6947"/>
                </a:lnTo>
                <a:lnTo>
                  <a:pt x="9765" y="6946"/>
                </a:lnTo>
                <a:lnTo>
                  <a:pt x="9719" y="6945"/>
                </a:lnTo>
                <a:lnTo>
                  <a:pt x="9674" y="6943"/>
                </a:lnTo>
                <a:lnTo>
                  <a:pt x="9630" y="6940"/>
                </a:lnTo>
                <a:lnTo>
                  <a:pt x="9587" y="6935"/>
                </a:lnTo>
                <a:lnTo>
                  <a:pt x="9544" y="6930"/>
                </a:lnTo>
                <a:lnTo>
                  <a:pt x="9501" y="6924"/>
                </a:lnTo>
                <a:lnTo>
                  <a:pt x="9460" y="6917"/>
                </a:lnTo>
                <a:lnTo>
                  <a:pt x="9420" y="6910"/>
                </a:lnTo>
                <a:lnTo>
                  <a:pt x="9380" y="6901"/>
                </a:lnTo>
                <a:lnTo>
                  <a:pt x="9341" y="6891"/>
                </a:lnTo>
                <a:lnTo>
                  <a:pt x="9303" y="6880"/>
                </a:lnTo>
                <a:lnTo>
                  <a:pt x="9266" y="6868"/>
                </a:lnTo>
                <a:lnTo>
                  <a:pt x="9229" y="6856"/>
                </a:lnTo>
                <a:lnTo>
                  <a:pt x="9193" y="6842"/>
                </a:lnTo>
                <a:lnTo>
                  <a:pt x="9158" y="6828"/>
                </a:lnTo>
                <a:lnTo>
                  <a:pt x="9124" y="6813"/>
                </a:lnTo>
                <a:lnTo>
                  <a:pt x="9090" y="6797"/>
                </a:lnTo>
                <a:lnTo>
                  <a:pt x="9057" y="6781"/>
                </a:lnTo>
                <a:lnTo>
                  <a:pt x="9025" y="6763"/>
                </a:lnTo>
                <a:lnTo>
                  <a:pt x="8993" y="6745"/>
                </a:lnTo>
                <a:lnTo>
                  <a:pt x="8962" y="6727"/>
                </a:lnTo>
                <a:lnTo>
                  <a:pt x="8932" y="6707"/>
                </a:lnTo>
                <a:lnTo>
                  <a:pt x="8903" y="6687"/>
                </a:lnTo>
                <a:lnTo>
                  <a:pt x="8874" y="6667"/>
                </a:lnTo>
                <a:lnTo>
                  <a:pt x="8846" y="6645"/>
                </a:lnTo>
                <a:lnTo>
                  <a:pt x="8819" y="6623"/>
                </a:lnTo>
                <a:lnTo>
                  <a:pt x="8792" y="6600"/>
                </a:lnTo>
                <a:lnTo>
                  <a:pt x="8766" y="6577"/>
                </a:lnTo>
                <a:lnTo>
                  <a:pt x="8741" y="6552"/>
                </a:lnTo>
                <a:lnTo>
                  <a:pt x="8717" y="6527"/>
                </a:lnTo>
                <a:lnTo>
                  <a:pt x="8693" y="6502"/>
                </a:lnTo>
                <a:lnTo>
                  <a:pt x="8670" y="6475"/>
                </a:lnTo>
                <a:lnTo>
                  <a:pt x="8648" y="6448"/>
                </a:lnTo>
                <a:lnTo>
                  <a:pt x="8626" y="6421"/>
                </a:lnTo>
                <a:lnTo>
                  <a:pt x="8605" y="6393"/>
                </a:lnTo>
                <a:lnTo>
                  <a:pt x="8585" y="6364"/>
                </a:lnTo>
                <a:lnTo>
                  <a:pt x="8566" y="6335"/>
                </a:lnTo>
                <a:lnTo>
                  <a:pt x="8547" y="6305"/>
                </a:lnTo>
                <a:lnTo>
                  <a:pt x="8530" y="6274"/>
                </a:lnTo>
                <a:lnTo>
                  <a:pt x="8513" y="6243"/>
                </a:lnTo>
                <a:lnTo>
                  <a:pt x="8495" y="6212"/>
                </a:lnTo>
                <a:lnTo>
                  <a:pt x="8480" y="6180"/>
                </a:lnTo>
                <a:lnTo>
                  <a:pt x="8465" y="6147"/>
                </a:lnTo>
                <a:lnTo>
                  <a:pt x="8451" y="6114"/>
                </a:lnTo>
                <a:lnTo>
                  <a:pt x="8438" y="6080"/>
                </a:lnTo>
                <a:lnTo>
                  <a:pt x="8426" y="6046"/>
                </a:lnTo>
                <a:lnTo>
                  <a:pt x="8414" y="6011"/>
                </a:lnTo>
                <a:lnTo>
                  <a:pt x="8403" y="5976"/>
                </a:lnTo>
                <a:lnTo>
                  <a:pt x="8393" y="5940"/>
                </a:lnTo>
                <a:lnTo>
                  <a:pt x="8383" y="5904"/>
                </a:lnTo>
                <a:lnTo>
                  <a:pt x="8375" y="5868"/>
                </a:lnTo>
                <a:lnTo>
                  <a:pt x="8366" y="5831"/>
                </a:lnTo>
                <a:lnTo>
                  <a:pt x="8359" y="5794"/>
                </a:lnTo>
                <a:lnTo>
                  <a:pt x="8352" y="5756"/>
                </a:lnTo>
                <a:lnTo>
                  <a:pt x="8346" y="5719"/>
                </a:lnTo>
                <a:lnTo>
                  <a:pt x="8341" y="5679"/>
                </a:lnTo>
                <a:lnTo>
                  <a:pt x="8337" y="5641"/>
                </a:lnTo>
                <a:lnTo>
                  <a:pt x="8333" y="5602"/>
                </a:lnTo>
                <a:lnTo>
                  <a:pt x="8329" y="5563"/>
                </a:lnTo>
                <a:lnTo>
                  <a:pt x="8327" y="5523"/>
                </a:lnTo>
                <a:lnTo>
                  <a:pt x="8325" y="5483"/>
                </a:lnTo>
                <a:lnTo>
                  <a:pt x="8324" y="5443"/>
                </a:lnTo>
                <a:lnTo>
                  <a:pt x="8324" y="5403"/>
                </a:lnTo>
                <a:lnTo>
                  <a:pt x="8324" y="3525"/>
                </a:lnTo>
                <a:lnTo>
                  <a:pt x="8324" y="3489"/>
                </a:lnTo>
                <a:lnTo>
                  <a:pt x="8325" y="3454"/>
                </a:lnTo>
                <a:lnTo>
                  <a:pt x="8327" y="3419"/>
                </a:lnTo>
                <a:lnTo>
                  <a:pt x="8329" y="3384"/>
                </a:lnTo>
                <a:lnTo>
                  <a:pt x="8333" y="3348"/>
                </a:lnTo>
                <a:lnTo>
                  <a:pt x="8337" y="3314"/>
                </a:lnTo>
                <a:lnTo>
                  <a:pt x="8341" y="3278"/>
                </a:lnTo>
                <a:lnTo>
                  <a:pt x="8346" y="3243"/>
                </a:lnTo>
                <a:lnTo>
                  <a:pt x="8352" y="3208"/>
                </a:lnTo>
                <a:lnTo>
                  <a:pt x="8359" y="3174"/>
                </a:lnTo>
                <a:lnTo>
                  <a:pt x="8366" y="3139"/>
                </a:lnTo>
                <a:lnTo>
                  <a:pt x="8375" y="3105"/>
                </a:lnTo>
                <a:lnTo>
                  <a:pt x="8383" y="3071"/>
                </a:lnTo>
                <a:lnTo>
                  <a:pt x="8393" y="3036"/>
                </a:lnTo>
                <a:lnTo>
                  <a:pt x="8403" y="3002"/>
                </a:lnTo>
                <a:lnTo>
                  <a:pt x="8414" y="2968"/>
                </a:lnTo>
                <a:lnTo>
                  <a:pt x="8426" y="2935"/>
                </a:lnTo>
                <a:lnTo>
                  <a:pt x="8438" y="2902"/>
                </a:lnTo>
                <a:lnTo>
                  <a:pt x="8451" y="2869"/>
                </a:lnTo>
                <a:lnTo>
                  <a:pt x="8465" y="2837"/>
                </a:lnTo>
                <a:lnTo>
                  <a:pt x="8480" y="2805"/>
                </a:lnTo>
                <a:lnTo>
                  <a:pt x="8495" y="2774"/>
                </a:lnTo>
                <a:lnTo>
                  <a:pt x="8512" y="2744"/>
                </a:lnTo>
                <a:lnTo>
                  <a:pt x="8529" y="2713"/>
                </a:lnTo>
                <a:lnTo>
                  <a:pt x="8546" y="2683"/>
                </a:lnTo>
                <a:lnTo>
                  <a:pt x="8565" y="2653"/>
                </a:lnTo>
                <a:lnTo>
                  <a:pt x="8584" y="2625"/>
                </a:lnTo>
                <a:lnTo>
                  <a:pt x="8603" y="2596"/>
                </a:lnTo>
                <a:lnTo>
                  <a:pt x="8624" y="2569"/>
                </a:lnTo>
                <a:lnTo>
                  <a:pt x="8645" y="2541"/>
                </a:lnTo>
                <a:lnTo>
                  <a:pt x="8667" y="2515"/>
                </a:lnTo>
                <a:lnTo>
                  <a:pt x="8689" y="2488"/>
                </a:lnTo>
                <a:lnTo>
                  <a:pt x="8713" y="2463"/>
                </a:lnTo>
                <a:lnTo>
                  <a:pt x="8737" y="2438"/>
                </a:lnTo>
                <a:lnTo>
                  <a:pt x="8762" y="2413"/>
                </a:lnTo>
                <a:lnTo>
                  <a:pt x="8787" y="2390"/>
                </a:lnTo>
                <a:lnTo>
                  <a:pt x="8814" y="2366"/>
                </a:lnTo>
                <a:lnTo>
                  <a:pt x="8841" y="2344"/>
                </a:lnTo>
                <a:lnTo>
                  <a:pt x="8868" y="2322"/>
                </a:lnTo>
                <a:lnTo>
                  <a:pt x="8897" y="2301"/>
                </a:lnTo>
                <a:lnTo>
                  <a:pt x="8926" y="2280"/>
                </a:lnTo>
                <a:lnTo>
                  <a:pt x="8956" y="2261"/>
                </a:lnTo>
                <a:lnTo>
                  <a:pt x="8987" y="2241"/>
                </a:lnTo>
                <a:lnTo>
                  <a:pt x="9018" y="2223"/>
                </a:lnTo>
                <a:lnTo>
                  <a:pt x="9050" y="2205"/>
                </a:lnTo>
                <a:lnTo>
                  <a:pt x="9083" y="2188"/>
                </a:lnTo>
                <a:lnTo>
                  <a:pt x="9117" y="2171"/>
                </a:lnTo>
                <a:lnTo>
                  <a:pt x="9151" y="2155"/>
                </a:lnTo>
                <a:lnTo>
                  <a:pt x="9186" y="2140"/>
                </a:lnTo>
                <a:lnTo>
                  <a:pt x="9222" y="2126"/>
                </a:lnTo>
                <a:lnTo>
                  <a:pt x="9259" y="2113"/>
                </a:lnTo>
                <a:lnTo>
                  <a:pt x="9296" y="2100"/>
                </a:lnTo>
                <a:lnTo>
                  <a:pt x="9335" y="2088"/>
                </a:lnTo>
                <a:lnTo>
                  <a:pt x="9374" y="2078"/>
                </a:lnTo>
                <a:lnTo>
                  <a:pt x="9414" y="2069"/>
                </a:lnTo>
                <a:lnTo>
                  <a:pt x="9455" y="2060"/>
                </a:lnTo>
                <a:lnTo>
                  <a:pt x="9496" y="2053"/>
                </a:lnTo>
                <a:lnTo>
                  <a:pt x="9540" y="2047"/>
                </a:lnTo>
                <a:lnTo>
                  <a:pt x="9583" y="2041"/>
                </a:lnTo>
                <a:lnTo>
                  <a:pt x="9627" y="2037"/>
                </a:lnTo>
                <a:lnTo>
                  <a:pt x="9672" y="2033"/>
                </a:lnTo>
                <a:lnTo>
                  <a:pt x="9718" y="2031"/>
                </a:lnTo>
                <a:lnTo>
                  <a:pt x="9764" y="2029"/>
                </a:lnTo>
                <a:lnTo>
                  <a:pt x="9812" y="2029"/>
                </a:lnTo>
                <a:lnTo>
                  <a:pt x="9848" y="2029"/>
                </a:lnTo>
                <a:lnTo>
                  <a:pt x="9884" y="2030"/>
                </a:lnTo>
                <a:lnTo>
                  <a:pt x="9919" y="2032"/>
                </a:lnTo>
                <a:lnTo>
                  <a:pt x="9954" y="2034"/>
                </a:lnTo>
                <a:lnTo>
                  <a:pt x="9989" y="2036"/>
                </a:lnTo>
                <a:lnTo>
                  <a:pt x="10023" y="2040"/>
                </a:lnTo>
                <a:lnTo>
                  <a:pt x="10056" y="2044"/>
                </a:lnTo>
                <a:lnTo>
                  <a:pt x="10090" y="2048"/>
                </a:lnTo>
                <a:lnTo>
                  <a:pt x="10122" y="2053"/>
                </a:lnTo>
                <a:lnTo>
                  <a:pt x="10155" y="2059"/>
                </a:lnTo>
                <a:lnTo>
                  <a:pt x="10187" y="2065"/>
                </a:lnTo>
                <a:lnTo>
                  <a:pt x="10218" y="2072"/>
                </a:lnTo>
                <a:lnTo>
                  <a:pt x="10249" y="2079"/>
                </a:lnTo>
                <a:lnTo>
                  <a:pt x="10280" y="2088"/>
                </a:lnTo>
                <a:lnTo>
                  <a:pt x="10310" y="2097"/>
                </a:lnTo>
                <a:lnTo>
                  <a:pt x="10340" y="2106"/>
                </a:lnTo>
                <a:lnTo>
                  <a:pt x="10370" y="2116"/>
                </a:lnTo>
                <a:lnTo>
                  <a:pt x="10399" y="2127"/>
                </a:lnTo>
                <a:lnTo>
                  <a:pt x="10427" y="2138"/>
                </a:lnTo>
                <a:lnTo>
                  <a:pt x="10455" y="2149"/>
                </a:lnTo>
                <a:lnTo>
                  <a:pt x="10483" y="2162"/>
                </a:lnTo>
                <a:lnTo>
                  <a:pt x="10511" y="2174"/>
                </a:lnTo>
                <a:lnTo>
                  <a:pt x="10538" y="2188"/>
                </a:lnTo>
                <a:lnTo>
                  <a:pt x="10564" y="2202"/>
                </a:lnTo>
                <a:lnTo>
                  <a:pt x="10590" y="2217"/>
                </a:lnTo>
                <a:lnTo>
                  <a:pt x="10616" y="2232"/>
                </a:lnTo>
                <a:lnTo>
                  <a:pt x="10641" y="2248"/>
                </a:lnTo>
                <a:lnTo>
                  <a:pt x="10666" y="2264"/>
                </a:lnTo>
                <a:lnTo>
                  <a:pt x="10690" y="2281"/>
                </a:lnTo>
                <a:lnTo>
                  <a:pt x="10714" y="2299"/>
                </a:lnTo>
                <a:lnTo>
                  <a:pt x="10737" y="2317"/>
                </a:lnTo>
                <a:lnTo>
                  <a:pt x="10760" y="2336"/>
                </a:lnTo>
                <a:lnTo>
                  <a:pt x="10783" y="2355"/>
                </a:lnTo>
                <a:lnTo>
                  <a:pt x="10805" y="2374"/>
                </a:lnTo>
                <a:lnTo>
                  <a:pt x="10827" y="2394"/>
                </a:lnTo>
                <a:lnTo>
                  <a:pt x="10848" y="2414"/>
                </a:lnTo>
                <a:lnTo>
                  <a:pt x="10868" y="2435"/>
                </a:lnTo>
                <a:lnTo>
                  <a:pt x="10888" y="2456"/>
                </a:lnTo>
                <a:lnTo>
                  <a:pt x="10908" y="2477"/>
                </a:lnTo>
                <a:lnTo>
                  <a:pt x="10927" y="2498"/>
                </a:lnTo>
                <a:lnTo>
                  <a:pt x="10946" y="2520"/>
                </a:lnTo>
                <a:lnTo>
                  <a:pt x="10964" y="2542"/>
                </a:lnTo>
                <a:lnTo>
                  <a:pt x="10982" y="2564"/>
                </a:lnTo>
                <a:lnTo>
                  <a:pt x="10999" y="2586"/>
                </a:lnTo>
                <a:lnTo>
                  <a:pt x="11016" y="2609"/>
                </a:lnTo>
                <a:lnTo>
                  <a:pt x="11032" y="2632"/>
                </a:lnTo>
                <a:lnTo>
                  <a:pt x="11048" y="2656"/>
                </a:lnTo>
                <a:lnTo>
                  <a:pt x="11063" y="2679"/>
                </a:lnTo>
                <a:lnTo>
                  <a:pt x="11078" y="2704"/>
                </a:lnTo>
                <a:lnTo>
                  <a:pt x="11092" y="2729"/>
                </a:lnTo>
                <a:lnTo>
                  <a:pt x="11106" y="2753"/>
                </a:lnTo>
                <a:lnTo>
                  <a:pt x="11120" y="2778"/>
                </a:lnTo>
                <a:lnTo>
                  <a:pt x="11133" y="2803"/>
                </a:lnTo>
                <a:lnTo>
                  <a:pt x="11145" y="2829"/>
                </a:lnTo>
                <a:lnTo>
                  <a:pt x="11157" y="2855"/>
                </a:lnTo>
                <a:lnTo>
                  <a:pt x="11169" y="2881"/>
                </a:lnTo>
                <a:lnTo>
                  <a:pt x="11180" y="2907"/>
                </a:lnTo>
                <a:lnTo>
                  <a:pt x="11190" y="2934"/>
                </a:lnTo>
                <a:lnTo>
                  <a:pt x="11200" y="2961"/>
                </a:lnTo>
                <a:lnTo>
                  <a:pt x="11210" y="2988"/>
                </a:lnTo>
                <a:lnTo>
                  <a:pt x="11219" y="3016"/>
                </a:lnTo>
                <a:lnTo>
                  <a:pt x="11227" y="3044"/>
                </a:lnTo>
                <a:lnTo>
                  <a:pt x="11235" y="3072"/>
                </a:lnTo>
                <a:lnTo>
                  <a:pt x="11243" y="3100"/>
                </a:lnTo>
                <a:lnTo>
                  <a:pt x="10485" y="3351"/>
                </a:lnTo>
                <a:lnTo>
                  <a:pt x="10479" y="3325"/>
                </a:lnTo>
                <a:lnTo>
                  <a:pt x="10473" y="3300"/>
                </a:lnTo>
                <a:lnTo>
                  <a:pt x="10466" y="3273"/>
                </a:lnTo>
                <a:lnTo>
                  <a:pt x="10457" y="3248"/>
                </a:lnTo>
                <a:lnTo>
                  <a:pt x="10448" y="3223"/>
                </a:lnTo>
                <a:lnTo>
                  <a:pt x="10438" y="3198"/>
                </a:lnTo>
                <a:lnTo>
                  <a:pt x="10427" y="3174"/>
                </a:lnTo>
                <a:lnTo>
                  <a:pt x="10416" y="3149"/>
                </a:lnTo>
                <a:lnTo>
                  <a:pt x="10403" y="3125"/>
                </a:lnTo>
                <a:lnTo>
                  <a:pt x="10389" y="3102"/>
                </a:lnTo>
                <a:lnTo>
                  <a:pt x="10374" y="3079"/>
                </a:lnTo>
                <a:lnTo>
                  <a:pt x="10358" y="3056"/>
                </a:lnTo>
                <a:lnTo>
                  <a:pt x="10341" y="3034"/>
                </a:lnTo>
                <a:lnTo>
                  <a:pt x="10323" y="3013"/>
                </a:lnTo>
                <a:lnTo>
                  <a:pt x="10304" y="2992"/>
                </a:lnTo>
                <a:lnTo>
                  <a:pt x="10284" y="2972"/>
                </a:lnTo>
                <a:lnTo>
                  <a:pt x="10262" y="2953"/>
                </a:lnTo>
                <a:lnTo>
                  <a:pt x="10240" y="2934"/>
                </a:lnTo>
                <a:lnTo>
                  <a:pt x="10216" y="2917"/>
                </a:lnTo>
                <a:lnTo>
                  <a:pt x="10192" y="2900"/>
                </a:lnTo>
                <a:lnTo>
                  <a:pt x="10166" y="2884"/>
                </a:lnTo>
                <a:lnTo>
                  <a:pt x="10139" y="2870"/>
                </a:lnTo>
                <a:lnTo>
                  <a:pt x="10111" y="2856"/>
                </a:lnTo>
                <a:lnTo>
                  <a:pt x="10082" y="2844"/>
                </a:lnTo>
                <a:lnTo>
                  <a:pt x="10052" y="2832"/>
                </a:lnTo>
                <a:lnTo>
                  <a:pt x="10021" y="2822"/>
                </a:lnTo>
                <a:lnTo>
                  <a:pt x="9989" y="2814"/>
                </a:lnTo>
                <a:lnTo>
                  <a:pt x="9956" y="2807"/>
                </a:lnTo>
                <a:lnTo>
                  <a:pt x="9921" y="2802"/>
                </a:lnTo>
                <a:lnTo>
                  <a:pt x="9886" y="2798"/>
                </a:lnTo>
                <a:lnTo>
                  <a:pt x="9849" y="2796"/>
                </a:lnTo>
                <a:lnTo>
                  <a:pt x="9812" y="2795"/>
                </a:lnTo>
                <a:lnTo>
                  <a:pt x="9789" y="2795"/>
                </a:lnTo>
                <a:lnTo>
                  <a:pt x="9767" y="2796"/>
                </a:lnTo>
                <a:lnTo>
                  <a:pt x="9746" y="2797"/>
                </a:lnTo>
                <a:lnTo>
                  <a:pt x="9725" y="2799"/>
                </a:lnTo>
                <a:lnTo>
                  <a:pt x="9704" y="2801"/>
                </a:lnTo>
                <a:lnTo>
                  <a:pt x="9684" y="2804"/>
                </a:lnTo>
                <a:lnTo>
                  <a:pt x="9664" y="2807"/>
                </a:lnTo>
                <a:lnTo>
                  <a:pt x="9644" y="2811"/>
                </a:lnTo>
                <a:lnTo>
                  <a:pt x="9625" y="2815"/>
                </a:lnTo>
                <a:lnTo>
                  <a:pt x="9606" y="2819"/>
                </a:lnTo>
                <a:lnTo>
                  <a:pt x="9588" y="2824"/>
                </a:lnTo>
                <a:lnTo>
                  <a:pt x="9570" y="2830"/>
                </a:lnTo>
                <a:lnTo>
                  <a:pt x="9553" y="2836"/>
                </a:lnTo>
                <a:lnTo>
                  <a:pt x="9536" y="2843"/>
                </a:lnTo>
                <a:lnTo>
                  <a:pt x="9519" y="2850"/>
                </a:lnTo>
                <a:lnTo>
                  <a:pt x="9502" y="2857"/>
                </a:lnTo>
                <a:lnTo>
                  <a:pt x="9470" y="2874"/>
                </a:lnTo>
                <a:lnTo>
                  <a:pt x="9440" y="2891"/>
                </a:lnTo>
                <a:lnTo>
                  <a:pt x="9412" y="2910"/>
                </a:lnTo>
                <a:lnTo>
                  <a:pt x="9385" y="2929"/>
                </a:lnTo>
                <a:lnTo>
                  <a:pt x="9359" y="2950"/>
                </a:lnTo>
                <a:lnTo>
                  <a:pt x="9334" y="2973"/>
                </a:lnTo>
                <a:lnTo>
                  <a:pt x="9311" y="2996"/>
                </a:lnTo>
                <a:lnTo>
                  <a:pt x="9290" y="3020"/>
                </a:lnTo>
                <a:lnTo>
                  <a:pt x="9270" y="3046"/>
                </a:lnTo>
                <a:lnTo>
                  <a:pt x="9251" y="3072"/>
                </a:lnTo>
                <a:lnTo>
                  <a:pt x="9233" y="3099"/>
                </a:lnTo>
                <a:lnTo>
                  <a:pt x="9217" y="3127"/>
                </a:lnTo>
                <a:lnTo>
                  <a:pt x="9202" y="3156"/>
                </a:lnTo>
                <a:lnTo>
                  <a:pt x="9188" y="3185"/>
                </a:lnTo>
                <a:lnTo>
                  <a:pt x="9176" y="3215"/>
                </a:lnTo>
                <a:lnTo>
                  <a:pt x="9165" y="3246"/>
                </a:lnTo>
                <a:lnTo>
                  <a:pt x="9155" y="3278"/>
                </a:lnTo>
                <a:lnTo>
                  <a:pt x="9147" y="3310"/>
                </a:lnTo>
                <a:lnTo>
                  <a:pt x="9140" y="3341"/>
                </a:lnTo>
                <a:lnTo>
                  <a:pt x="9134" y="3372"/>
                </a:lnTo>
                <a:lnTo>
                  <a:pt x="9129" y="3403"/>
                </a:lnTo>
                <a:lnTo>
                  <a:pt x="9126" y="3435"/>
                </a:lnTo>
                <a:lnTo>
                  <a:pt x="9124" y="3466"/>
                </a:lnTo>
                <a:lnTo>
                  <a:pt x="9123" y="3497"/>
                </a:lnTo>
                <a:lnTo>
                  <a:pt x="9123" y="5423"/>
                </a:lnTo>
                <a:lnTo>
                  <a:pt x="9124" y="5461"/>
                </a:lnTo>
                <a:lnTo>
                  <a:pt x="9126" y="5499"/>
                </a:lnTo>
                <a:lnTo>
                  <a:pt x="9129" y="5536"/>
                </a:lnTo>
                <a:lnTo>
                  <a:pt x="9134" y="5573"/>
                </a:lnTo>
                <a:lnTo>
                  <a:pt x="9140" y="5609"/>
                </a:lnTo>
                <a:lnTo>
                  <a:pt x="9147" y="5645"/>
                </a:lnTo>
                <a:lnTo>
                  <a:pt x="9155" y="5680"/>
                </a:lnTo>
                <a:lnTo>
                  <a:pt x="9165" y="5716"/>
                </a:lnTo>
                <a:lnTo>
                  <a:pt x="9176" y="5750"/>
                </a:lnTo>
                <a:lnTo>
                  <a:pt x="9189" y="5783"/>
                </a:lnTo>
                <a:lnTo>
                  <a:pt x="9202" y="5815"/>
                </a:lnTo>
                <a:lnTo>
                  <a:pt x="9218" y="5846"/>
                </a:lnTo>
                <a:lnTo>
                  <a:pt x="9235" y="5876"/>
                </a:lnTo>
                <a:lnTo>
                  <a:pt x="9253" y="5905"/>
                </a:lnTo>
                <a:lnTo>
                  <a:pt x="9272" y="5932"/>
                </a:lnTo>
                <a:lnTo>
                  <a:pt x="9293" y="5959"/>
                </a:lnTo>
                <a:lnTo>
                  <a:pt x="9316" y="5984"/>
                </a:lnTo>
                <a:lnTo>
                  <a:pt x="9339" y="6008"/>
                </a:lnTo>
                <a:lnTo>
                  <a:pt x="9364" y="6031"/>
                </a:lnTo>
                <a:lnTo>
                  <a:pt x="9391" y="6052"/>
                </a:lnTo>
                <a:lnTo>
                  <a:pt x="9418" y="6072"/>
                </a:lnTo>
                <a:lnTo>
                  <a:pt x="9447" y="6090"/>
                </a:lnTo>
                <a:lnTo>
                  <a:pt x="9477" y="6107"/>
                </a:lnTo>
                <a:lnTo>
                  <a:pt x="9510" y="6122"/>
                </a:lnTo>
                <a:lnTo>
                  <a:pt x="9526" y="6129"/>
                </a:lnTo>
                <a:lnTo>
                  <a:pt x="9542" y="6136"/>
                </a:lnTo>
                <a:lnTo>
                  <a:pt x="9559" y="6142"/>
                </a:lnTo>
                <a:lnTo>
                  <a:pt x="9577" y="6148"/>
                </a:lnTo>
                <a:lnTo>
                  <a:pt x="9594" y="6153"/>
                </a:lnTo>
                <a:lnTo>
                  <a:pt x="9612" y="6158"/>
                </a:lnTo>
                <a:lnTo>
                  <a:pt x="9631" y="6163"/>
                </a:lnTo>
                <a:lnTo>
                  <a:pt x="9649" y="6166"/>
                </a:lnTo>
                <a:lnTo>
                  <a:pt x="9668" y="6170"/>
                </a:lnTo>
                <a:lnTo>
                  <a:pt x="9688" y="6173"/>
                </a:lnTo>
                <a:lnTo>
                  <a:pt x="9708" y="6175"/>
                </a:lnTo>
                <a:lnTo>
                  <a:pt x="9728" y="6177"/>
                </a:lnTo>
                <a:lnTo>
                  <a:pt x="9769" y="6180"/>
                </a:lnTo>
                <a:lnTo>
                  <a:pt x="9812" y="6181"/>
                </a:lnTo>
                <a:lnTo>
                  <a:pt x="9843" y="6181"/>
                </a:lnTo>
                <a:lnTo>
                  <a:pt x="9875" y="6179"/>
                </a:lnTo>
                <a:lnTo>
                  <a:pt x="9905" y="6176"/>
                </a:lnTo>
                <a:lnTo>
                  <a:pt x="9935" y="6172"/>
                </a:lnTo>
                <a:lnTo>
                  <a:pt x="9965" y="6167"/>
                </a:lnTo>
                <a:lnTo>
                  <a:pt x="9994" y="6161"/>
                </a:lnTo>
                <a:lnTo>
                  <a:pt x="10022" y="6153"/>
                </a:lnTo>
                <a:lnTo>
                  <a:pt x="10049" y="6145"/>
                </a:lnTo>
                <a:lnTo>
                  <a:pt x="10077" y="6135"/>
                </a:lnTo>
                <a:lnTo>
                  <a:pt x="10103" y="6124"/>
                </a:lnTo>
                <a:lnTo>
                  <a:pt x="10129" y="6112"/>
                </a:lnTo>
                <a:lnTo>
                  <a:pt x="10154" y="6099"/>
                </a:lnTo>
                <a:lnTo>
                  <a:pt x="10179" y="6085"/>
                </a:lnTo>
                <a:lnTo>
                  <a:pt x="10203" y="6070"/>
                </a:lnTo>
                <a:lnTo>
                  <a:pt x="10226" y="6053"/>
                </a:lnTo>
                <a:lnTo>
                  <a:pt x="10249" y="6036"/>
                </a:lnTo>
                <a:lnTo>
                  <a:pt x="10271" y="6017"/>
                </a:lnTo>
                <a:lnTo>
                  <a:pt x="10292" y="5997"/>
                </a:lnTo>
                <a:lnTo>
                  <a:pt x="10312" y="5977"/>
                </a:lnTo>
                <a:lnTo>
                  <a:pt x="10331" y="5956"/>
                </a:lnTo>
                <a:lnTo>
                  <a:pt x="10349" y="5933"/>
                </a:lnTo>
                <a:lnTo>
                  <a:pt x="10366" y="5910"/>
                </a:lnTo>
                <a:lnTo>
                  <a:pt x="10382" y="5887"/>
                </a:lnTo>
                <a:lnTo>
                  <a:pt x="10397" y="5862"/>
                </a:lnTo>
                <a:lnTo>
                  <a:pt x="10410" y="5836"/>
                </a:lnTo>
                <a:lnTo>
                  <a:pt x="10423" y="5810"/>
                </a:lnTo>
                <a:lnTo>
                  <a:pt x="10435" y="5782"/>
                </a:lnTo>
                <a:lnTo>
                  <a:pt x="10446" y="5754"/>
                </a:lnTo>
                <a:lnTo>
                  <a:pt x="10455" y="5725"/>
                </a:lnTo>
                <a:lnTo>
                  <a:pt x="10464" y="5695"/>
                </a:lnTo>
                <a:lnTo>
                  <a:pt x="10472" y="5663"/>
                </a:lnTo>
                <a:lnTo>
                  <a:pt x="10478" y="5632"/>
                </a:lnTo>
                <a:lnTo>
                  <a:pt x="11236" y="587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886042" y="3753036"/>
            <a:ext cx="357800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400"/>
              </a:lnSpc>
            </a:pPr>
            <a:r>
              <a:rPr lang="ru-RU" sz="1400" b="1" dirty="0">
                <a:solidFill>
                  <a:schemeClr val="tx2"/>
                </a:solidFill>
              </a:rPr>
              <a:t>Актуализация </a:t>
            </a:r>
            <a:r>
              <a:rPr lang="ru-RU" sz="1400" b="1" dirty="0" smtClean="0">
                <a:solidFill>
                  <a:schemeClr val="tx2"/>
                </a:solidFill>
              </a:rPr>
              <a:t>стандартов</a:t>
            </a:r>
            <a:r>
              <a:rPr lang="ru-RU" sz="1400" b="1" dirty="0">
                <a:solidFill>
                  <a:schemeClr val="tx2"/>
                </a:solidFill>
              </a:rPr>
              <a:t>, разработка и внедрение технических требований и методов испытаний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807804" y="4339206"/>
            <a:ext cx="1659876" cy="2006118"/>
          </a:xfrm>
          <a:prstGeom prst="rect">
            <a:avLst/>
          </a:prstGeom>
          <a:solidFill>
            <a:schemeClr val="accent1">
              <a:alpha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Работа </a:t>
            </a:r>
            <a:r>
              <a:rPr lang="ru-RU" sz="1200" b="1" dirty="0">
                <a:solidFill>
                  <a:schemeClr val="bg1"/>
                </a:solidFill>
              </a:rPr>
              <a:t>ГПН-БМ </a:t>
            </a:r>
            <a:r>
              <a:rPr lang="ru-RU" sz="1200" b="1" dirty="0" smtClean="0">
                <a:solidFill>
                  <a:schemeClr val="bg1"/>
                </a:solidFill>
              </a:rPr>
              <a:t>            в составе НТС         ГК «</a:t>
            </a:r>
            <a:r>
              <a:rPr lang="ru-RU" sz="1200" b="1" dirty="0" err="1" smtClean="0">
                <a:solidFill>
                  <a:schemeClr val="bg1"/>
                </a:solidFill>
              </a:rPr>
              <a:t>Автодор</a:t>
            </a:r>
            <a:r>
              <a:rPr lang="ru-RU" sz="1200" b="1" dirty="0" smtClean="0">
                <a:solidFill>
                  <a:schemeClr val="bg1"/>
                </a:solidFill>
              </a:rPr>
              <a:t>»              </a:t>
            </a:r>
          </a:p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Участие                          в разработке технических требований                    и стандартов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7196600" y="1674910"/>
            <a:ext cx="1659876" cy="2006118"/>
          </a:xfrm>
          <a:prstGeom prst="rect">
            <a:avLst/>
          </a:prstGeom>
          <a:solidFill>
            <a:schemeClr val="accent1">
              <a:alpha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1200" b="1" dirty="0">
                <a:solidFill>
                  <a:schemeClr val="bg1"/>
                </a:solidFill>
              </a:rPr>
              <a:t>Организация </a:t>
            </a:r>
            <a:r>
              <a:rPr lang="ru-RU" sz="1200" b="1" dirty="0" smtClean="0">
                <a:solidFill>
                  <a:schemeClr val="bg1"/>
                </a:solidFill>
              </a:rPr>
              <a:t>          НИЦ </a:t>
            </a:r>
            <a:r>
              <a:rPr lang="ru-RU" sz="1200" b="1" dirty="0">
                <a:solidFill>
                  <a:schemeClr val="bg1"/>
                </a:solidFill>
              </a:rPr>
              <a:t>ГПН-БМ </a:t>
            </a:r>
            <a:r>
              <a:rPr lang="ru-RU" sz="1200" b="1" dirty="0" smtClean="0">
                <a:solidFill>
                  <a:schemeClr val="bg1"/>
                </a:solidFill>
              </a:rPr>
              <a:t>                        по </a:t>
            </a:r>
            <a:r>
              <a:rPr lang="ru-RU" sz="1200" b="1" dirty="0">
                <a:solidFill>
                  <a:schemeClr val="bg1"/>
                </a:solidFill>
              </a:rPr>
              <a:t>битумным </a:t>
            </a:r>
            <a:r>
              <a:rPr lang="ru-RU" sz="1200" b="1" dirty="0" smtClean="0">
                <a:solidFill>
                  <a:schemeClr val="bg1"/>
                </a:solidFill>
              </a:rPr>
              <a:t>материалам</a:t>
            </a:r>
          </a:p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Проведение НИР по обеспечению выпуска БНДУ           на битумных активах Компании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4"/>
            </p:custDataLst>
          </p:nvPr>
        </p:nvSpPr>
        <p:spPr>
          <a:xfrm>
            <a:off x="7180679" y="4341342"/>
            <a:ext cx="1659876" cy="2006118"/>
          </a:xfrm>
          <a:prstGeom prst="rect">
            <a:avLst/>
          </a:prstGeom>
          <a:solidFill>
            <a:schemeClr val="accent1">
              <a:alpha val="6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Конференции         и форумы</a:t>
            </a:r>
          </a:p>
          <a:p>
            <a:pPr marL="171450" indent="-171450">
              <a:lnSpc>
                <a:spcPts val="13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bg1"/>
                </a:solidFill>
              </a:rPr>
              <a:t>«Битум </a:t>
            </a:r>
            <a:r>
              <a:rPr lang="ru-RU" sz="1200" b="1" dirty="0">
                <a:solidFill>
                  <a:schemeClr val="bg1"/>
                </a:solidFill>
              </a:rPr>
              <a:t>и ПБВ</a:t>
            </a:r>
            <a:r>
              <a:rPr lang="ru-RU" sz="1200" b="1" dirty="0" smtClean="0">
                <a:solidFill>
                  <a:schemeClr val="bg1"/>
                </a:solidFill>
              </a:rPr>
              <a:t>»,</a:t>
            </a:r>
          </a:p>
          <a:p>
            <a:pPr marL="171450" indent="-171450">
              <a:lnSpc>
                <a:spcPts val="13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ru-RU" sz="1200" b="1" dirty="0" smtClean="0">
                <a:solidFill>
                  <a:schemeClr val="bg1"/>
                </a:solidFill>
              </a:rPr>
              <a:t>«Инновации             в дорожном строительстве»</a:t>
            </a:r>
            <a:endParaRPr lang="ru-RU" sz="1200" b="1" dirty="0">
              <a:solidFill>
                <a:schemeClr val="bg1"/>
              </a:solidFill>
            </a:endParaRPr>
          </a:p>
          <a:p>
            <a:pPr>
              <a:lnSpc>
                <a:spcPts val="1300"/>
              </a:lnSpc>
              <a:spcBef>
                <a:spcPts val="6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Участие                              в обучающих семинарах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828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8258370"/>
              </p:ext>
            </p:extLst>
          </p:nvPr>
        </p:nvGraphicFramePr>
        <p:xfrm>
          <a:off x="287337" y="1108295"/>
          <a:ext cx="8586609" cy="5232963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980406"/>
                <a:gridCol w="1008113"/>
                <a:gridCol w="1008112"/>
                <a:gridCol w="1116124"/>
                <a:gridCol w="1160956"/>
                <a:gridCol w="1152128"/>
                <a:gridCol w="1160770"/>
              </a:tblGrid>
              <a:tr h="287877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-МНПЗ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-ОНПЗ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-ЯНОС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-РЗБМ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ГПН – </a:t>
                      </a:r>
                      <a:r>
                        <a:rPr lang="en-US" sz="1200" dirty="0" smtClean="0"/>
                        <a:t>Total</a:t>
                      </a:r>
                      <a:r>
                        <a:rPr lang="ru-RU" sz="1200" dirty="0" smtClean="0"/>
                        <a:t> ПМБ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НОВА-Брит</a:t>
                      </a:r>
                      <a:endParaRPr lang="ru-RU" sz="1200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</a:tr>
              <a:tr h="331379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ГОСТ 22245-90</a:t>
                      </a: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Д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40/60, 60/90, 90/13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02491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ГОСТ 6617-76</a:t>
                      </a: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70/30, 90/1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70/30, 90/10 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191691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ГОСТ 9548-74</a:t>
                      </a:r>
                      <a:endParaRPr lang="ru-RU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40/180</a:t>
                      </a:r>
                      <a:endParaRPr lang="ru-RU" sz="11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45/190, 40/180</a:t>
                      </a: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52899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200" b="0" dirty="0" smtClean="0">
                          <a:solidFill>
                            <a:schemeClr val="bg1"/>
                          </a:solidFill>
                        </a:rPr>
                        <a:t>СТО 00149765-006-2013</a:t>
                      </a:r>
                      <a:endParaRPr lang="ru-RU" sz="12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100" b="0" dirty="0" smtClean="0">
                          <a:solidFill>
                            <a:schemeClr val="bg1"/>
                          </a:solidFill>
                        </a:rPr>
                        <a:t>115/15</a:t>
                      </a:r>
                      <a:endParaRPr lang="ru-RU" sz="1100" b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551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EN 12591:2009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BITUMEN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50/70,</a:t>
                      </a:r>
                      <a:r>
                        <a:rPr lang="ru-RU" sz="1100" b="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70/10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100" b="1" dirty="0" smtClean="0">
                          <a:solidFill>
                            <a:schemeClr val="tx2"/>
                          </a:solidFill>
                        </a:rPr>
                        <a:t>BITUMEN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50/70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70/100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100/150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160/20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5519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</a:rPr>
                        <a:t>ГОСТ Р 52056-2003</a:t>
                      </a:r>
                      <a:endParaRPr lang="ru-RU" sz="12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40, 60, 90, 130, 20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ПБВ</a:t>
                      </a:r>
                      <a:r>
                        <a:rPr lang="ru-RU" sz="1100" b="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40, 60, 90, 130, 20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60,</a:t>
                      </a:r>
                      <a:r>
                        <a:rPr lang="ru-RU" sz="1100" b="0" baseline="0" dirty="0" smtClean="0">
                          <a:solidFill>
                            <a:schemeClr val="tx2"/>
                          </a:solidFill>
                        </a:rPr>
                        <a:t> 90</a:t>
                      </a:r>
                      <a:endParaRPr lang="ru-RU" sz="11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40, 60, 90, 130</a:t>
                      </a:r>
                      <a:endParaRPr lang="ru-RU" sz="11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40942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ТО АВТОДОР 2.30-2015 </a:t>
                      </a:r>
                      <a:r>
                        <a:rPr lang="ru-RU" sz="10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(проект)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err="1" smtClean="0">
                          <a:solidFill>
                            <a:schemeClr val="tx2"/>
                          </a:solidFill>
                        </a:rPr>
                        <a:t>ПМБ</a:t>
                      </a:r>
                      <a:r>
                        <a:rPr lang="ru-RU" sz="1100" b="1" baseline="-25000" dirty="0" err="1" smtClean="0">
                          <a:solidFill>
                            <a:schemeClr val="tx2"/>
                          </a:solidFill>
                        </a:rPr>
                        <a:t>сбс</a:t>
                      </a:r>
                      <a:r>
                        <a:rPr lang="ru-RU" sz="1100" dirty="0" smtClean="0">
                          <a:solidFill>
                            <a:schemeClr val="tx2"/>
                          </a:solidFill>
                        </a:rPr>
                        <a:t> 35/50, 50/70, 70/100, 100/130 </a:t>
                      </a: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30302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СТО АВТОДОР 2.1-2011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bg2"/>
                          </a:solidFill>
                        </a:rPr>
                        <a:t>БНДУ </a:t>
                      </a:r>
                      <a:r>
                        <a:rPr lang="ru-RU" sz="1100" b="0" dirty="0" smtClean="0">
                          <a:solidFill>
                            <a:schemeClr val="bg2"/>
                          </a:solidFill>
                        </a:rPr>
                        <a:t>85</a:t>
                      </a:r>
                      <a:endParaRPr lang="ru-RU" sz="1100" b="0" dirty="0">
                        <a:solidFill>
                          <a:schemeClr val="bg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0" i="1" dirty="0" smtClean="0">
                          <a:solidFill>
                            <a:schemeClr val="bg2"/>
                          </a:solidFill>
                        </a:rPr>
                        <a:t>БНДУ 60, 85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0" i="1" dirty="0" smtClean="0">
                          <a:solidFill>
                            <a:schemeClr val="bg2"/>
                          </a:solidFill>
                        </a:rPr>
                        <a:t>БНДУ  60,85</a:t>
                      </a:r>
                    </a:p>
                  </a:txBody>
                  <a:tcPr anchor="ctr">
                    <a:solidFill>
                      <a:schemeClr val="accent4"/>
                    </a:solidFill>
                  </a:tcPr>
                </a:tc>
              </a:tr>
              <a:tr h="160814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</a:rPr>
                        <a:t>ГОСТ 33133-2014</a:t>
                      </a:r>
                      <a:r>
                        <a:rPr lang="ru-RU" sz="1000" b="1" i="1" kern="12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000" b="0" i="1" kern="1200" dirty="0" smtClean="0">
                          <a:solidFill>
                            <a:schemeClr val="bg1"/>
                          </a:solidFill>
                        </a:rPr>
                        <a:t>(с 2017)</a:t>
                      </a:r>
                      <a:endParaRPr lang="ru-RU" sz="1200" b="0" i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БНД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50/70, 70/100, 100/130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1096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СТО 11352320-001.01.2014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200"/>
                        </a:spcAft>
                      </a:pPr>
                      <a:endParaRPr lang="ru-RU" sz="1000" b="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60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100" b="0" dirty="0" smtClean="0">
                          <a:solidFill>
                            <a:schemeClr val="tx2"/>
                          </a:solidFill>
                        </a:rPr>
                        <a:t>90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(Стандарт/ Премиум)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247943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EN</a:t>
                      </a: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14023</a:t>
                      </a: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:2010</a:t>
                      </a:r>
                      <a:endParaRPr lang="ru-RU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РМВ 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- более 10 марок (!)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410968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ru-RU" sz="1200" b="1" dirty="0" smtClean="0">
                          <a:solidFill>
                            <a:schemeClr val="bg1"/>
                          </a:solidFill>
                        </a:rPr>
                        <a:t>ГОСТ Р 52128-2003</a:t>
                      </a:r>
                      <a:endParaRPr lang="ru-RU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1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ЭБК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-1, 2,</a:t>
                      </a:r>
                      <a:r>
                        <a:rPr lang="ru-RU" sz="1100" b="0" baseline="0" dirty="0" smtClean="0">
                          <a:solidFill>
                            <a:schemeClr val="tx2"/>
                          </a:solidFill>
                        </a:rPr>
                        <a:t> 3</a:t>
                      </a:r>
                      <a:endParaRPr lang="ru-RU" sz="11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10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ЭБК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-1, 3</a:t>
                      </a:r>
                      <a:endParaRPr lang="ru-RU" sz="1100" b="0" dirty="0">
                        <a:solidFill>
                          <a:schemeClr val="tx2"/>
                        </a:solidFill>
                      </a:endParaRP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100" b="1" dirty="0" smtClean="0">
                          <a:solidFill>
                            <a:schemeClr val="tx2"/>
                          </a:solidFill>
                        </a:rPr>
                        <a:t>ЭБК/ ЭБА/ ЭБПК/ ЭБПА</a:t>
                      </a:r>
                      <a:r>
                        <a:rPr lang="ru-RU" sz="1100" b="0" dirty="0" smtClean="0">
                          <a:solidFill>
                            <a:schemeClr val="tx2"/>
                          </a:solidFill>
                        </a:rPr>
                        <a:t>-1,2,3</a:t>
                      </a:r>
                    </a:p>
                  </a:txBody>
                  <a:tcPr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/>
              <a:t/>
            </a:r>
            <a:br>
              <a:rPr lang="ru-RU" dirty="0"/>
            </a:br>
            <a:r>
              <a:rPr lang="ru-RU" dirty="0"/>
              <a:t>Компания производит и реализует комплексный ассортимент современных битумных материалов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287337" y="2888940"/>
            <a:ext cx="8569325" cy="3422516"/>
          </a:xfrm>
          <a:prstGeom prst="roundRect">
            <a:avLst>
              <a:gd name="adj" fmla="val 2746"/>
            </a:avLst>
          </a:prstGeom>
          <a:noFill/>
          <a:ln w="381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8" name="gost"/>
          <p:cNvSpPr>
            <a:spLocks noEditPoints="1"/>
          </p:cNvSpPr>
          <p:nvPr>
            <p:custDataLst>
              <p:tags r:id="rId1"/>
            </p:custDataLst>
          </p:nvPr>
        </p:nvSpPr>
        <p:spPr bwMode="auto">
          <a:xfrm>
            <a:off x="321742" y="1268760"/>
            <a:ext cx="469838" cy="252028"/>
          </a:xfrm>
          <a:custGeom>
            <a:avLst/>
            <a:gdLst>
              <a:gd name="T0" fmla="*/ 13459 w 16016"/>
              <a:gd name="T1" fmla="*/ 2788 h 8976"/>
              <a:gd name="T2" fmla="*/ 6702 w 16016"/>
              <a:gd name="T3" fmla="*/ 3359 h 8976"/>
              <a:gd name="T4" fmla="*/ 6490 w 16016"/>
              <a:gd name="T5" fmla="*/ 2962 h 8976"/>
              <a:gd name="T6" fmla="*/ 6186 w 16016"/>
              <a:gd name="T7" fmla="*/ 2806 h 8976"/>
              <a:gd name="T8" fmla="*/ 5860 w 16016"/>
              <a:gd name="T9" fmla="*/ 2813 h 8976"/>
              <a:gd name="T10" fmla="*/ 5536 w 16016"/>
              <a:gd name="T11" fmla="*/ 2997 h 8976"/>
              <a:gd name="T12" fmla="*/ 5362 w 16016"/>
              <a:gd name="T13" fmla="*/ 3345 h 8976"/>
              <a:gd name="T14" fmla="*/ 5380 w 16016"/>
              <a:gd name="T15" fmla="*/ 5656 h 8976"/>
              <a:gd name="T16" fmla="*/ 5566 w 16016"/>
              <a:gd name="T17" fmla="*/ 6027 h 8976"/>
              <a:gd name="T18" fmla="*/ 5778 w 16016"/>
              <a:gd name="T19" fmla="*/ 6156 h 8976"/>
              <a:gd name="T20" fmla="*/ 6151 w 16016"/>
              <a:gd name="T21" fmla="*/ 6189 h 8976"/>
              <a:gd name="T22" fmla="*/ 6546 w 16016"/>
              <a:gd name="T23" fmla="*/ 5987 h 8976"/>
              <a:gd name="T24" fmla="*/ 6719 w 16016"/>
              <a:gd name="T25" fmla="*/ 5545 h 8976"/>
              <a:gd name="T26" fmla="*/ 7474 w 16016"/>
              <a:gd name="T27" fmla="*/ 5883 h 8976"/>
              <a:gd name="T28" fmla="*/ 7268 w 16016"/>
              <a:gd name="T29" fmla="*/ 6351 h 8976"/>
              <a:gd name="T30" fmla="*/ 6925 w 16016"/>
              <a:gd name="T31" fmla="*/ 6695 h 8976"/>
              <a:gd name="T32" fmla="*/ 6467 w 16016"/>
              <a:gd name="T33" fmla="*/ 6898 h 8976"/>
              <a:gd name="T34" fmla="*/ 5900 w 16016"/>
              <a:gd name="T35" fmla="*/ 6942 h 8976"/>
              <a:gd name="T36" fmla="*/ 5329 w 16016"/>
              <a:gd name="T37" fmla="*/ 6801 h 8976"/>
              <a:gd name="T38" fmla="*/ 4924 w 16016"/>
              <a:gd name="T39" fmla="*/ 6497 h 8976"/>
              <a:gd name="T40" fmla="*/ 4676 w 16016"/>
              <a:gd name="T41" fmla="*/ 6068 h 8976"/>
              <a:gd name="T42" fmla="*/ 4566 w 16016"/>
              <a:gd name="T43" fmla="*/ 5551 h 8976"/>
              <a:gd name="T44" fmla="*/ 4578 w 16016"/>
              <a:gd name="T45" fmla="*/ 3265 h 8976"/>
              <a:gd name="T46" fmla="*/ 4712 w 16016"/>
              <a:gd name="T47" fmla="*/ 2812 h 8976"/>
              <a:gd name="T48" fmla="*/ 4990 w 16016"/>
              <a:gd name="T49" fmla="*/ 2420 h 8976"/>
              <a:gd name="T50" fmla="*/ 5425 w 16016"/>
              <a:gd name="T51" fmla="*/ 2136 h 8976"/>
              <a:gd name="T52" fmla="*/ 6045 w 16016"/>
              <a:gd name="T53" fmla="*/ 2029 h 8976"/>
              <a:gd name="T54" fmla="*/ 6634 w 16016"/>
              <a:gd name="T55" fmla="*/ 2131 h 8976"/>
              <a:gd name="T56" fmla="*/ 7069 w 16016"/>
              <a:gd name="T57" fmla="*/ 2405 h 8976"/>
              <a:gd name="T58" fmla="*/ 7359 w 16016"/>
              <a:gd name="T59" fmla="*/ 2793 h 8976"/>
              <a:gd name="T60" fmla="*/ 7503 w 16016"/>
              <a:gd name="T61" fmla="*/ 3254 h 8976"/>
              <a:gd name="T62" fmla="*/ 11202 w 16016"/>
              <a:gd name="T63" fmla="*/ 5999 h 8976"/>
              <a:gd name="T64" fmla="*/ 11020 w 16016"/>
              <a:gd name="T65" fmla="*/ 6376 h 8976"/>
              <a:gd name="T66" fmla="*/ 10736 w 16016"/>
              <a:gd name="T67" fmla="*/ 6665 h 8976"/>
              <a:gd name="T68" fmla="*/ 10370 w 16016"/>
              <a:gd name="T69" fmla="*/ 6857 h 8976"/>
              <a:gd name="T70" fmla="*/ 9944 w 16016"/>
              <a:gd name="T71" fmla="*/ 6942 h 8976"/>
              <a:gd name="T72" fmla="*/ 9380 w 16016"/>
              <a:gd name="T73" fmla="*/ 6901 h 8976"/>
              <a:gd name="T74" fmla="*/ 8903 w 16016"/>
              <a:gd name="T75" fmla="*/ 6687 h 8976"/>
              <a:gd name="T76" fmla="*/ 8566 w 16016"/>
              <a:gd name="T77" fmla="*/ 6335 h 8976"/>
              <a:gd name="T78" fmla="*/ 8375 w 16016"/>
              <a:gd name="T79" fmla="*/ 5868 h 8976"/>
              <a:gd name="T80" fmla="*/ 8324 w 16016"/>
              <a:gd name="T81" fmla="*/ 3489 h 8976"/>
              <a:gd name="T82" fmla="*/ 8403 w 16016"/>
              <a:gd name="T83" fmla="*/ 3002 h 8976"/>
              <a:gd name="T84" fmla="*/ 8624 w 16016"/>
              <a:gd name="T85" fmla="*/ 2569 h 8976"/>
              <a:gd name="T86" fmla="*/ 8987 w 16016"/>
              <a:gd name="T87" fmla="*/ 2241 h 8976"/>
              <a:gd name="T88" fmla="*/ 9496 w 16016"/>
              <a:gd name="T89" fmla="*/ 2053 h 8976"/>
              <a:gd name="T90" fmla="*/ 10056 w 16016"/>
              <a:gd name="T91" fmla="*/ 2044 h 8976"/>
              <a:gd name="T92" fmla="*/ 10483 w 16016"/>
              <a:gd name="T93" fmla="*/ 2162 h 8976"/>
              <a:gd name="T94" fmla="*/ 10827 w 16016"/>
              <a:gd name="T95" fmla="*/ 2394 h 8976"/>
              <a:gd name="T96" fmla="*/ 11078 w 16016"/>
              <a:gd name="T97" fmla="*/ 2704 h 8976"/>
              <a:gd name="T98" fmla="*/ 11235 w 16016"/>
              <a:gd name="T99" fmla="*/ 3072 h 8976"/>
              <a:gd name="T100" fmla="*/ 10358 w 16016"/>
              <a:gd name="T101" fmla="*/ 3056 h 8976"/>
              <a:gd name="T102" fmla="*/ 10021 w 16016"/>
              <a:gd name="T103" fmla="*/ 2822 h 8976"/>
              <a:gd name="T104" fmla="*/ 9644 w 16016"/>
              <a:gd name="T105" fmla="*/ 2811 h 8976"/>
              <a:gd name="T106" fmla="*/ 9334 w 16016"/>
              <a:gd name="T107" fmla="*/ 2973 h 8976"/>
              <a:gd name="T108" fmla="*/ 9134 w 16016"/>
              <a:gd name="T109" fmla="*/ 3372 h 8976"/>
              <a:gd name="T110" fmla="*/ 9176 w 16016"/>
              <a:gd name="T111" fmla="*/ 5750 h 8976"/>
              <a:gd name="T112" fmla="*/ 9477 w 16016"/>
              <a:gd name="T113" fmla="*/ 6107 h 8976"/>
              <a:gd name="T114" fmla="*/ 9769 w 16016"/>
              <a:gd name="T115" fmla="*/ 6180 h 8976"/>
              <a:gd name="T116" fmla="*/ 10179 w 16016"/>
              <a:gd name="T117" fmla="*/ 6085 h 8976"/>
              <a:gd name="T118" fmla="*/ 10435 w 16016"/>
              <a:gd name="T119" fmla="*/ 5782 h 8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016" h="8976">
                <a:moveTo>
                  <a:pt x="0" y="0"/>
                </a:moveTo>
                <a:lnTo>
                  <a:pt x="16016" y="0"/>
                </a:lnTo>
                <a:lnTo>
                  <a:pt x="16016" y="8976"/>
                </a:lnTo>
                <a:lnTo>
                  <a:pt x="0" y="8976"/>
                </a:lnTo>
                <a:lnTo>
                  <a:pt x="0" y="0"/>
                </a:lnTo>
                <a:close/>
                <a:moveTo>
                  <a:pt x="13459" y="2788"/>
                </a:moveTo>
                <a:lnTo>
                  <a:pt x="13459" y="6905"/>
                </a:lnTo>
                <a:lnTo>
                  <a:pt x="12668" y="6905"/>
                </a:lnTo>
                <a:lnTo>
                  <a:pt x="12668" y="2788"/>
                </a:lnTo>
                <a:lnTo>
                  <a:pt x="11605" y="2788"/>
                </a:lnTo>
                <a:lnTo>
                  <a:pt x="11605" y="2064"/>
                </a:lnTo>
                <a:lnTo>
                  <a:pt x="14531" y="2064"/>
                </a:lnTo>
                <a:lnTo>
                  <a:pt x="14531" y="2788"/>
                </a:lnTo>
                <a:lnTo>
                  <a:pt x="13459" y="2788"/>
                </a:lnTo>
                <a:close/>
                <a:moveTo>
                  <a:pt x="2437" y="2802"/>
                </a:moveTo>
                <a:lnTo>
                  <a:pt x="2437" y="6905"/>
                </a:lnTo>
                <a:lnTo>
                  <a:pt x="1646" y="6905"/>
                </a:lnTo>
                <a:lnTo>
                  <a:pt x="1646" y="2064"/>
                </a:lnTo>
                <a:lnTo>
                  <a:pt x="4307" y="2064"/>
                </a:lnTo>
                <a:lnTo>
                  <a:pt x="4307" y="2802"/>
                </a:lnTo>
                <a:lnTo>
                  <a:pt x="2437" y="2802"/>
                </a:lnTo>
                <a:close/>
                <a:moveTo>
                  <a:pt x="6719" y="3512"/>
                </a:moveTo>
                <a:lnTo>
                  <a:pt x="6719" y="3489"/>
                </a:lnTo>
                <a:lnTo>
                  <a:pt x="6717" y="3465"/>
                </a:lnTo>
                <a:lnTo>
                  <a:pt x="6715" y="3440"/>
                </a:lnTo>
                <a:lnTo>
                  <a:pt x="6712" y="3414"/>
                </a:lnTo>
                <a:lnTo>
                  <a:pt x="6707" y="3387"/>
                </a:lnTo>
                <a:lnTo>
                  <a:pt x="6702" y="3359"/>
                </a:lnTo>
                <a:lnTo>
                  <a:pt x="6696" y="3330"/>
                </a:lnTo>
                <a:lnTo>
                  <a:pt x="6688" y="3301"/>
                </a:lnTo>
                <a:lnTo>
                  <a:pt x="6680" y="3269"/>
                </a:lnTo>
                <a:lnTo>
                  <a:pt x="6670" y="3239"/>
                </a:lnTo>
                <a:lnTo>
                  <a:pt x="6659" y="3210"/>
                </a:lnTo>
                <a:lnTo>
                  <a:pt x="6646" y="3180"/>
                </a:lnTo>
                <a:lnTo>
                  <a:pt x="6632" y="3151"/>
                </a:lnTo>
                <a:lnTo>
                  <a:pt x="6616" y="3122"/>
                </a:lnTo>
                <a:lnTo>
                  <a:pt x="6599" y="3094"/>
                </a:lnTo>
                <a:lnTo>
                  <a:pt x="6581" y="3066"/>
                </a:lnTo>
                <a:lnTo>
                  <a:pt x="6561" y="3038"/>
                </a:lnTo>
                <a:lnTo>
                  <a:pt x="6539" y="3012"/>
                </a:lnTo>
                <a:lnTo>
                  <a:pt x="6516" y="2987"/>
                </a:lnTo>
                <a:lnTo>
                  <a:pt x="6490" y="2962"/>
                </a:lnTo>
                <a:lnTo>
                  <a:pt x="6464" y="2939"/>
                </a:lnTo>
                <a:lnTo>
                  <a:pt x="6436" y="2917"/>
                </a:lnTo>
                <a:lnTo>
                  <a:pt x="6406" y="2895"/>
                </a:lnTo>
                <a:lnTo>
                  <a:pt x="6375" y="2875"/>
                </a:lnTo>
                <a:lnTo>
                  <a:pt x="6358" y="2865"/>
                </a:lnTo>
                <a:lnTo>
                  <a:pt x="6341" y="2856"/>
                </a:lnTo>
                <a:lnTo>
                  <a:pt x="6324" y="2848"/>
                </a:lnTo>
                <a:lnTo>
                  <a:pt x="6306" y="2840"/>
                </a:lnTo>
                <a:lnTo>
                  <a:pt x="6287" y="2833"/>
                </a:lnTo>
                <a:lnTo>
                  <a:pt x="6268" y="2826"/>
                </a:lnTo>
                <a:lnTo>
                  <a:pt x="6248" y="2820"/>
                </a:lnTo>
                <a:lnTo>
                  <a:pt x="6228" y="2815"/>
                </a:lnTo>
                <a:lnTo>
                  <a:pt x="6207" y="2810"/>
                </a:lnTo>
                <a:lnTo>
                  <a:pt x="6186" y="2806"/>
                </a:lnTo>
                <a:lnTo>
                  <a:pt x="6164" y="2803"/>
                </a:lnTo>
                <a:lnTo>
                  <a:pt x="6141" y="2800"/>
                </a:lnTo>
                <a:lnTo>
                  <a:pt x="6118" y="2798"/>
                </a:lnTo>
                <a:lnTo>
                  <a:pt x="6094" y="2796"/>
                </a:lnTo>
                <a:lnTo>
                  <a:pt x="6070" y="2795"/>
                </a:lnTo>
                <a:lnTo>
                  <a:pt x="6045" y="2795"/>
                </a:lnTo>
                <a:lnTo>
                  <a:pt x="6020" y="2795"/>
                </a:lnTo>
                <a:lnTo>
                  <a:pt x="5996" y="2796"/>
                </a:lnTo>
                <a:lnTo>
                  <a:pt x="5972" y="2797"/>
                </a:lnTo>
                <a:lnTo>
                  <a:pt x="5948" y="2799"/>
                </a:lnTo>
                <a:lnTo>
                  <a:pt x="5926" y="2802"/>
                </a:lnTo>
                <a:lnTo>
                  <a:pt x="5903" y="2805"/>
                </a:lnTo>
                <a:lnTo>
                  <a:pt x="5881" y="2809"/>
                </a:lnTo>
                <a:lnTo>
                  <a:pt x="5860" y="2813"/>
                </a:lnTo>
                <a:lnTo>
                  <a:pt x="5839" y="2818"/>
                </a:lnTo>
                <a:lnTo>
                  <a:pt x="5819" y="2823"/>
                </a:lnTo>
                <a:lnTo>
                  <a:pt x="5799" y="2829"/>
                </a:lnTo>
                <a:lnTo>
                  <a:pt x="5780" y="2836"/>
                </a:lnTo>
                <a:lnTo>
                  <a:pt x="5761" y="2843"/>
                </a:lnTo>
                <a:lnTo>
                  <a:pt x="5743" y="2851"/>
                </a:lnTo>
                <a:lnTo>
                  <a:pt x="5725" y="2859"/>
                </a:lnTo>
                <a:lnTo>
                  <a:pt x="5708" y="2868"/>
                </a:lnTo>
                <a:lnTo>
                  <a:pt x="5675" y="2887"/>
                </a:lnTo>
                <a:lnTo>
                  <a:pt x="5644" y="2906"/>
                </a:lnTo>
                <a:lnTo>
                  <a:pt x="5615" y="2927"/>
                </a:lnTo>
                <a:lnTo>
                  <a:pt x="5587" y="2949"/>
                </a:lnTo>
                <a:lnTo>
                  <a:pt x="5561" y="2973"/>
                </a:lnTo>
                <a:lnTo>
                  <a:pt x="5536" y="2997"/>
                </a:lnTo>
                <a:lnTo>
                  <a:pt x="5525" y="3009"/>
                </a:lnTo>
                <a:lnTo>
                  <a:pt x="5514" y="3022"/>
                </a:lnTo>
                <a:lnTo>
                  <a:pt x="5502" y="3035"/>
                </a:lnTo>
                <a:lnTo>
                  <a:pt x="5492" y="3048"/>
                </a:lnTo>
                <a:lnTo>
                  <a:pt x="5473" y="3076"/>
                </a:lnTo>
                <a:lnTo>
                  <a:pt x="5455" y="3104"/>
                </a:lnTo>
                <a:lnTo>
                  <a:pt x="5438" y="3132"/>
                </a:lnTo>
                <a:lnTo>
                  <a:pt x="5423" y="3161"/>
                </a:lnTo>
                <a:lnTo>
                  <a:pt x="5410" y="3191"/>
                </a:lnTo>
                <a:lnTo>
                  <a:pt x="5398" y="3221"/>
                </a:lnTo>
                <a:lnTo>
                  <a:pt x="5387" y="3251"/>
                </a:lnTo>
                <a:lnTo>
                  <a:pt x="5378" y="3282"/>
                </a:lnTo>
                <a:lnTo>
                  <a:pt x="5369" y="3314"/>
                </a:lnTo>
                <a:lnTo>
                  <a:pt x="5362" y="3345"/>
                </a:lnTo>
                <a:lnTo>
                  <a:pt x="5356" y="3375"/>
                </a:lnTo>
                <a:lnTo>
                  <a:pt x="5351" y="3405"/>
                </a:lnTo>
                <a:lnTo>
                  <a:pt x="5348" y="3434"/>
                </a:lnTo>
                <a:lnTo>
                  <a:pt x="5345" y="3463"/>
                </a:lnTo>
                <a:lnTo>
                  <a:pt x="5343" y="3491"/>
                </a:lnTo>
                <a:lnTo>
                  <a:pt x="5343" y="3519"/>
                </a:lnTo>
                <a:lnTo>
                  <a:pt x="5350" y="5374"/>
                </a:lnTo>
                <a:lnTo>
                  <a:pt x="5350" y="5417"/>
                </a:lnTo>
                <a:lnTo>
                  <a:pt x="5352" y="5459"/>
                </a:lnTo>
                <a:lnTo>
                  <a:pt x="5355" y="5500"/>
                </a:lnTo>
                <a:lnTo>
                  <a:pt x="5360" y="5540"/>
                </a:lnTo>
                <a:lnTo>
                  <a:pt x="5365" y="5580"/>
                </a:lnTo>
                <a:lnTo>
                  <a:pt x="5372" y="5618"/>
                </a:lnTo>
                <a:lnTo>
                  <a:pt x="5380" y="5656"/>
                </a:lnTo>
                <a:lnTo>
                  <a:pt x="5390" y="5694"/>
                </a:lnTo>
                <a:lnTo>
                  <a:pt x="5400" y="5730"/>
                </a:lnTo>
                <a:lnTo>
                  <a:pt x="5412" y="5765"/>
                </a:lnTo>
                <a:lnTo>
                  <a:pt x="5425" y="5800"/>
                </a:lnTo>
                <a:lnTo>
                  <a:pt x="5440" y="5833"/>
                </a:lnTo>
                <a:lnTo>
                  <a:pt x="5455" y="5866"/>
                </a:lnTo>
                <a:lnTo>
                  <a:pt x="5472" y="5898"/>
                </a:lnTo>
                <a:lnTo>
                  <a:pt x="5490" y="5929"/>
                </a:lnTo>
                <a:lnTo>
                  <a:pt x="5510" y="5959"/>
                </a:lnTo>
                <a:lnTo>
                  <a:pt x="5521" y="5974"/>
                </a:lnTo>
                <a:lnTo>
                  <a:pt x="5531" y="5988"/>
                </a:lnTo>
                <a:lnTo>
                  <a:pt x="5542" y="6001"/>
                </a:lnTo>
                <a:lnTo>
                  <a:pt x="5554" y="6014"/>
                </a:lnTo>
                <a:lnTo>
                  <a:pt x="5566" y="6027"/>
                </a:lnTo>
                <a:lnTo>
                  <a:pt x="5578" y="6039"/>
                </a:lnTo>
                <a:lnTo>
                  <a:pt x="5591" y="6051"/>
                </a:lnTo>
                <a:lnTo>
                  <a:pt x="5604" y="6062"/>
                </a:lnTo>
                <a:lnTo>
                  <a:pt x="5618" y="6073"/>
                </a:lnTo>
                <a:lnTo>
                  <a:pt x="5632" y="6084"/>
                </a:lnTo>
                <a:lnTo>
                  <a:pt x="5646" y="6093"/>
                </a:lnTo>
                <a:lnTo>
                  <a:pt x="5661" y="6103"/>
                </a:lnTo>
                <a:lnTo>
                  <a:pt x="5677" y="6112"/>
                </a:lnTo>
                <a:lnTo>
                  <a:pt x="5693" y="6120"/>
                </a:lnTo>
                <a:lnTo>
                  <a:pt x="5709" y="6128"/>
                </a:lnTo>
                <a:lnTo>
                  <a:pt x="5726" y="6136"/>
                </a:lnTo>
                <a:lnTo>
                  <a:pt x="5743" y="6143"/>
                </a:lnTo>
                <a:lnTo>
                  <a:pt x="5760" y="6150"/>
                </a:lnTo>
                <a:lnTo>
                  <a:pt x="5778" y="6156"/>
                </a:lnTo>
                <a:lnTo>
                  <a:pt x="5797" y="6162"/>
                </a:lnTo>
                <a:lnTo>
                  <a:pt x="5816" y="6167"/>
                </a:lnTo>
                <a:lnTo>
                  <a:pt x="5835" y="6172"/>
                </a:lnTo>
                <a:lnTo>
                  <a:pt x="5855" y="6176"/>
                </a:lnTo>
                <a:lnTo>
                  <a:pt x="5875" y="6180"/>
                </a:lnTo>
                <a:lnTo>
                  <a:pt x="5895" y="6184"/>
                </a:lnTo>
                <a:lnTo>
                  <a:pt x="5917" y="6187"/>
                </a:lnTo>
                <a:lnTo>
                  <a:pt x="5938" y="6189"/>
                </a:lnTo>
                <a:lnTo>
                  <a:pt x="5960" y="6191"/>
                </a:lnTo>
                <a:lnTo>
                  <a:pt x="6005" y="6194"/>
                </a:lnTo>
                <a:lnTo>
                  <a:pt x="6052" y="6195"/>
                </a:lnTo>
                <a:lnTo>
                  <a:pt x="6085" y="6194"/>
                </a:lnTo>
                <a:lnTo>
                  <a:pt x="6118" y="6192"/>
                </a:lnTo>
                <a:lnTo>
                  <a:pt x="6151" y="6189"/>
                </a:lnTo>
                <a:lnTo>
                  <a:pt x="6183" y="6184"/>
                </a:lnTo>
                <a:lnTo>
                  <a:pt x="6214" y="6177"/>
                </a:lnTo>
                <a:lnTo>
                  <a:pt x="6245" y="6169"/>
                </a:lnTo>
                <a:lnTo>
                  <a:pt x="6275" y="6160"/>
                </a:lnTo>
                <a:lnTo>
                  <a:pt x="6304" y="6149"/>
                </a:lnTo>
                <a:lnTo>
                  <a:pt x="6334" y="6137"/>
                </a:lnTo>
                <a:lnTo>
                  <a:pt x="6362" y="6123"/>
                </a:lnTo>
                <a:lnTo>
                  <a:pt x="6390" y="6108"/>
                </a:lnTo>
                <a:lnTo>
                  <a:pt x="6417" y="6092"/>
                </a:lnTo>
                <a:lnTo>
                  <a:pt x="6444" y="6074"/>
                </a:lnTo>
                <a:lnTo>
                  <a:pt x="6470" y="6054"/>
                </a:lnTo>
                <a:lnTo>
                  <a:pt x="6496" y="6033"/>
                </a:lnTo>
                <a:lnTo>
                  <a:pt x="6522" y="6011"/>
                </a:lnTo>
                <a:lnTo>
                  <a:pt x="6546" y="5987"/>
                </a:lnTo>
                <a:lnTo>
                  <a:pt x="6568" y="5963"/>
                </a:lnTo>
                <a:lnTo>
                  <a:pt x="6589" y="5937"/>
                </a:lnTo>
                <a:lnTo>
                  <a:pt x="6608" y="5910"/>
                </a:lnTo>
                <a:lnTo>
                  <a:pt x="6626" y="5882"/>
                </a:lnTo>
                <a:lnTo>
                  <a:pt x="6642" y="5853"/>
                </a:lnTo>
                <a:lnTo>
                  <a:pt x="6657" y="5823"/>
                </a:lnTo>
                <a:lnTo>
                  <a:pt x="6670" y="5792"/>
                </a:lnTo>
                <a:lnTo>
                  <a:pt x="6682" y="5760"/>
                </a:lnTo>
                <a:lnTo>
                  <a:pt x="6692" y="5727"/>
                </a:lnTo>
                <a:lnTo>
                  <a:pt x="6700" y="5693"/>
                </a:lnTo>
                <a:lnTo>
                  <a:pt x="6707" y="5657"/>
                </a:lnTo>
                <a:lnTo>
                  <a:pt x="6712" y="5621"/>
                </a:lnTo>
                <a:lnTo>
                  <a:pt x="6716" y="5583"/>
                </a:lnTo>
                <a:lnTo>
                  <a:pt x="6719" y="5545"/>
                </a:lnTo>
                <a:lnTo>
                  <a:pt x="6719" y="5506"/>
                </a:lnTo>
                <a:lnTo>
                  <a:pt x="6719" y="3512"/>
                </a:lnTo>
                <a:close/>
                <a:moveTo>
                  <a:pt x="7526" y="5437"/>
                </a:moveTo>
                <a:lnTo>
                  <a:pt x="7526" y="5480"/>
                </a:lnTo>
                <a:lnTo>
                  <a:pt x="7524" y="5523"/>
                </a:lnTo>
                <a:lnTo>
                  <a:pt x="7522" y="5565"/>
                </a:lnTo>
                <a:lnTo>
                  <a:pt x="7519" y="5606"/>
                </a:lnTo>
                <a:lnTo>
                  <a:pt x="7515" y="5647"/>
                </a:lnTo>
                <a:lnTo>
                  <a:pt x="7511" y="5689"/>
                </a:lnTo>
                <a:lnTo>
                  <a:pt x="7504" y="5729"/>
                </a:lnTo>
                <a:lnTo>
                  <a:pt x="7498" y="5768"/>
                </a:lnTo>
                <a:lnTo>
                  <a:pt x="7491" y="5807"/>
                </a:lnTo>
                <a:lnTo>
                  <a:pt x="7483" y="5845"/>
                </a:lnTo>
                <a:lnTo>
                  <a:pt x="7474" y="5883"/>
                </a:lnTo>
                <a:lnTo>
                  <a:pt x="7464" y="5920"/>
                </a:lnTo>
                <a:lnTo>
                  <a:pt x="7454" y="5957"/>
                </a:lnTo>
                <a:lnTo>
                  <a:pt x="7443" y="5993"/>
                </a:lnTo>
                <a:lnTo>
                  <a:pt x="7430" y="6028"/>
                </a:lnTo>
                <a:lnTo>
                  <a:pt x="7417" y="6063"/>
                </a:lnTo>
                <a:lnTo>
                  <a:pt x="7403" y="6098"/>
                </a:lnTo>
                <a:lnTo>
                  <a:pt x="7389" y="6131"/>
                </a:lnTo>
                <a:lnTo>
                  <a:pt x="7374" y="6165"/>
                </a:lnTo>
                <a:lnTo>
                  <a:pt x="7358" y="6197"/>
                </a:lnTo>
                <a:lnTo>
                  <a:pt x="7341" y="6229"/>
                </a:lnTo>
                <a:lnTo>
                  <a:pt x="7324" y="6260"/>
                </a:lnTo>
                <a:lnTo>
                  <a:pt x="7306" y="6292"/>
                </a:lnTo>
                <a:lnTo>
                  <a:pt x="7287" y="6322"/>
                </a:lnTo>
                <a:lnTo>
                  <a:pt x="7268" y="6351"/>
                </a:lnTo>
                <a:lnTo>
                  <a:pt x="7247" y="6380"/>
                </a:lnTo>
                <a:lnTo>
                  <a:pt x="7227" y="6408"/>
                </a:lnTo>
                <a:lnTo>
                  <a:pt x="7205" y="6436"/>
                </a:lnTo>
                <a:lnTo>
                  <a:pt x="7183" y="6463"/>
                </a:lnTo>
                <a:lnTo>
                  <a:pt x="7160" y="6489"/>
                </a:lnTo>
                <a:lnTo>
                  <a:pt x="7136" y="6515"/>
                </a:lnTo>
                <a:lnTo>
                  <a:pt x="7112" y="6540"/>
                </a:lnTo>
                <a:lnTo>
                  <a:pt x="7087" y="6564"/>
                </a:lnTo>
                <a:lnTo>
                  <a:pt x="7061" y="6588"/>
                </a:lnTo>
                <a:lnTo>
                  <a:pt x="7035" y="6611"/>
                </a:lnTo>
                <a:lnTo>
                  <a:pt x="7008" y="6633"/>
                </a:lnTo>
                <a:lnTo>
                  <a:pt x="6981" y="6654"/>
                </a:lnTo>
                <a:lnTo>
                  <a:pt x="6953" y="6675"/>
                </a:lnTo>
                <a:lnTo>
                  <a:pt x="6925" y="6695"/>
                </a:lnTo>
                <a:lnTo>
                  <a:pt x="6896" y="6714"/>
                </a:lnTo>
                <a:lnTo>
                  <a:pt x="6866" y="6733"/>
                </a:lnTo>
                <a:lnTo>
                  <a:pt x="6836" y="6751"/>
                </a:lnTo>
                <a:lnTo>
                  <a:pt x="6805" y="6768"/>
                </a:lnTo>
                <a:lnTo>
                  <a:pt x="6774" y="6784"/>
                </a:lnTo>
                <a:lnTo>
                  <a:pt x="6742" y="6799"/>
                </a:lnTo>
                <a:lnTo>
                  <a:pt x="6710" y="6814"/>
                </a:lnTo>
                <a:lnTo>
                  <a:pt x="6677" y="6828"/>
                </a:lnTo>
                <a:lnTo>
                  <a:pt x="6643" y="6842"/>
                </a:lnTo>
                <a:lnTo>
                  <a:pt x="6609" y="6854"/>
                </a:lnTo>
                <a:lnTo>
                  <a:pt x="6575" y="6866"/>
                </a:lnTo>
                <a:lnTo>
                  <a:pt x="6540" y="6877"/>
                </a:lnTo>
                <a:lnTo>
                  <a:pt x="6503" y="6888"/>
                </a:lnTo>
                <a:lnTo>
                  <a:pt x="6467" y="6898"/>
                </a:lnTo>
                <a:lnTo>
                  <a:pt x="6431" y="6906"/>
                </a:lnTo>
                <a:lnTo>
                  <a:pt x="6395" y="6914"/>
                </a:lnTo>
                <a:lnTo>
                  <a:pt x="6357" y="6921"/>
                </a:lnTo>
                <a:lnTo>
                  <a:pt x="6320" y="6927"/>
                </a:lnTo>
                <a:lnTo>
                  <a:pt x="6282" y="6932"/>
                </a:lnTo>
                <a:lnTo>
                  <a:pt x="6244" y="6937"/>
                </a:lnTo>
                <a:lnTo>
                  <a:pt x="6205" y="6940"/>
                </a:lnTo>
                <a:lnTo>
                  <a:pt x="6165" y="6943"/>
                </a:lnTo>
                <a:lnTo>
                  <a:pt x="6126" y="6945"/>
                </a:lnTo>
                <a:lnTo>
                  <a:pt x="6086" y="6946"/>
                </a:lnTo>
                <a:lnTo>
                  <a:pt x="6045" y="6947"/>
                </a:lnTo>
                <a:lnTo>
                  <a:pt x="5996" y="6946"/>
                </a:lnTo>
                <a:lnTo>
                  <a:pt x="5948" y="6945"/>
                </a:lnTo>
                <a:lnTo>
                  <a:pt x="5900" y="6942"/>
                </a:lnTo>
                <a:lnTo>
                  <a:pt x="5854" y="6939"/>
                </a:lnTo>
                <a:lnTo>
                  <a:pt x="5808" y="6934"/>
                </a:lnTo>
                <a:lnTo>
                  <a:pt x="5764" y="6929"/>
                </a:lnTo>
                <a:lnTo>
                  <a:pt x="5720" y="6922"/>
                </a:lnTo>
                <a:lnTo>
                  <a:pt x="5677" y="6915"/>
                </a:lnTo>
                <a:lnTo>
                  <a:pt x="5635" y="6906"/>
                </a:lnTo>
                <a:lnTo>
                  <a:pt x="5594" y="6897"/>
                </a:lnTo>
                <a:lnTo>
                  <a:pt x="5553" y="6886"/>
                </a:lnTo>
                <a:lnTo>
                  <a:pt x="5514" y="6874"/>
                </a:lnTo>
                <a:lnTo>
                  <a:pt x="5474" y="6861"/>
                </a:lnTo>
                <a:lnTo>
                  <a:pt x="5437" y="6848"/>
                </a:lnTo>
                <a:lnTo>
                  <a:pt x="5400" y="6833"/>
                </a:lnTo>
                <a:lnTo>
                  <a:pt x="5364" y="6818"/>
                </a:lnTo>
                <a:lnTo>
                  <a:pt x="5329" y="6801"/>
                </a:lnTo>
                <a:lnTo>
                  <a:pt x="5294" y="6784"/>
                </a:lnTo>
                <a:lnTo>
                  <a:pt x="5261" y="6766"/>
                </a:lnTo>
                <a:lnTo>
                  <a:pt x="5228" y="6748"/>
                </a:lnTo>
                <a:lnTo>
                  <a:pt x="5196" y="6729"/>
                </a:lnTo>
                <a:lnTo>
                  <a:pt x="5165" y="6709"/>
                </a:lnTo>
                <a:lnTo>
                  <a:pt x="5135" y="6688"/>
                </a:lnTo>
                <a:lnTo>
                  <a:pt x="5106" y="6667"/>
                </a:lnTo>
                <a:lnTo>
                  <a:pt x="5077" y="6644"/>
                </a:lnTo>
                <a:lnTo>
                  <a:pt x="5050" y="6622"/>
                </a:lnTo>
                <a:lnTo>
                  <a:pt x="5023" y="6598"/>
                </a:lnTo>
                <a:lnTo>
                  <a:pt x="4997" y="6574"/>
                </a:lnTo>
                <a:lnTo>
                  <a:pt x="4972" y="6549"/>
                </a:lnTo>
                <a:lnTo>
                  <a:pt x="4948" y="6524"/>
                </a:lnTo>
                <a:lnTo>
                  <a:pt x="4924" y="6497"/>
                </a:lnTo>
                <a:lnTo>
                  <a:pt x="4902" y="6470"/>
                </a:lnTo>
                <a:lnTo>
                  <a:pt x="4880" y="6443"/>
                </a:lnTo>
                <a:lnTo>
                  <a:pt x="4859" y="6415"/>
                </a:lnTo>
                <a:lnTo>
                  <a:pt x="4839" y="6386"/>
                </a:lnTo>
                <a:lnTo>
                  <a:pt x="4819" y="6357"/>
                </a:lnTo>
                <a:lnTo>
                  <a:pt x="4800" y="6327"/>
                </a:lnTo>
                <a:lnTo>
                  <a:pt x="4782" y="6297"/>
                </a:lnTo>
                <a:lnTo>
                  <a:pt x="4765" y="6265"/>
                </a:lnTo>
                <a:lnTo>
                  <a:pt x="4748" y="6233"/>
                </a:lnTo>
                <a:lnTo>
                  <a:pt x="4732" y="6201"/>
                </a:lnTo>
                <a:lnTo>
                  <a:pt x="4717" y="6169"/>
                </a:lnTo>
                <a:lnTo>
                  <a:pt x="4703" y="6136"/>
                </a:lnTo>
                <a:lnTo>
                  <a:pt x="4689" y="6102"/>
                </a:lnTo>
                <a:lnTo>
                  <a:pt x="4676" y="6068"/>
                </a:lnTo>
                <a:lnTo>
                  <a:pt x="4664" y="6033"/>
                </a:lnTo>
                <a:lnTo>
                  <a:pt x="4652" y="5998"/>
                </a:lnTo>
                <a:lnTo>
                  <a:pt x="4641" y="5962"/>
                </a:lnTo>
                <a:lnTo>
                  <a:pt x="4631" y="5926"/>
                </a:lnTo>
                <a:lnTo>
                  <a:pt x="4622" y="5890"/>
                </a:lnTo>
                <a:lnTo>
                  <a:pt x="4613" y="5853"/>
                </a:lnTo>
                <a:lnTo>
                  <a:pt x="4605" y="5816"/>
                </a:lnTo>
                <a:lnTo>
                  <a:pt x="4598" y="5779"/>
                </a:lnTo>
                <a:lnTo>
                  <a:pt x="4591" y="5742"/>
                </a:lnTo>
                <a:lnTo>
                  <a:pt x="4585" y="5704"/>
                </a:lnTo>
                <a:lnTo>
                  <a:pt x="4579" y="5666"/>
                </a:lnTo>
                <a:lnTo>
                  <a:pt x="4574" y="5628"/>
                </a:lnTo>
                <a:lnTo>
                  <a:pt x="4570" y="5589"/>
                </a:lnTo>
                <a:lnTo>
                  <a:pt x="4566" y="5551"/>
                </a:lnTo>
                <a:lnTo>
                  <a:pt x="4563" y="5512"/>
                </a:lnTo>
                <a:lnTo>
                  <a:pt x="4561" y="5473"/>
                </a:lnTo>
                <a:lnTo>
                  <a:pt x="4559" y="5433"/>
                </a:lnTo>
                <a:lnTo>
                  <a:pt x="4558" y="5394"/>
                </a:lnTo>
                <a:lnTo>
                  <a:pt x="4558" y="5354"/>
                </a:lnTo>
                <a:lnTo>
                  <a:pt x="4558" y="3525"/>
                </a:lnTo>
                <a:lnTo>
                  <a:pt x="4558" y="3493"/>
                </a:lnTo>
                <a:lnTo>
                  <a:pt x="4559" y="3461"/>
                </a:lnTo>
                <a:lnTo>
                  <a:pt x="4561" y="3428"/>
                </a:lnTo>
                <a:lnTo>
                  <a:pt x="4563" y="3396"/>
                </a:lnTo>
                <a:lnTo>
                  <a:pt x="4566" y="3364"/>
                </a:lnTo>
                <a:lnTo>
                  <a:pt x="4569" y="3331"/>
                </a:lnTo>
                <a:lnTo>
                  <a:pt x="4573" y="3299"/>
                </a:lnTo>
                <a:lnTo>
                  <a:pt x="4578" y="3265"/>
                </a:lnTo>
                <a:lnTo>
                  <a:pt x="4583" y="3233"/>
                </a:lnTo>
                <a:lnTo>
                  <a:pt x="4589" y="3200"/>
                </a:lnTo>
                <a:lnTo>
                  <a:pt x="4596" y="3167"/>
                </a:lnTo>
                <a:lnTo>
                  <a:pt x="4603" y="3135"/>
                </a:lnTo>
                <a:lnTo>
                  <a:pt x="4611" y="3102"/>
                </a:lnTo>
                <a:lnTo>
                  <a:pt x="4619" y="3069"/>
                </a:lnTo>
                <a:lnTo>
                  <a:pt x="4628" y="3036"/>
                </a:lnTo>
                <a:lnTo>
                  <a:pt x="4638" y="3003"/>
                </a:lnTo>
                <a:lnTo>
                  <a:pt x="4648" y="2970"/>
                </a:lnTo>
                <a:lnTo>
                  <a:pt x="4659" y="2938"/>
                </a:lnTo>
                <a:lnTo>
                  <a:pt x="4671" y="2906"/>
                </a:lnTo>
                <a:lnTo>
                  <a:pt x="4684" y="2874"/>
                </a:lnTo>
                <a:lnTo>
                  <a:pt x="4697" y="2843"/>
                </a:lnTo>
                <a:lnTo>
                  <a:pt x="4712" y="2812"/>
                </a:lnTo>
                <a:lnTo>
                  <a:pt x="4727" y="2782"/>
                </a:lnTo>
                <a:lnTo>
                  <a:pt x="4742" y="2752"/>
                </a:lnTo>
                <a:lnTo>
                  <a:pt x="4759" y="2722"/>
                </a:lnTo>
                <a:lnTo>
                  <a:pt x="4776" y="2691"/>
                </a:lnTo>
                <a:lnTo>
                  <a:pt x="4794" y="2662"/>
                </a:lnTo>
                <a:lnTo>
                  <a:pt x="4812" y="2634"/>
                </a:lnTo>
                <a:lnTo>
                  <a:pt x="4832" y="2606"/>
                </a:lnTo>
                <a:lnTo>
                  <a:pt x="4852" y="2578"/>
                </a:lnTo>
                <a:lnTo>
                  <a:pt x="4873" y="2550"/>
                </a:lnTo>
                <a:lnTo>
                  <a:pt x="4895" y="2523"/>
                </a:lnTo>
                <a:lnTo>
                  <a:pt x="4917" y="2497"/>
                </a:lnTo>
                <a:lnTo>
                  <a:pt x="4941" y="2470"/>
                </a:lnTo>
                <a:lnTo>
                  <a:pt x="4965" y="2445"/>
                </a:lnTo>
                <a:lnTo>
                  <a:pt x="4990" y="2420"/>
                </a:lnTo>
                <a:lnTo>
                  <a:pt x="5016" y="2396"/>
                </a:lnTo>
                <a:lnTo>
                  <a:pt x="5042" y="2372"/>
                </a:lnTo>
                <a:lnTo>
                  <a:pt x="5070" y="2349"/>
                </a:lnTo>
                <a:lnTo>
                  <a:pt x="5098" y="2327"/>
                </a:lnTo>
                <a:lnTo>
                  <a:pt x="5127" y="2305"/>
                </a:lnTo>
                <a:lnTo>
                  <a:pt x="5157" y="2284"/>
                </a:lnTo>
                <a:lnTo>
                  <a:pt x="5188" y="2263"/>
                </a:lnTo>
                <a:lnTo>
                  <a:pt x="5219" y="2243"/>
                </a:lnTo>
                <a:lnTo>
                  <a:pt x="5251" y="2224"/>
                </a:lnTo>
                <a:lnTo>
                  <a:pt x="5284" y="2205"/>
                </a:lnTo>
                <a:lnTo>
                  <a:pt x="5318" y="2187"/>
                </a:lnTo>
                <a:lnTo>
                  <a:pt x="5353" y="2169"/>
                </a:lnTo>
                <a:lnTo>
                  <a:pt x="5389" y="2152"/>
                </a:lnTo>
                <a:lnTo>
                  <a:pt x="5425" y="2136"/>
                </a:lnTo>
                <a:lnTo>
                  <a:pt x="5463" y="2122"/>
                </a:lnTo>
                <a:lnTo>
                  <a:pt x="5502" y="2108"/>
                </a:lnTo>
                <a:lnTo>
                  <a:pt x="5542" y="2096"/>
                </a:lnTo>
                <a:lnTo>
                  <a:pt x="5583" y="2083"/>
                </a:lnTo>
                <a:lnTo>
                  <a:pt x="5625" y="2073"/>
                </a:lnTo>
                <a:lnTo>
                  <a:pt x="5667" y="2064"/>
                </a:lnTo>
                <a:lnTo>
                  <a:pt x="5711" y="2056"/>
                </a:lnTo>
                <a:lnTo>
                  <a:pt x="5756" y="2049"/>
                </a:lnTo>
                <a:lnTo>
                  <a:pt x="5802" y="2043"/>
                </a:lnTo>
                <a:lnTo>
                  <a:pt x="5848" y="2038"/>
                </a:lnTo>
                <a:lnTo>
                  <a:pt x="5896" y="2034"/>
                </a:lnTo>
                <a:lnTo>
                  <a:pt x="5945" y="2031"/>
                </a:lnTo>
                <a:lnTo>
                  <a:pt x="5994" y="2030"/>
                </a:lnTo>
                <a:lnTo>
                  <a:pt x="6045" y="2029"/>
                </a:lnTo>
                <a:lnTo>
                  <a:pt x="6092" y="2029"/>
                </a:lnTo>
                <a:lnTo>
                  <a:pt x="6139" y="2031"/>
                </a:lnTo>
                <a:lnTo>
                  <a:pt x="6184" y="2034"/>
                </a:lnTo>
                <a:lnTo>
                  <a:pt x="6229" y="2037"/>
                </a:lnTo>
                <a:lnTo>
                  <a:pt x="6273" y="2042"/>
                </a:lnTo>
                <a:lnTo>
                  <a:pt x="6317" y="2048"/>
                </a:lnTo>
                <a:lnTo>
                  <a:pt x="6359" y="2054"/>
                </a:lnTo>
                <a:lnTo>
                  <a:pt x="6401" y="2062"/>
                </a:lnTo>
                <a:lnTo>
                  <a:pt x="6442" y="2071"/>
                </a:lnTo>
                <a:lnTo>
                  <a:pt x="6482" y="2081"/>
                </a:lnTo>
                <a:lnTo>
                  <a:pt x="6522" y="2091"/>
                </a:lnTo>
                <a:lnTo>
                  <a:pt x="6560" y="2104"/>
                </a:lnTo>
                <a:lnTo>
                  <a:pt x="6598" y="2117"/>
                </a:lnTo>
                <a:lnTo>
                  <a:pt x="6634" y="2131"/>
                </a:lnTo>
                <a:lnTo>
                  <a:pt x="6670" y="2146"/>
                </a:lnTo>
                <a:lnTo>
                  <a:pt x="6706" y="2162"/>
                </a:lnTo>
                <a:lnTo>
                  <a:pt x="6740" y="2179"/>
                </a:lnTo>
                <a:lnTo>
                  <a:pt x="6774" y="2196"/>
                </a:lnTo>
                <a:lnTo>
                  <a:pt x="6806" y="2214"/>
                </a:lnTo>
                <a:lnTo>
                  <a:pt x="6839" y="2233"/>
                </a:lnTo>
                <a:lnTo>
                  <a:pt x="6870" y="2252"/>
                </a:lnTo>
                <a:lnTo>
                  <a:pt x="6901" y="2272"/>
                </a:lnTo>
                <a:lnTo>
                  <a:pt x="6931" y="2293"/>
                </a:lnTo>
                <a:lnTo>
                  <a:pt x="6960" y="2314"/>
                </a:lnTo>
                <a:lnTo>
                  <a:pt x="6988" y="2336"/>
                </a:lnTo>
                <a:lnTo>
                  <a:pt x="7016" y="2358"/>
                </a:lnTo>
                <a:lnTo>
                  <a:pt x="7043" y="2381"/>
                </a:lnTo>
                <a:lnTo>
                  <a:pt x="7069" y="2405"/>
                </a:lnTo>
                <a:lnTo>
                  <a:pt x="7095" y="2429"/>
                </a:lnTo>
                <a:lnTo>
                  <a:pt x="7120" y="2454"/>
                </a:lnTo>
                <a:lnTo>
                  <a:pt x="7144" y="2480"/>
                </a:lnTo>
                <a:lnTo>
                  <a:pt x="7167" y="2506"/>
                </a:lnTo>
                <a:lnTo>
                  <a:pt x="7190" y="2532"/>
                </a:lnTo>
                <a:lnTo>
                  <a:pt x="7212" y="2560"/>
                </a:lnTo>
                <a:lnTo>
                  <a:pt x="7233" y="2587"/>
                </a:lnTo>
                <a:lnTo>
                  <a:pt x="7253" y="2615"/>
                </a:lnTo>
                <a:lnTo>
                  <a:pt x="7273" y="2644"/>
                </a:lnTo>
                <a:lnTo>
                  <a:pt x="7292" y="2672"/>
                </a:lnTo>
                <a:lnTo>
                  <a:pt x="7310" y="2703"/>
                </a:lnTo>
                <a:lnTo>
                  <a:pt x="7327" y="2732"/>
                </a:lnTo>
                <a:lnTo>
                  <a:pt x="7344" y="2763"/>
                </a:lnTo>
                <a:lnTo>
                  <a:pt x="7359" y="2793"/>
                </a:lnTo>
                <a:lnTo>
                  <a:pt x="7374" y="2824"/>
                </a:lnTo>
                <a:lnTo>
                  <a:pt x="7389" y="2856"/>
                </a:lnTo>
                <a:lnTo>
                  <a:pt x="7402" y="2888"/>
                </a:lnTo>
                <a:lnTo>
                  <a:pt x="7415" y="2920"/>
                </a:lnTo>
                <a:lnTo>
                  <a:pt x="7427" y="2953"/>
                </a:lnTo>
                <a:lnTo>
                  <a:pt x="7438" y="2986"/>
                </a:lnTo>
                <a:lnTo>
                  <a:pt x="7449" y="3019"/>
                </a:lnTo>
                <a:lnTo>
                  <a:pt x="7458" y="3053"/>
                </a:lnTo>
                <a:lnTo>
                  <a:pt x="7468" y="3086"/>
                </a:lnTo>
                <a:lnTo>
                  <a:pt x="7476" y="3120"/>
                </a:lnTo>
                <a:lnTo>
                  <a:pt x="7484" y="3153"/>
                </a:lnTo>
                <a:lnTo>
                  <a:pt x="7491" y="3187"/>
                </a:lnTo>
                <a:lnTo>
                  <a:pt x="7497" y="3220"/>
                </a:lnTo>
                <a:lnTo>
                  <a:pt x="7503" y="3254"/>
                </a:lnTo>
                <a:lnTo>
                  <a:pt x="7509" y="3288"/>
                </a:lnTo>
                <a:lnTo>
                  <a:pt x="7514" y="3322"/>
                </a:lnTo>
                <a:lnTo>
                  <a:pt x="7517" y="3356"/>
                </a:lnTo>
                <a:lnTo>
                  <a:pt x="7520" y="3390"/>
                </a:lnTo>
                <a:lnTo>
                  <a:pt x="7523" y="3424"/>
                </a:lnTo>
                <a:lnTo>
                  <a:pt x="7525" y="3457"/>
                </a:lnTo>
                <a:lnTo>
                  <a:pt x="7526" y="3491"/>
                </a:lnTo>
                <a:lnTo>
                  <a:pt x="7526" y="3525"/>
                </a:lnTo>
                <a:lnTo>
                  <a:pt x="7526" y="5437"/>
                </a:lnTo>
                <a:close/>
                <a:moveTo>
                  <a:pt x="11236" y="5876"/>
                </a:moveTo>
                <a:lnTo>
                  <a:pt x="11228" y="5907"/>
                </a:lnTo>
                <a:lnTo>
                  <a:pt x="11220" y="5938"/>
                </a:lnTo>
                <a:lnTo>
                  <a:pt x="11212" y="5969"/>
                </a:lnTo>
                <a:lnTo>
                  <a:pt x="11202" y="5999"/>
                </a:lnTo>
                <a:lnTo>
                  <a:pt x="11193" y="6029"/>
                </a:lnTo>
                <a:lnTo>
                  <a:pt x="11182" y="6058"/>
                </a:lnTo>
                <a:lnTo>
                  <a:pt x="11172" y="6087"/>
                </a:lnTo>
                <a:lnTo>
                  <a:pt x="11160" y="6115"/>
                </a:lnTo>
                <a:lnTo>
                  <a:pt x="11149" y="6143"/>
                </a:lnTo>
                <a:lnTo>
                  <a:pt x="11136" y="6170"/>
                </a:lnTo>
                <a:lnTo>
                  <a:pt x="11124" y="6198"/>
                </a:lnTo>
                <a:lnTo>
                  <a:pt x="11110" y="6224"/>
                </a:lnTo>
                <a:lnTo>
                  <a:pt x="11097" y="6250"/>
                </a:lnTo>
                <a:lnTo>
                  <a:pt x="11082" y="6276"/>
                </a:lnTo>
                <a:lnTo>
                  <a:pt x="11067" y="6302"/>
                </a:lnTo>
                <a:lnTo>
                  <a:pt x="11052" y="6327"/>
                </a:lnTo>
                <a:lnTo>
                  <a:pt x="11036" y="6352"/>
                </a:lnTo>
                <a:lnTo>
                  <a:pt x="11020" y="6376"/>
                </a:lnTo>
                <a:lnTo>
                  <a:pt x="11003" y="6399"/>
                </a:lnTo>
                <a:lnTo>
                  <a:pt x="10985" y="6422"/>
                </a:lnTo>
                <a:lnTo>
                  <a:pt x="10967" y="6445"/>
                </a:lnTo>
                <a:lnTo>
                  <a:pt x="10949" y="6467"/>
                </a:lnTo>
                <a:lnTo>
                  <a:pt x="10930" y="6489"/>
                </a:lnTo>
                <a:lnTo>
                  <a:pt x="10910" y="6510"/>
                </a:lnTo>
                <a:lnTo>
                  <a:pt x="10890" y="6531"/>
                </a:lnTo>
                <a:lnTo>
                  <a:pt x="10870" y="6551"/>
                </a:lnTo>
                <a:lnTo>
                  <a:pt x="10849" y="6571"/>
                </a:lnTo>
                <a:lnTo>
                  <a:pt x="10827" y="6591"/>
                </a:lnTo>
                <a:lnTo>
                  <a:pt x="10805" y="6610"/>
                </a:lnTo>
                <a:lnTo>
                  <a:pt x="10783" y="6629"/>
                </a:lnTo>
                <a:lnTo>
                  <a:pt x="10760" y="6647"/>
                </a:lnTo>
                <a:lnTo>
                  <a:pt x="10736" y="6665"/>
                </a:lnTo>
                <a:lnTo>
                  <a:pt x="10712" y="6682"/>
                </a:lnTo>
                <a:lnTo>
                  <a:pt x="10688" y="6699"/>
                </a:lnTo>
                <a:lnTo>
                  <a:pt x="10663" y="6715"/>
                </a:lnTo>
                <a:lnTo>
                  <a:pt x="10638" y="6731"/>
                </a:lnTo>
                <a:lnTo>
                  <a:pt x="10613" y="6746"/>
                </a:lnTo>
                <a:lnTo>
                  <a:pt x="10587" y="6760"/>
                </a:lnTo>
                <a:lnTo>
                  <a:pt x="10561" y="6774"/>
                </a:lnTo>
                <a:lnTo>
                  <a:pt x="10535" y="6788"/>
                </a:lnTo>
                <a:lnTo>
                  <a:pt x="10508" y="6801"/>
                </a:lnTo>
                <a:lnTo>
                  <a:pt x="10481" y="6813"/>
                </a:lnTo>
                <a:lnTo>
                  <a:pt x="10454" y="6825"/>
                </a:lnTo>
                <a:lnTo>
                  <a:pt x="10426" y="6836"/>
                </a:lnTo>
                <a:lnTo>
                  <a:pt x="10398" y="6847"/>
                </a:lnTo>
                <a:lnTo>
                  <a:pt x="10370" y="6857"/>
                </a:lnTo>
                <a:lnTo>
                  <a:pt x="10342" y="6867"/>
                </a:lnTo>
                <a:lnTo>
                  <a:pt x="10313" y="6876"/>
                </a:lnTo>
                <a:lnTo>
                  <a:pt x="10284" y="6885"/>
                </a:lnTo>
                <a:lnTo>
                  <a:pt x="10255" y="6893"/>
                </a:lnTo>
                <a:lnTo>
                  <a:pt x="10225" y="6900"/>
                </a:lnTo>
                <a:lnTo>
                  <a:pt x="10195" y="6907"/>
                </a:lnTo>
                <a:lnTo>
                  <a:pt x="10165" y="6914"/>
                </a:lnTo>
                <a:lnTo>
                  <a:pt x="10135" y="6919"/>
                </a:lnTo>
                <a:lnTo>
                  <a:pt x="10104" y="6925"/>
                </a:lnTo>
                <a:lnTo>
                  <a:pt x="10072" y="6929"/>
                </a:lnTo>
                <a:lnTo>
                  <a:pt x="10041" y="6933"/>
                </a:lnTo>
                <a:lnTo>
                  <a:pt x="10009" y="6937"/>
                </a:lnTo>
                <a:lnTo>
                  <a:pt x="9977" y="6940"/>
                </a:lnTo>
                <a:lnTo>
                  <a:pt x="9944" y="6942"/>
                </a:lnTo>
                <a:lnTo>
                  <a:pt x="9912" y="6944"/>
                </a:lnTo>
                <a:lnTo>
                  <a:pt x="9879" y="6946"/>
                </a:lnTo>
                <a:lnTo>
                  <a:pt x="9845" y="6947"/>
                </a:lnTo>
                <a:lnTo>
                  <a:pt x="9812" y="6947"/>
                </a:lnTo>
                <a:lnTo>
                  <a:pt x="9765" y="6946"/>
                </a:lnTo>
                <a:lnTo>
                  <a:pt x="9719" y="6945"/>
                </a:lnTo>
                <a:lnTo>
                  <a:pt x="9674" y="6943"/>
                </a:lnTo>
                <a:lnTo>
                  <a:pt x="9630" y="6940"/>
                </a:lnTo>
                <a:lnTo>
                  <a:pt x="9587" y="6935"/>
                </a:lnTo>
                <a:lnTo>
                  <a:pt x="9544" y="6930"/>
                </a:lnTo>
                <a:lnTo>
                  <a:pt x="9501" y="6924"/>
                </a:lnTo>
                <a:lnTo>
                  <a:pt x="9460" y="6917"/>
                </a:lnTo>
                <a:lnTo>
                  <a:pt x="9420" y="6910"/>
                </a:lnTo>
                <a:lnTo>
                  <a:pt x="9380" y="6901"/>
                </a:lnTo>
                <a:lnTo>
                  <a:pt x="9341" y="6891"/>
                </a:lnTo>
                <a:lnTo>
                  <a:pt x="9303" y="6880"/>
                </a:lnTo>
                <a:lnTo>
                  <a:pt x="9266" y="6868"/>
                </a:lnTo>
                <a:lnTo>
                  <a:pt x="9229" y="6856"/>
                </a:lnTo>
                <a:lnTo>
                  <a:pt x="9193" y="6842"/>
                </a:lnTo>
                <a:lnTo>
                  <a:pt x="9158" y="6828"/>
                </a:lnTo>
                <a:lnTo>
                  <a:pt x="9124" y="6813"/>
                </a:lnTo>
                <a:lnTo>
                  <a:pt x="9090" y="6797"/>
                </a:lnTo>
                <a:lnTo>
                  <a:pt x="9057" y="6781"/>
                </a:lnTo>
                <a:lnTo>
                  <a:pt x="9025" y="6763"/>
                </a:lnTo>
                <a:lnTo>
                  <a:pt x="8993" y="6745"/>
                </a:lnTo>
                <a:lnTo>
                  <a:pt x="8962" y="6727"/>
                </a:lnTo>
                <a:lnTo>
                  <a:pt x="8932" y="6707"/>
                </a:lnTo>
                <a:lnTo>
                  <a:pt x="8903" y="6687"/>
                </a:lnTo>
                <a:lnTo>
                  <a:pt x="8874" y="6667"/>
                </a:lnTo>
                <a:lnTo>
                  <a:pt x="8846" y="6645"/>
                </a:lnTo>
                <a:lnTo>
                  <a:pt x="8819" y="6623"/>
                </a:lnTo>
                <a:lnTo>
                  <a:pt x="8792" y="6600"/>
                </a:lnTo>
                <a:lnTo>
                  <a:pt x="8766" y="6577"/>
                </a:lnTo>
                <a:lnTo>
                  <a:pt x="8741" y="6552"/>
                </a:lnTo>
                <a:lnTo>
                  <a:pt x="8717" y="6527"/>
                </a:lnTo>
                <a:lnTo>
                  <a:pt x="8693" y="6502"/>
                </a:lnTo>
                <a:lnTo>
                  <a:pt x="8670" y="6475"/>
                </a:lnTo>
                <a:lnTo>
                  <a:pt x="8648" y="6448"/>
                </a:lnTo>
                <a:lnTo>
                  <a:pt x="8626" y="6421"/>
                </a:lnTo>
                <a:lnTo>
                  <a:pt x="8605" y="6393"/>
                </a:lnTo>
                <a:lnTo>
                  <a:pt x="8585" y="6364"/>
                </a:lnTo>
                <a:lnTo>
                  <a:pt x="8566" y="6335"/>
                </a:lnTo>
                <a:lnTo>
                  <a:pt x="8547" y="6305"/>
                </a:lnTo>
                <a:lnTo>
                  <a:pt x="8530" y="6274"/>
                </a:lnTo>
                <a:lnTo>
                  <a:pt x="8513" y="6243"/>
                </a:lnTo>
                <a:lnTo>
                  <a:pt x="8495" y="6212"/>
                </a:lnTo>
                <a:lnTo>
                  <a:pt x="8480" y="6180"/>
                </a:lnTo>
                <a:lnTo>
                  <a:pt x="8465" y="6147"/>
                </a:lnTo>
                <a:lnTo>
                  <a:pt x="8451" y="6114"/>
                </a:lnTo>
                <a:lnTo>
                  <a:pt x="8438" y="6080"/>
                </a:lnTo>
                <a:lnTo>
                  <a:pt x="8426" y="6046"/>
                </a:lnTo>
                <a:lnTo>
                  <a:pt x="8414" y="6011"/>
                </a:lnTo>
                <a:lnTo>
                  <a:pt x="8403" y="5976"/>
                </a:lnTo>
                <a:lnTo>
                  <a:pt x="8393" y="5940"/>
                </a:lnTo>
                <a:lnTo>
                  <a:pt x="8383" y="5904"/>
                </a:lnTo>
                <a:lnTo>
                  <a:pt x="8375" y="5868"/>
                </a:lnTo>
                <a:lnTo>
                  <a:pt x="8366" y="5831"/>
                </a:lnTo>
                <a:lnTo>
                  <a:pt x="8359" y="5794"/>
                </a:lnTo>
                <a:lnTo>
                  <a:pt x="8352" y="5756"/>
                </a:lnTo>
                <a:lnTo>
                  <a:pt x="8346" y="5719"/>
                </a:lnTo>
                <a:lnTo>
                  <a:pt x="8341" y="5679"/>
                </a:lnTo>
                <a:lnTo>
                  <a:pt x="8337" y="5641"/>
                </a:lnTo>
                <a:lnTo>
                  <a:pt x="8333" y="5602"/>
                </a:lnTo>
                <a:lnTo>
                  <a:pt x="8329" y="5563"/>
                </a:lnTo>
                <a:lnTo>
                  <a:pt x="8327" y="5523"/>
                </a:lnTo>
                <a:lnTo>
                  <a:pt x="8325" y="5483"/>
                </a:lnTo>
                <a:lnTo>
                  <a:pt x="8324" y="5443"/>
                </a:lnTo>
                <a:lnTo>
                  <a:pt x="8324" y="5403"/>
                </a:lnTo>
                <a:lnTo>
                  <a:pt x="8324" y="3525"/>
                </a:lnTo>
                <a:lnTo>
                  <a:pt x="8324" y="3489"/>
                </a:lnTo>
                <a:lnTo>
                  <a:pt x="8325" y="3454"/>
                </a:lnTo>
                <a:lnTo>
                  <a:pt x="8327" y="3419"/>
                </a:lnTo>
                <a:lnTo>
                  <a:pt x="8329" y="3384"/>
                </a:lnTo>
                <a:lnTo>
                  <a:pt x="8333" y="3348"/>
                </a:lnTo>
                <a:lnTo>
                  <a:pt x="8337" y="3314"/>
                </a:lnTo>
                <a:lnTo>
                  <a:pt x="8341" y="3278"/>
                </a:lnTo>
                <a:lnTo>
                  <a:pt x="8346" y="3243"/>
                </a:lnTo>
                <a:lnTo>
                  <a:pt x="8352" y="3208"/>
                </a:lnTo>
                <a:lnTo>
                  <a:pt x="8359" y="3174"/>
                </a:lnTo>
                <a:lnTo>
                  <a:pt x="8366" y="3139"/>
                </a:lnTo>
                <a:lnTo>
                  <a:pt x="8375" y="3105"/>
                </a:lnTo>
                <a:lnTo>
                  <a:pt x="8383" y="3071"/>
                </a:lnTo>
                <a:lnTo>
                  <a:pt x="8393" y="3036"/>
                </a:lnTo>
                <a:lnTo>
                  <a:pt x="8403" y="3002"/>
                </a:lnTo>
                <a:lnTo>
                  <a:pt x="8414" y="2968"/>
                </a:lnTo>
                <a:lnTo>
                  <a:pt x="8426" y="2935"/>
                </a:lnTo>
                <a:lnTo>
                  <a:pt x="8438" y="2902"/>
                </a:lnTo>
                <a:lnTo>
                  <a:pt x="8451" y="2869"/>
                </a:lnTo>
                <a:lnTo>
                  <a:pt x="8465" y="2837"/>
                </a:lnTo>
                <a:lnTo>
                  <a:pt x="8480" y="2805"/>
                </a:lnTo>
                <a:lnTo>
                  <a:pt x="8495" y="2774"/>
                </a:lnTo>
                <a:lnTo>
                  <a:pt x="8512" y="2744"/>
                </a:lnTo>
                <a:lnTo>
                  <a:pt x="8529" y="2713"/>
                </a:lnTo>
                <a:lnTo>
                  <a:pt x="8546" y="2683"/>
                </a:lnTo>
                <a:lnTo>
                  <a:pt x="8565" y="2653"/>
                </a:lnTo>
                <a:lnTo>
                  <a:pt x="8584" y="2625"/>
                </a:lnTo>
                <a:lnTo>
                  <a:pt x="8603" y="2596"/>
                </a:lnTo>
                <a:lnTo>
                  <a:pt x="8624" y="2569"/>
                </a:lnTo>
                <a:lnTo>
                  <a:pt x="8645" y="2541"/>
                </a:lnTo>
                <a:lnTo>
                  <a:pt x="8667" y="2515"/>
                </a:lnTo>
                <a:lnTo>
                  <a:pt x="8689" y="2488"/>
                </a:lnTo>
                <a:lnTo>
                  <a:pt x="8713" y="2463"/>
                </a:lnTo>
                <a:lnTo>
                  <a:pt x="8737" y="2438"/>
                </a:lnTo>
                <a:lnTo>
                  <a:pt x="8762" y="2413"/>
                </a:lnTo>
                <a:lnTo>
                  <a:pt x="8787" y="2390"/>
                </a:lnTo>
                <a:lnTo>
                  <a:pt x="8814" y="2366"/>
                </a:lnTo>
                <a:lnTo>
                  <a:pt x="8841" y="2344"/>
                </a:lnTo>
                <a:lnTo>
                  <a:pt x="8868" y="2322"/>
                </a:lnTo>
                <a:lnTo>
                  <a:pt x="8897" y="2301"/>
                </a:lnTo>
                <a:lnTo>
                  <a:pt x="8926" y="2280"/>
                </a:lnTo>
                <a:lnTo>
                  <a:pt x="8956" y="2261"/>
                </a:lnTo>
                <a:lnTo>
                  <a:pt x="8987" y="2241"/>
                </a:lnTo>
                <a:lnTo>
                  <a:pt x="9018" y="2223"/>
                </a:lnTo>
                <a:lnTo>
                  <a:pt x="9050" y="2205"/>
                </a:lnTo>
                <a:lnTo>
                  <a:pt x="9083" y="2188"/>
                </a:lnTo>
                <a:lnTo>
                  <a:pt x="9117" y="2171"/>
                </a:lnTo>
                <a:lnTo>
                  <a:pt x="9151" y="2155"/>
                </a:lnTo>
                <a:lnTo>
                  <a:pt x="9186" y="2140"/>
                </a:lnTo>
                <a:lnTo>
                  <a:pt x="9222" y="2126"/>
                </a:lnTo>
                <a:lnTo>
                  <a:pt x="9259" y="2113"/>
                </a:lnTo>
                <a:lnTo>
                  <a:pt x="9296" y="2100"/>
                </a:lnTo>
                <a:lnTo>
                  <a:pt x="9335" y="2088"/>
                </a:lnTo>
                <a:lnTo>
                  <a:pt x="9374" y="2078"/>
                </a:lnTo>
                <a:lnTo>
                  <a:pt x="9414" y="2069"/>
                </a:lnTo>
                <a:lnTo>
                  <a:pt x="9455" y="2060"/>
                </a:lnTo>
                <a:lnTo>
                  <a:pt x="9496" y="2053"/>
                </a:lnTo>
                <a:lnTo>
                  <a:pt x="9540" y="2047"/>
                </a:lnTo>
                <a:lnTo>
                  <a:pt x="9583" y="2041"/>
                </a:lnTo>
                <a:lnTo>
                  <a:pt x="9627" y="2037"/>
                </a:lnTo>
                <a:lnTo>
                  <a:pt x="9672" y="2033"/>
                </a:lnTo>
                <a:lnTo>
                  <a:pt x="9718" y="2031"/>
                </a:lnTo>
                <a:lnTo>
                  <a:pt x="9764" y="2029"/>
                </a:lnTo>
                <a:lnTo>
                  <a:pt x="9812" y="2029"/>
                </a:lnTo>
                <a:lnTo>
                  <a:pt x="9848" y="2029"/>
                </a:lnTo>
                <a:lnTo>
                  <a:pt x="9884" y="2030"/>
                </a:lnTo>
                <a:lnTo>
                  <a:pt x="9919" y="2032"/>
                </a:lnTo>
                <a:lnTo>
                  <a:pt x="9954" y="2034"/>
                </a:lnTo>
                <a:lnTo>
                  <a:pt x="9989" y="2036"/>
                </a:lnTo>
                <a:lnTo>
                  <a:pt x="10023" y="2040"/>
                </a:lnTo>
                <a:lnTo>
                  <a:pt x="10056" y="2044"/>
                </a:lnTo>
                <a:lnTo>
                  <a:pt x="10090" y="2048"/>
                </a:lnTo>
                <a:lnTo>
                  <a:pt x="10122" y="2053"/>
                </a:lnTo>
                <a:lnTo>
                  <a:pt x="10155" y="2059"/>
                </a:lnTo>
                <a:lnTo>
                  <a:pt x="10187" y="2065"/>
                </a:lnTo>
                <a:lnTo>
                  <a:pt x="10218" y="2072"/>
                </a:lnTo>
                <a:lnTo>
                  <a:pt x="10249" y="2079"/>
                </a:lnTo>
                <a:lnTo>
                  <a:pt x="10280" y="2088"/>
                </a:lnTo>
                <a:lnTo>
                  <a:pt x="10310" y="2097"/>
                </a:lnTo>
                <a:lnTo>
                  <a:pt x="10340" y="2106"/>
                </a:lnTo>
                <a:lnTo>
                  <a:pt x="10370" y="2116"/>
                </a:lnTo>
                <a:lnTo>
                  <a:pt x="10399" y="2127"/>
                </a:lnTo>
                <a:lnTo>
                  <a:pt x="10427" y="2138"/>
                </a:lnTo>
                <a:lnTo>
                  <a:pt x="10455" y="2149"/>
                </a:lnTo>
                <a:lnTo>
                  <a:pt x="10483" y="2162"/>
                </a:lnTo>
                <a:lnTo>
                  <a:pt x="10511" y="2174"/>
                </a:lnTo>
                <a:lnTo>
                  <a:pt x="10538" y="2188"/>
                </a:lnTo>
                <a:lnTo>
                  <a:pt x="10564" y="2202"/>
                </a:lnTo>
                <a:lnTo>
                  <a:pt x="10590" y="2217"/>
                </a:lnTo>
                <a:lnTo>
                  <a:pt x="10616" y="2232"/>
                </a:lnTo>
                <a:lnTo>
                  <a:pt x="10641" y="2248"/>
                </a:lnTo>
                <a:lnTo>
                  <a:pt x="10666" y="2264"/>
                </a:lnTo>
                <a:lnTo>
                  <a:pt x="10690" y="2281"/>
                </a:lnTo>
                <a:lnTo>
                  <a:pt x="10714" y="2299"/>
                </a:lnTo>
                <a:lnTo>
                  <a:pt x="10737" y="2317"/>
                </a:lnTo>
                <a:lnTo>
                  <a:pt x="10760" y="2336"/>
                </a:lnTo>
                <a:lnTo>
                  <a:pt x="10783" y="2355"/>
                </a:lnTo>
                <a:lnTo>
                  <a:pt x="10805" y="2374"/>
                </a:lnTo>
                <a:lnTo>
                  <a:pt x="10827" y="2394"/>
                </a:lnTo>
                <a:lnTo>
                  <a:pt x="10848" y="2414"/>
                </a:lnTo>
                <a:lnTo>
                  <a:pt x="10868" y="2435"/>
                </a:lnTo>
                <a:lnTo>
                  <a:pt x="10888" y="2456"/>
                </a:lnTo>
                <a:lnTo>
                  <a:pt x="10908" y="2477"/>
                </a:lnTo>
                <a:lnTo>
                  <a:pt x="10927" y="2498"/>
                </a:lnTo>
                <a:lnTo>
                  <a:pt x="10946" y="2520"/>
                </a:lnTo>
                <a:lnTo>
                  <a:pt x="10964" y="2542"/>
                </a:lnTo>
                <a:lnTo>
                  <a:pt x="10982" y="2564"/>
                </a:lnTo>
                <a:lnTo>
                  <a:pt x="10999" y="2586"/>
                </a:lnTo>
                <a:lnTo>
                  <a:pt x="11016" y="2609"/>
                </a:lnTo>
                <a:lnTo>
                  <a:pt x="11032" y="2632"/>
                </a:lnTo>
                <a:lnTo>
                  <a:pt x="11048" y="2656"/>
                </a:lnTo>
                <a:lnTo>
                  <a:pt x="11063" y="2679"/>
                </a:lnTo>
                <a:lnTo>
                  <a:pt x="11078" y="2704"/>
                </a:lnTo>
                <a:lnTo>
                  <a:pt x="11092" y="2729"/>
                </a:lnTo>
                <a:lnTo>
                  <a:pt x="11106" y="2753"/>
                </a:lnTo>
                <a:lnTo>
                  <a:pt x="11120" y="2778"/>
                </a:lnTo>
                <a:lnTo>
                  <a:pt x="11133" y="2803"/>
                </a:lnTo>
                <a:lnTo>
                  <a:pt x="11145" y="2829"/>
                </a:lnTo>
                <a:lnTo>
                  <a:pt x="11157" y="2855"/>
                </a:lnTo>
                <a:lnTo>
                  <a:pt x="11169" y="2881"/>
                </a:lnTo>
                <a:lnTo>
                  <a:pt x="11180" y="2907"/>
                </a:lnTo>
                <a:lnTo>
                  <a:pt x="11190" y="2934"/>
                </a:lnTo>
                <a:lnTo>
                  <a:pt x="11200" y="2961"/>
                </a:lnTo>
                <a:lnTo>
                  <a:pt x="11210" y="2988"/>
                </a:lnTo>
                <a:lnTo>
                  <a:pt x="11219" y="3016"/>
                </a:lnTo>
                <a:lnTo>
                  <a:pt x="11227" y="3044"/>
                </a:lnTo>
                <a:lnTo>
                  <a:pt x="11235" y="3072"/>
                </a:lnTo>
                <a:lnTo>
                  <a:pt x="11243" y="3100"/>
                </a:lnTo>
                <a:lnTo>
                  <a:pt x="10485" y="3351"/>
                </a:lnTo>
                <a:lnTo>
                  <a:pt x="10479" y="3325"/>
                </a:lnTo>
                <a:lnTo>
                  <a:pt x="10473" y="3300"/>
                </a:lnTo>
                <a:lnTo>
                  <a:pt x="10466" y="3273"/>
                </a:lnTo>
                <a:lnTo>
                  <a:pt x="10457" y="3248"/>
                </a:lnTo>
                <a:lnTo>
                  <a:pt x="10448" y="3223"/>
                </a:lnTo>
                <a:lnTo>
                  <a:pt x="10438" y="3198"/>
                </a:lnTo>
                <a:lnTo>
                  <a:pt x="10427" y="3174"/>
                </a:lnTo>
                <a:lnTo>
                  <a:pt x="10416" y="3149"/>
                </a:lnTo>
                <a:lnTo>
                  <a:pt x="10403" y="3125"/>
                </a:lnTo>
                <a:lnTo>
                  <a:pt x="10389" y="3102"/>
                </a:lnTo>
                <a:lnTo>
                  <a:pt x="10374" y="3079"/>
                </a:lnTo>
                <a:lnTo>
                  <a:pt x="10358" y="3056"/>
                </a:lnTo>
                <a:lnTo>
                  <a:pt x="10341" y="3034"/>
                </a:lnTo>
                <a:lnTo>
                  <a:pt x="10323" y="3013"/>
                </a:lnTo>
                <a:lnTo>
                  <a:pt x="10304" y="2992"/>
                </a:lnTo>
                <a:lnTo>
                  <a:pt x="10284" y="2972"/>
                </a:lnTo>
                <a:lnTo>
                  <a:pt x="10262" y="2953"/>
                </a:lnTo>
                <a:lnTo>
                  <a:pt x="10240" y="2934"/>
                </a:lnTo>
                <a:lnTo>
                  <a:pt x="10216" y="2917"/>
                </a:lnTo>
                <a:lnTo>
                  <a:pt x="10192" y="2900"/>
                </a:lnTo>
                <a:lnTo>
                  <a:pt x="10166" y="2884"/>
                </a:lnTo>
                <a:lnTo>
                  <a:pt x="10139" y="2870"/>
                </a:lnTo>
                <a:lnTo>
                  <a:pt x="10111" y="2856"/>
                </a:lnTo>
                <a:lnTo>
                  <a:pt x="10082" y="2844"/>
                </a:lnTo>
                <a:lnTo>
                  <a:pt x="10052" y="2832"/>
                </a:lnTo>
                <a:lnTo>
                  <a:pt x="10021" y="2822"/>
                </a:lnTo>
                <a:lnTo>
                  <a:pt x="9989" y="2814"/>
                </a:lnTo>
                <a:lnTo>
                  <a:pt x="9956" y="2807"/>
                </a:lnTo>
                <a:lnTo>
                  <a:pt x="9921" y="2802"/>
                </a:lnTo>
                <a:lnTo>
                  <a:pt x="9886" y="2798"/>
                </a:lnTo>
                <a:lnTo>
                  <a:pt x="9849" y="2796"/>
                </a:lnTo>
                <a:lnTo>
                  <a:pt x="9812" y="2795"/>
                </a:lnTo>
                <a:lnTo>
                  <a:pt x="9789" y="2795"/>
                </a:lnTo>
                <a:lnTo>
                  <a:pt x="9767" y="2796"/>
                </a:lnTo>
                <a:lnTo>
                  <a:pt x="9746" y="2797"/>
                </a:lnTo>
                <a:lnTo>
                  <a:pt x="9725" y="2799"/>
                </a:lnTo>
                <a:lnTo>
                  <a:pt x="9704" y="2801"/>
                </a:lnTo>
                <a:lnTo>
                  <a:pt x="9684" y="2804"/>
                </a:lnTo>
                <a:lnTo>
                  <a:pt x="9664" y="2807"/>
                </a:lnTo>
                <a:lnTo>
                  <a:pt x="9644" y="2811"/>
                </a:lnTo>
                <a:lnTo>
                  <a:pt x="9625" y="2815"/>
                </a:lnTo>
                <a:lnTo>
                  <a:pt x="9606" y="2819"/>
                </a:lnTo>
                <a:lnTo>
                  <a:pt x="9588" y="2824"/>
                </a:lnTo>
                <a:lnTo>
                  <a:pt x="9570" y="2830"/>
                </a:lnTo>
                <a:lnTo>
                  <a:pt x="9553" y="2836"/>
                </a:lnTo>
                <a:lnTo>
                  <a:pt x="9536" y="2843"/>
                </a:lnTo>
                <a:lnTo>
                  <a:pt x="9519" y="2850"/>
                </a:lnTo>
                <a:lnTo>
                  <a:pt x="9502" y="2857"/>
                </a:lnTo>
                <a:lnTo>
                  <a:pt x="9470" y="2874"/>
                </a:lnTo>
                <a:lnTo>
                  <a:pt x="9440" y="2891"/>
                </a:lnTo>
                <a:lnTo>
                  <a:pt x="9412" y="2910"/>
                </a:lnTo>
                <a:lnTo>
                  <a:pt x="9385" y="2929"/>
                </a:lnTo>
                <a:lnTo>
                  <a:pt x="9359" y="2950"/>
                </a:lnTo>
                <a:lnTo>
                  <a:pt x="9334" y="2973"/>
                </a:lnTo>
                <a:lnTo>
                  <a:pt x="9311" y="2996"/>
                </a:lnTo>
                <a:lnTo>
                  <a:pt x="9290" y="3020"/>
                </a:lnTo>
                <a:lnTo>
                  <a:pt x="9270" y="3046"/>
                </a:lnTo>
                <a:lnTo>
                  <a:pt x="9251" y="3072"/>
                </a:lnTo>
                <a:lnTo>
                  <a:pt x="9233" y="3099"/>
                </a:lnTo>
                <a:lnTo>
                  <a:pt x="9217" y="3127"/>
                </a:lnTo>
                <a:lnTo>
                  <a:pt x="9202" y="3156"/>
                </a:lnTo>
                <a:lnTo>
                  <a:pt x="9188" y="3185"/>
                </a:lnTo>
                <a:lnTo>
                  <a:pt x="9176" y="3215"/>
                </a:lnTo>
                <a:lnTo>
                  <a:pt x="9165" y="3246"/>
                </a:lnTo>
                <a:lnTo>
                  <a:pt x="9155" y="3278"/>
                </a:lnTo>
                <a:lnTo>
                  <a:pt x="9147" y="3310"/>
                </a:lnTo>
                <a:lnTo>
                  <a:pt x="9140" y="3341"/>
                </a:lnTo>
                <a:lnTo>
                  <a:pt x="9134" y="3372"/>
                </a:lnTo>
                <a:lnTo>
                  <a:pt x="9129" y="3403"/>
                </a:lnTo>
                <a:lnTo>
                  <a:pt x="9126" y="3435"/>
                </a:lnTo>
                <a:lnTo>
                  <a:pt x="9124" y="3466"/>
                </a:lnTo>
                <a:lnTo>
                  <a:pt x="9123" y="3497"/>
                </a:lnTo>
                <a:lnTo>
                  <a:pt x="9123" y="5423"/>
                </a:lnTo>
                <a:lnTo>
                  <a:pt x="9124" y="5461"/>
                </a:lnTo>
                <a:lnTo>
                  <a:pt x="9126" y="5499"/>
                </a:lnTo>
                <a:lnTo>
                  <a:pt x="9129" y="5536"/>
                </a:lnTo>
                <a:lnTo>
                  <a:pt x="9134" y="5573"/>
                </a:lnTo>
                <a:lnTo>
                  <a:pt x="9140" y="5609"/>
                </a:lnTo>
                <a:lnTo>
                  <a:pt x="9147" y="5645"/>
                </a:lnTo>
                <a:lnTo>
                  <a:pt x="9155" y="5680"/>
                </a:lnTo>
                <a:lnTo>
                  <a:pt x="9165" y="5716"/>
                </a:lnTo>
                <a:lnTo>
                  <a:pt x="9176" y="5750"/>
                </a:lnTo>
                <a:lnTo>
                  <a:pt x="9189" y="5783"/>
                </a:lnTo>
                <a:lnTo>
                  <a:pt x="9202" y="5815"/>
                </a:lnTo>
                <a:lnTo>
                  <a:pt x="9218" y="5846"/>
                </a:lnTo>
                <a:lnTo>
                  <a:pt x="9235" y="5876"/>
                </a:lnTo>
                <a:lnTo>
                  <a:pt x="9253" y="5905"/>
                </a:lnTo>
                <a:lnTo>
                  <a:pt x="9272" y="5932"/>
                </a:lnTo>
                <a:lnTo>
                  <a:pt x="9293" y="5959"/>
                </a:lnTo>
                <a:lnTo>
                  <a:pt x="9316" y="5984"/>
                </a:lnTo>
                <a:lnTo>
                  <a:pt x="9339" y="6008"/>
                </a:lnTo>
                <a:lnTo>
                  <a:pt x="9364" y="6031"/>
                </a:lnTo>
                <a:lnTo>
                  <a:pt x="9391" y="6052"/>
                </a:lnTo>
                <a:lnTo>
                  <a:pt x="9418" y="6072"/>
                </a:lnTo>
                <a:lnTo>
                  <a:pt x="9447" y="6090"/>
                </a:lnTo>
                <a:lnTo>
                  <a:pt x="9477" y="6107"/>
                </a:lnTo>
                <a:lnTo>
                  <a:pt x="9510" y="6122"/>
                </a:lnTo>
                <a:lnTo>
                  <a:pt x="9526" y="6129"/>
                </a:lnTo>
                <a:lnTo>
                  <a:pt x="9542" y="6136"/>
                </a:lnTo>
                <a:lnTo>
                  <a:pt x="9559" y="6142"/>
                </a:lnTo>
                <a:lnTo>
                  <a:pt x="9577" y="6148"/>
                </a:lnTo>
                <a:lnTo>
                  <a:pt x="9594" y="6153"/>
                </a:lnTo>
                <a:lnTo>
                  <a:pt x="9612" y="6158"/>
                </a:lnTo>
                <a:lnTo>
                  <a:pt x="9631" y="6163"/>
                </a:lnTo>
                <a:lnTo>
                  <a:pt x="9649" y="6166"/>
                </a:lnTo>
                <a:lnTo>
                  <a:pt x="9668" y="6170"/>
                </a:lnTo>
                <a:lnTo>
                  <a:pt x="9688" y="6173"/>
                </a:lnTo>
                <a:lnTo>
                  <a:pt x="9708" y="6175"/>
                </a:lnTo>
                <a:lnTo>
                  <a:pt x="9728" y="6177"/>
                </a:lnTo>
                <a:lnTo>
                  <a:pt x="9769" y="6180"/>
                </a:lnTo>
                <a:lnTo>
                  <a:pt x="9812" y="6181"/>
                </a:lnTo>
                <a:lnTo>
                  <a:pt x="9843" y="6181"/>
                </a:lnTo>
                <a:lnTo>
                  <a:pt x="9875" y="6179"/>
                </a:lnTo>
                <a:lnTo>
                  <a:pt x="9905" y="6176"/>
                </a:lnTo>
                <a:lnTo>
                  <a:pt x="9935" y="6172"/>
                </a:lnTo>
                <a:lnTo>
                  <a:pt x="9965" y="6167"/>
                </a:lnTo>
                <a:lnTo>
                  <a:pt x="9994" y="6161"/>
                </a:lnTo>
                <a:lnTo>
                  <a:pt x="10022" y="6153"/>
                </a:lnTo>
                <a:lnTo>
                  <a:pt x="10049" y="6145"/>
                </a:lnTo>
                <a:lnTo>
                  <a:pt x="10077" y="6135"/>
                </a:lnTo>
                <a:lnTo>
                  <a:pt x="10103" y="6124"/>
                </a:lnTo>
                <a:lnTo>
                  <a:pt x="10129" y="6112"/>
                </a:lnTo>
                <a:lnTo>
                  <a:pt x="10154" y="6099"/>
                </a:lnTo>
                <a:lnTo>
                  <a:pt x="10179" y="6085"/>
                </a:lnTo>
                <a:lnTo>
                  <a:pt x="10203" y="6070"/>
                </a:lnTo>
                <a:lnTo>
                  <a:pt x="10226" y="6053"/>
                </a:lnTo>
                <a:lnTo>
                  <a:pt x="10249" y="6036"/>
                </a:lnTo>
                <a:lnTo>
                  <a:pt x="10271" y="6017"/>
                </a:lnTo>
                <a:lnTo>
                  <a:pt x="10292" y="5997"/>
                </a:lnTo>
                <a:lnTo>
                  <a:pt x="10312" y="5977"/>
                </a:lnTo>
                <a:lnTo>
                  <a:pt x="10331" y="5956"/>
                </a:lnTo>
                <a:lnTo>
                  <a:pt x="10349" y="5933"/>
                </a:lnTo>
                <a:lnTo>
                  <a:pt x="10366" y="5910"/>
                </a:lnTo>
                <a:lnTo>
                  <a:pt x="10382" y="5887"/>
                </a:lnTo>
                <a:lnTo>
                  <a:pt x="10397" y="5862"/>
                </a:lnTo>
                <a:lnTo>
                  <a:pt x="10410" y="5836"/>
                </a:lnTo>
                <a:lnTo>
                  <a:pt x="10423" y="5810"/>
                </a:lnTo>
                <a:lnTo>
                  <a:pt x="10435" y="5782"/>
                </a:lnTo>
                <a:lnTo>
                  <a:pt x="10446" y="5754"/>
                </a:lnTo>
                <a:lnTo>
                  <a:pt x="10455" y="5725"/>
                </a:lnTo>
                <a:lnTo>
                  <a:pt x="10464" y="5695"/>
                </a:lnTo>
                <a:lnTo>
                  <a:pt x="10472" y="5663"/>
                </a:lnTo>
                <a:lnTo>
                  <a:pt x="10478" y="5632"/>
                </a:lnTo>
                <a:lnTo>
                  <a:pt x="11236" y="58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Picture120"/>
          <p:cNvSpPr>
            <a:spLocks noChangeAspect="1" noEditPoints="1"/>
          </p:cNvSpPr>
          <p:nvPr/>
        </p:nvSpPr>
        <p:spPr bwMode="auto">
          <a:xfrm>
            <a:off x="1943708" y="1160748"/>
            <a:ext cx="309099" cy="288032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323528" y="1160748"/>
            <a:ext cx="1908212" cy="36004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" t="20749" r="4971" b="36633"/>
          <a:stretch/>
        </p:blipFill>
        <p:spPr>
          <a:xfrm>
            <a:off x="6573600" y="4797237"/>
            <a:ext cx="1124902" cy="178135"/>
          </a:xfrm>
          <a:prstGeom prst="rect">
            <a:avLst/>
          </a:prstGeom>
        </p:spPr>
      </p:pic>
      <p:pic>
        <p:nvPicPr>
          <p:cNvPr id="34820" name="Picture 4" descr="\\gazprom-neft.local\dfs\Газпром нефть\Папки пользователей\Личные папки\Biryulin.DL\My Documents\My Pictures\Клиентский день_2016_РЗБМ\2016-03-24 ╨У╨░╨╖╨┐╤А╨╛╨╝_╨Э╨╡╤Д╤В╨╡╨┐╤А╨╛╨┤╤Г╨║╤В_╨С╨╕╤В╤Г╨╝╨╜╤Л╨╕╠Ж╨Ч╨░╨▓╨╛╨┤-141.jpg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7" b="11846"/>
          <a:stretch/>
        </p:blipFill>
        <p:spPr bwMode="auto">
          <a:xfrm>
            <a:off x="5472100" y="1592796"/>
            <a:ext cx="3384562" cy="12351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39493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 smtClean="0"/>
              <a:t>Информационная открытость в вопросах качества – инструмент повышения эффективности отрасли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87339" y="1124744"/>
            <a:ext cx="8569324" cy="112851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700" b="1" dirty="0" smtClean="0">
                <a:solidFill>
                  <a:schemeClr val="tx2"/>
                </a:solidFill>
              </a:rPr>
              <a:t>Основные задачи </a:t>
            </a:r>
            <a:r>
              <a:rPr lang="ru-RU" sz="1700" b="1" dirty="0" smtClean="0">
                <a:solidFill>
                  <a:schemeClr val="accent3"/>
                </a:solidFill>
              </a:rPr>
              <a:t>комплексного мобильного приложения «Паспортизация»</a:t>
            </a:r>
            <a:r>
              <a:rPr lang="ru-RU" sz="1700" b="1" dirty="0" smtClean="0">
                <a:solidFill>
                  <a:schemeClr val="tx2"/>
                </a:solidFill>
              </a:rPr>
              <a:t>, запущенного «</a:t>
            </a:r>
            <a:r>
              <a:rPr lang="ru-RU" sz="1700" b="1" dirty="0" err="1" smtClean="0">
                <a:solidFill>
                  <a:schemeClr val="tx2"/>
                </a:solidFill>
              </a:rPr>
              <a:t>Газпромнефть</a:t>
            </a:r>
            <a:r>
              <a:rPr lang="ru-RU" sz="1700" b="1" dirty="0" smtClean="0">
                <a:solidFill>
                  <a:schemeClr val="tx2"/>
                </a:solidFill>
              </a:rPr>
              <a:t>-Битумные материалы» с 1 января 2016 г.:</a:t>
            </a:r>
          </a:p>
          <a:p>
            <a:pPr marL="444500" indent="-261938">
              <a:lnSpc>
                <a:spcPts val="1400"/>
              </a:lnSpc>
              <a:spcBef>
                <a:spcPts val="600"/>
              </a:spcBef>
              <a:buFontTx/>
              <a:buAutoNum type="arabicPeriod"/>
            </a:pPr>
            <a:r>
              <a:rPr lang="ru-RU" sz="1400" dirty="0" smtClean="0">
                <a:solidFill>
                  <a:schemeClr val="tx2"/>
                </a:solidFill>
              </a:rPr>
              <a:t>Актуальная информация по </a:t>
            </a:r>
            <a:r>
              <a:rPr lang="ru-RU" sz="1400" b="1" dirty="0" smtClean="0">
                <a:solidFill>
                  <a:schemeClr val="tx2"/>
                </a:solidFill>
              </a:rPr>
              <a:t>отгрузке битумной продукции </a:t>
            </a:r>
            <a:r>
              <a:rPr lang="ru-RU" sz="1400" dirty="0" smtClean="0">
                <a:solidFill>
                  <a:schemeClr val="tx2"/>
                </a:solidFill>
              </a:rPr>
              <a:t>в режиме </a:t>
            </a:r>
            <a:r>
              <a:rPr lang="ru-RU" sz="1400" u="sng" dirty="0" smtClean="0">
                <a:solidFill>
                  <a:schemeClr val="tx2"/>
                </a:solidFill>
              </a:rPr>
              <a:t>онлайн</a:t>
            </a:r>
            <a:r>
              <a:rPr lang="ru-RU" sz="1400" dirty="0" smtClean="0">
                <a:solidFill>
                  <a:schemeClr val="tx2"/>
                </a:solidFill>
              </a:rPr>
              <a:t>.</a:t>
            </a:r>
          </a:p>
          <a:p>
            <a:pPr marL="444500" indent="-261938">
              <a:lnSpc>
                <a:spcPts val="1400"/>
              </a:lnSpc>
              <a:spcBef>
                <a:spcPts val="600"/>
              </a:spcBef>
              <a:buFontTx/>
              <a:buAutoNum type="arabicPeriod"/>
            </a:pPr>
            <a:r>
              <a:rPr lang="ru-RU" sz="1400" dirty="0" smtClean="0">
                <a:solidFill>
                  <a:schemeClr val="tx2"/>
                </a:solidFill>
              </a:rPr>
              <a:t>Актуальная информация по </a:t>
            </a:r>
            <a:r>
              <a:rPr lang="ru-RU" sz="1400" b="1" dirty="0" smtClean="0">
                <a:solidFill>
                  <a:schemeClr val="tx2"/>
                </a:solidFill>
              </a:rPr>
              <a:t>качеству партии, скан-копии паспорта качества</a:t>
            </a:r>
            <a:r>
              <a:rPr lang="ru-RU" sz="1400" dirty="0" smtClean="0">
                <a:solidFill>
                  <a:schemeClr val="tx2"/>
                </a:solidFill>
              </a:rPr>
              <a:t>.</a:t>
            </a:r>
          </a:p>
        </p:txBody>
      </p:sp>
      <p:pic>
        <p:nvPicPr>
          <p:cNvPr id="5" name="Рисунок 4"/>
          <p:cNvPicPr preferRelativeResize="0"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56" y="3041314"/>
            <a:ext cx="1512649" cy="2691942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6" name="Рисунок 5"/>
          <p:cNvPicPr preferRelativeResize="0"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964" y="3016041"/>
            <a:ext cx="1524910" cy="271216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7" name="Рисунок 6"/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631" y="3016041"/>
            <a:ext cx="1526276" cy="271216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136" y="1700808"/>
            <a:ext cx="900184" cy="29603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2024844"/>
            <a:ext cx="900287" cy="290776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287524" y="6008906"/>
            <a:ext cx="856895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0070BA">
                    <a:lumMod val="75000"/>
                  </a:srgbClr>
                </a:solidFill>
              </a:rPr>
              <a:t>Ссылки на загрузку приложений: </a:t>
            </a:r>
            <a:r>
              <a:rPr lang="ru-RU" sz="1600" u="sng" dirty="0">
                <a:solidFill>
                  <a:srgbClr val="3C3C3C"/>
                </a:solidFill>
                <a:hlinkClick r:id="rId9"/>
              </a:rPr>
              <a:t>http://www.bitum.gazprom-neft.ru/technology/control/</a:t>
            </a:r>
            <a:endParaRPr lang="ru-RU" sz="1600" dirty="0">
              <a:solidFill>
                <a:srgbClr val="3C3C3C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7524" y="2564904"/>
            <a:ext cx="208823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 smtClean="0">
                <a:solidFill>
                  <a:schemeClr val="accent6"/>
                </a:solidFill>
              </a:rPr>
              <a:t>1. </a:t>
            </a:r>
            <a:r>
              <a:rPr lang="ru-RU" sz="1200" b="1" dirty="0" smtClean="0">
                <a:solidFill>
                  <a:schemeClr val="accent2"/>
                </a:solidFill>
              </a:rPr>
              <a:t>Ввод исходных данных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3959932" y="2564904"/>
            <a:ext cx="489538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>
                <a:solidFill>
                  <a:schemeClr val="accent6"/>
                </a:solidFill>
              </a:rPr>
              <a:t>2. </a:t>
            </a:r>
            <a:r>
              <a:rPr lang="ru-RU" sz="1200" b="1" dirty="0">
                <a:solidFill>
                  <a:schemeClr val="accent2"/>
                </a:solidFill>
              </a:rPr>
              <a:t>Получение  актуальной информации по отгрузке продукции</a:t>
            </a:r>
          </a:p>
        </p:txBody>
      </p:sp>
      <p:sp>
        <p:nvSpPr>
          <p:cNvPr id="15" name="trian14_1_solid"/>
          <p:cNvSpPr/>
          <p:nvPr>
            <p:custDataLst>
              <p:tags r:id="rId1"/>
            </p:custDataLst>
          </p:nvPr>
        </p:nvSpPr>
        <p:spPr>
          <a:xfrm>
            <a:off x="3144717" y="3491519"/>
            <a:ext cx="470988" cy="1593665"/>
          </a:xfrm>
          <a:prstGeom prst="homePlate">
            <a:avLst>
              <a:gd name="adj" fmla="val 9656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89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dirty="0" smtClean="0"/>
              <a:t>Информационная открытость в вопросах качества – инструмент повышения эффективности отрасли</a:t>
            </a:r>
            <a:endParaRPr lang="ru-RU" dirty="0"/>
          </a:p>
        </p:txBody>
      </p:sp>
      <p:pic>
        <p:nvPicPr>
          <p:cNvPr id="2" name="ГПН-БМ Паспортизация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4175956" y="2888940"/>
            <a:ext cx="191148" cy="10752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87339" y="1124744"/>
            <a:ext cx="8569324" cy="112851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700" b="1" dirty="0" smtClean="0">
                <a:solidFill>
                  <a:schemeClr val="tx2"/>
                </a:solidFill>
              </a:rPr>
              <a:t>Основные задачи </a:t>
            </a:r>
            <a:r>
              <a:rPr lang="ru-RU" sz="1700" b="1" dirty="0" smtClean="0">
                <a:solidFill>
                  <a:schemeClr val="accent3"/>
                </a:solidFill>
              </a:rPr>
              <a:t>комплексного мобильного приложения «Паспортизация»</a:t>
            </a:r>
            <a:r>
              <a:rPr lang="ru-RU" sz="1700" b="1" dirty="0" smtClean="0">
                <a:solidFill>
                  <a:schemeClr val="tx2"/>
                </a:solidFill>
              </a:rPr>
              <a:t>, запущенного «</a:t>
            </a:r>
            <a:r>
              <a:rPr lang="ru-RU" sz="1700" b="1" dirty="0" err="1" smtClean="0">
                <a:solidFill>
                  <a:schemeClr val="tx2"/>
                </a:solidFill>
              </a:rPr>
              <a:t>Газпромнефть</a:t>
            </a:r>
            <a:r>
              <a:rPr lang="ru-RU" sz="1700" b="1" dirty="0" smtClean="0">
                <a:solidFill>
                  <a:schemeClr val="tx2"/>
                </a:solidFill>
              </a:rPr>
              <a:t>-Битумные материалы» с 1 января 2016 г.:</a:t>
            </a:r>
          </a:p>
          <a:p>
            <a:pPr marL="444500" indent="-261938">
              <a:lnSpc>
                <a:spcPts val="1400"/>
              </a:lnSpc>
              <a:spcBef>
                <a:spcPts val="600"/>
              </a:spcBef>
              <a:buFontTx/>
              <a:buAutoNum type="arabicPeriod"/>
            </a:pPr>
            <a:r>
              <a:rPr lang="ru-RU" sz="1400" dirty="0" smtClean="0">
                <a:solidFill>
                  <a:schemeClr val="tx2"/>
                </a:solidFill>
              </a:rPr>
              <a:t>Актуальная информация по </a:t>
            </a:r>
            <a:r>
              <a:rPr lang="ru-RU" sz="1400" b="1" dirty="0" smtClean="0">
                <a:solidFill>
                  <a:schemeClr val="tx2"/>
                </a:solidFill>
              </a:rPr>
              <a:t>отгрузке битумной продукции </a:t>
            </a:r>
            <a:r>
              <a:rPr lang="ru-RU" sz="1400" dirty="0" smtClean="0">
                <a:solidFill>
                  <a:schemeClr val="tx2"/>
                </a:solidFill>
              </a:rPr>
              <a:t>в режиме </a:t>
            </a:r>
            <a:r>
              <a:rPr lang="ru-RU" sz="1400" u="sng" dirty="0" smtClean="0">
                <a:solidFill>
                  <a:schemeClr val="tx2"/>
                </a:solidFill>
              </a:rPr>
              <a:t>онлайн</a:t>
            </a:r>
            <a:r>
              <a:rPr lang="ru-RU" sz="1400" dirty="0" smtClean="0">
                <a:solidFill>
                  <a:schemeClr val="tx2"/>
                </a:solidFill>
              </a:rPr>
              <a:t>.</a:t>
            </a:r>
          </a:p>
          <a:p>
            <a:pPr marL="444500" indent="-261938">
              <a:lnSpc>
                <a:spcPts val="1400"/>
              </a:lnSpc>
              <a:spcBef>
                <a:spcPts val="600"/>
              </a:spcBef>
              <a:buFontTx/>
              <a:buAutoNum type="arabicPeriod"/>
            </a:pPr>
            <a:r>
              <a:rPr lang="ru-RU" sz="1400" dirty="0" smtClean="0">
                <a:solidFill>
                  <a:schemeClr val="tx2"/>
                </a:solidFill>
              </a:rPr>
              <a:t>Актуальная информация по </a:t>
            </a:r>
            <a:r>
              <a:rPr lang="ru-RU" sz="1400" b="1" dirty="0" smtClean="0">
                <a:solidFill>
                  <a:schemeClr val="tx2"/>
                </a:solidFill>
              </a:rPr>
              <a:t>качеству партии, скан-копии паспорта качества</a:t>
            </a:r>
            <a:r>
              <a:rPr lang="ru-RU" sz="1400" dirty="0" smtClean="0">
                <a:solidFill>
                  <a:schemeClr val="tx2"/>
                </a:solidFill>
              </a:rPr>
              <a:t>.</a:t>
            </a:r>
          </a:p>
        </p:txBody>
      </p:sp>
      <p:pic>
        <p:nvPicPr>
          <p:cNvPr id="5" name="Рисунок 4"/>
          <p:cNvPicPr preferRelativeResize="0"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56" y="3041314"/>
            <a:ext cx="1512649" cy="2691942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6" name="Рисунок 5"/>
          <p:cNvPicPr preferRelativeResize="0"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7964" y="3016041"/>
            <a:ext cx="1524910" cy="271216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7" name="Рисунок 6"/>
          <p:cNvPicPr preferRelativeResize="0"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631" y="3016041"/>
            <a:ext cx="1526276" cy="2712160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136" y="1700808"/>
            <a:ext cx="900184" cy="29603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6376" y="2024844"/>
            <a:ext cx="900287" cy="29077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287524" y="6008906"/>
            <a:ext cx="856895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z="1600" b="1" dirty="0">
                <a:solidFill>
                  <a:srgbClr val="0070BA">
                    <a:lumMod val="75000"/>
                  </a:srgbClr>
                </a:solidFill>
              </a:rPr>
              <a:t>Ссылки на загрузку приложений: </a:t>
            </a:r>
            <a:r>
              <a:rPr lang="ru-RU" sz="1600" u="sng" dirty="0">
                <a:solidFill>
                  <a:srgbClr val="3C3C3C"/>
                </a:solidFill>
                <a:hlinkClick r:id="rId12"/>
              </a:rPr>
              <a:t>http://www.bitum.gazprom-neft.ru/technology/control/</a:t>
            </a:r>
            <a:endParaRPr lang="ru-RU" sz="1600" dirty="0">
              <a:solidFill>
                <a:srgbClr val="3C3C3C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7524" y="2564904"/>
            <a:ext cx="208823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 smtClean="0">
                <a:solidFill>
                  <a:schemeClr val="accent6"/>
                </a:solidFill>
              </a:rPr>
              <a:t>1. </a:t>
            </a:r>
            <a:r>
              <a:rPr lang="ru-RU" sz="1200" b="1" dirty="0" smtClean="0">
                <a:solidFill>
                  <a:schemeClr val="accent2"/>
                </a:solidFill>
              </a:rPr>
              <a:t>Ввод исходных данных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959932" y="2564904"/>
            <a:ext cx="489538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>
                <a:solidFill>
                  <a:schemeClr val="accent6"/>
                </a:solidFill>
              </a:rPr>
              <a:t>2. </a:t>
            </a:r>
            <a:r>
              <a:rPr lang="ru-RU" sz="1200" b="1" dirty="0">
                <a:solidFill>
                  <a:schemeClr val="accent2"/>
                </a:solidFill>
              </a:rPr>
              <a:t>Получение  актуальной информации по отгрузке продукции</a:t>
            </a:r>
          </a:p>
        </p:txBody>
      </p:sp>
      <p:sp>
        <p:nvSpPr>
          <p:cNvPr id="13" name="trian14_1_solid"/>
          <p:cNvSpPr/>
          <p:nvPr>
            <p:custDataLst>
              <p:tags r:id="rId3"/>
            </p:custDataLst>
          </p:nvPr>
        </p:nvSpPr>
        <p:spPr>
          <a:xfrm>
            <a:off x="3144717" y="3491519"/>
            <a:ext cx="470988" cy="1593665"/>
          </a:xfrm>
          <a:prstGeom prst="homePlate">
            <a:avLst>
              <a:gd name="adj" fmla="val 9656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5912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53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 showWhenStopped="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850423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Slide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7338" y="188640"/>
            <a:ext cx="8560318" cy="610499"/>
          </a:xfrm>
        </p:spPr>
        <p:txBody>
          <a:bodyPr/>
          <a:lstStyle/>
          <a:p>
            <a:r>
              <a:rPr lang="ru-RU" dirty="0" smtClean="0">
                <a:solidFill>
                  <a:srgbClr val="004077"/>
                </a:solidFill>
              </a:rPr>
              <a:t>Анализ опытных участков подтверждает: до 30% экономии бюджетных средств при использовании ПБВ</a:t>
            </a:r>
            <a:endParaRPr lang="ru-RU" dirty="0">
              <a:solidFill>
                <a:srgbClr val="004077"/>
              </a:solidFill>
            </a:endParaRPr>
          </a:p>
        </p:txBody>
      </p:sp>
      <p:graphicFrame>
        <p:nvGraphicFramePr>
          <p:cNvPr id="2" name="Объект 1"/>
          <p:cNvGraphicFramePr>
            <a:graphicFrameLocks noGrp="1"/>
          </p:cNvGraphicFramePr>
          <p:nvPr>
            <p:ph sz="quarter" idx="4294967295"/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862387"/>
              </p:ext>
            </p:extLst>
          </p:nvPr>
        </p:nvGraphicFramePr>
        <p:xfrm>
          <a:off x="287020" y="4108196"/>
          <a:ext cx="8569456" cy="22392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81024"/>
                <a:gridCol w="792088"/>
                <a:gridCol w="756084"/>
                <a:gridCol w="2340260"/>
              </a:tblGrid>
              <a:tr h="324036">
                <a:tc>
                  <a:txBody>
                    <a:bodyPr/>
                    <a:lstStyle>
                      <a:lvl1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Эксплуатационные </a:t>
                      </a:r>
                      <a:r>
                        <a:rPr lang="ru-RU" sz="1200" b="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показатели</a:t>
                      </a:r>
                      <a:endParaRPr lang="ru-RU" sz="1200" b="0" dirty="0">
                        <a:solidFill>
                          <a:schemeClr val="bg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1" u="none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Участки</a:t>
                      </a:r>
                      <a:r>
                        <a:rPr lang="ru-RU" sz="1200" b="1" u="none" kern="1200" baseline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1" u="none" kern="120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на </a:t>
                      </a:r>
                      <a:r>
                        <a:rPr lang="ru-RU" sz="1200" b="1" u="none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ПБВ</a:t>
                      </a:r>
                      <a:endParaRPr lang="ru-RU" sz="1200" b="1" u="none" dirty="0">
                        <a:solidFill>
                          <a:schemeClr val="accent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1pPr>
                      <a:lvl2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2pPr>
                      <a:lvl3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3pPr>
                      <a:lvl4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4pPr>
                      <a:lvl5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5pPr>
                      <a:lvl6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6pPr>
                      <a:lvl7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7pPr>
                      <a:lvl8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8pPr>
                      <a:lvl9pPr>
                        <a:defRPr b="1">
                          <a:solidFill>
                            <a:schemeClr val="lt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b="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Участки</a:t>
                      </a:r>
                      <a:r>
                        <a:rPr lang="ru-RU" sz="1200" b="0" kern="1200" baseline="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ru-RU" sz="1200" b="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на </a:t>
                      </a:r>
                      <a:r>
                        <a:rPr lang="ru-RU" sz="1200" b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БНД</a:t>
                      </a:r>
                      <a:endParaRPr lang="ru-RU" sz="1200" b="0" dirty="0">
                        <a:solidFill>
                          <a:schemeClr val="bg2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3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baseline="0" dirty="0" smtClean="0">
                          <a:solidFill>
                            <a:schemeClr val="accent2"/>
                          </a:solidFill>
                          <a:effectLst/>
                          <a:latin typeface="+mn-lt"/>
                        </a:rPr>
                        <a:t>Эффект                                     от применения ПБВ</a:t>
                      </a:r>
                      <a:endParaRPr lang="ru-RU" sz="1400" b="1" kern="1200" dirty="0" smtClean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28704"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Глубина колеи</a:t>
                      </a:r>
                      <a:r>
                        <a:rPr lang="ru-RU" sz="1100" b="1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100" b="1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мм</a:t>
                      </a:r>
                      <a:endParaRPr lang="en-US" sz="1100" b="1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algn="l" defTabSz="914400" rtl="0" eaLnBrk="1" latinLnBrk="0" hangingPunct="1">
                        <a:lnSpc>
                          <a:spcPts val="800"/>
                        </a:lnSpc>
                        <a:spcAft>
                          <a:spcPts val="0"/>
                        </a:spcAft>
                      </a:pPr>
                      <a:r>
                        <a:rPr lang="ru-RU" sz="8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еньший показатель характеризует лучшую устойчивость к образованию колеи</a:t>
                      </a:r>
                      <a:endParaRPr lang="ru-RU" sz="80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solidFill>
                      <a:schemeClr val="accent4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,6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,1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участке с БНД рекомендован ремонт </a:t>
                      </a:r>
                      <a:r>
                        <a:rPr lang="ru-RU" sz="1000" b="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3 года эксплуатации)</a:t>
                      </a:r>
                      <a:endParaRPr lang="ru-RU" sz="10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</a:tr>
              <a:tr h="293138"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ru-RU" sz="1400" b="1" i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редняя интенсивность образования </a:t>
                      </a:r>
                      <a:r>
                        <a:rPr lang="ru-RU" sz="14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лейности</a:t>
                      </a:r>
                      <a:r>
                        <a:rPr lang="ru-RU" sz="1400" b="1" i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</a:t>
                      </a:r>
                    </a:p>
                    <a:p>
                      <a:pPr algn="l">
                        <a:lnSpc>
                          <a:spcPts val="1500"/>
                        </a:lnSpc>
                        <a:spcAft>
                          <a:spcPts val="0"/>
                        </a:spcAft>
                      </a:pPr>
                      <a:r>
                        <a:rPr lang="ru-RU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%</a:t>
                      </a:r>
                      <a:r>
                        <a:rPr lang="ru-RU" sz="1100" b="1" i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в </a:t>
                      </a:r>
                      <a:r>
                        <a:rPr lang="ru-RU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) </a:t>
                      </a:r>
                      <a:r>
                        <a:rPr lang="ru-RU" sz="800" i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казатель характеризует</a:t>
                      </a:r>
                      <a:r>
                        <a:rPr lang="ru-RU" sz="800" i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корость колейной деформации</a:t>
                      </a:r>
                      <a:endParaRPr lang="ru-RU" sz="800" i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2700" cmpd="sng">
                      <a:noFill/>
                    </a:lnR>
                    <a:lnT w="38100" cmpd="sng">
                      <a:noFill/>
                    </a:lnT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%</a:t>
                      </a:r>
                      <a:r>
                        <a:rPr lang="ru-RU" sz="1800" b="1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8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%</a:t>
                      </a:r>
                      <a:endParaRPr lang="ru-RU" sz="1600" b="1" dirty="0">
                        <a:solidFill>
                          <a:srgbClr val="C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Дорожное полотно деформируется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ru-RU" sz="1200" dirty="0" smtClean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  <a:p>
                      <a:pPr algn="ctr">
                        <a:lnSpc>
                          <a:spcPts val="13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в </a:t>
                      </a:r>
                      <a:r>
                        <a:rPr lang="ru-RU" sz="12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  <a:r>
                        <a:rPr lang="ru-RU" sz="12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раза медленнее</a:t>
                      </a:r>
                      <a:endParaRPr lang="ru-RU" sz="12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</a:tr>
              <a:tr h="204765"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рещиностойкость</a:t>
                      </a:r>
                      <a:r>
                        <a:rPr lang="ru-RU" sz="1000" b="1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МПа</a:t>
                      </a:r>
                    </a:p>
                    <a:p>
                      <a:pPr marL="0" algn="l" defTabSz="914400" rtl="0" eaLnBrk="1" latinLnBrk="0" hangingPunct="1">
                        <a:lnSpc>
                          <a:spcPts val="800"/>
                        </a:lnSpc>
                        <a:spcAft>
                          <a:spcPts val="0"/>
                        </a:spcAft>
                      </a:pPr>
                      <a:r>
                        <a:rPr lang="ru-RU" sz="80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ольший показатель характеризует снижение количества трещин на покрытии</a:t>
                      </a:r>
                      <a:endParaRPr lang="ru-RU" sz="800" i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,2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>
                        <a:defRPr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kern="1200" dirty="0">
                          <a:solidFill>
                            <a:schemeClr val="bg2"/>
                          </a:solidFill>
                          <a:effectLst/>
                          <a:latin typeface="Arial Narrow" panose="020B0606020202030204" pitchFamily="34" charset="0"/>
                        </a:rPr>
                        <a:t>2,6</a:t>
                      </a:r>
                      <a:endParaRPr lang="ru-RU" sz="1600" b="1" dirty="0">
                        <a:solidFill>
                          <a:schemeClr val="bg2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рещиностойкость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                           до </a:t>
                      </a:r>
                      <a:r>
                        <a:rPr lang="ru-RU" sz="1200" b="1" kern="1200" dirty="0" smtClean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3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выше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</a:tr>
              <a:tr h="2169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поперечных трещин на участке</a:t>
                      </a:r>
                      <a:r>
                        <a:rPr lang="ru-RU" sz="1000" b="1" i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(ед.)</a:t>
                      </a:r>
                    </a:p>
                  </a:txBody>
                  <a:tcPr anchor="ctr">
                    <a:lnR w="12700" cmpd="sng">
                      <a:noFill/>
                    </a:lnR>
                    <a:solidFill>
                      <a:schemeClr val="accent4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33</a:t>
                      </a:r>
                      <a:endParaRPr lang="ru-RU" sz="1600" b="1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smtClean="0">
                          <a:solidFill>
                            <a:schemeClr val="bg2"/>
                          </a:solidFill>
                          <a:effectLst/>
                          <a:latin typeface="Arial Narrow" panose="020B0606020202030204" pitchFamily="34" charset="0"/>
                          <a:ea typeface="Calibri"/>
                          <a:cs typeface="Times New Roman"/>
                        </a:rPr>
                        <a:t>40</a:t>
                      </a:r>
                      <a:endParaRPr lang="ru-RU" sz="1600" b="1" dirty="0">
                        <a:solidFill>
                          <a:schemeClr val="bg2"/>
                        </a:solidFill>
                        <a:effectLst/>
                        <a:latin typeface="Arial Narrow" panose="020B0606020202030204" pitchFamily="34" charset="0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стойчивость к образованию трещин выше на </a:t>
                      </a:r>
                      <a:r>
                        <a:rPr lang="ru-RU" sz="1200" b="1" kern="1200" dirty="0" smtClean="0">
                          <a:solidFill>
                            <a:schemeClr val="accent3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%</a:t>
                      </a:r>
                      <a:endParaRPr lang="ru-RU" sz="12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Скругленный прямоугольник 3"/>
          <p:cNvSpPr/>
          <p:nvPr>
            <p:custDataLst>
              <p:tags r:id="rId5"/>
            </p:custDataLst>
          </p:nvPr>
        </p:nvSpPr>
        <p:spPr>
          <a:xfrm>
            <a:off x="4968044" y="4097668"/>
            <a:ext cx="3888936" cy="2249792"/>
          </a:xfrm>
          <a:prstGeom prst="roundRect">
            <a:avLst>
              <a:gd name="adj" fmla="val 4426"/>
            </a:avLst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6372200" y="4625889"/>
            <a:ext cx="288032" cy="243271"/>
            <a:chOff x="6876256" y="2744924"/>
            <a:chExt cx="473678" cy="425258"/>
          </a:xfrm>
        </p:grpSpPr>
        <p:sp>
          <p:nvSpPr>
            <p:cNvPr id="7" name="Равнобедренный треугольник 6"/>
            <p:cNvSpPr/>
            <p:nvPr>
              <p:custDataLst>
                <p:tags r:id="rId6"/>
              </p:custDataLst>
            </p:nvPr>
          </p:nvSpPr>
          <p:spPr>
            <a:xfrm>
              <a:off x="6912260" y="2780928"/>
              <a:ext cx="396043" cy="360040"/>
            </a:xfrm>
            <a:prstGeom prst="triangl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ru-RU" sz="1200" dirty="0" smtClean="0">
                <a:solidFill>
                  <a:schemeClr val="tx1"/>
                </a:solidFill>
              </a:endParaRPr>
            </a:p>
          </p:txBody>
        </p:sp>
        <p:pic>
          <p:nvPicPr>
            <p:cNvPr id="6" name="Picture 2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1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76256" y="2744924"/>
              <a:ext cx="473678" cy="425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69" name="TextBox 68"/>
          <p:cNvSpPr txBox="1"/>
          <p:nvPr/>
        </p:nvSpPr>
        <p:spPr>
          <a:xfrm>
            <a:off x="827079" y="1958930"/>
            <a:ext cx="4068957" cy="226215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tx2"/>
                </a:solidFill>
              </a:rPr>
              <a:t>Оценить </a:t>
            </a:r>
            <a:r>
              <a:rPr lang="ru-RU" sz="1400" b="1" dirty="0" smtClean="0">
                <a:solidFill>
                  <a:schemeClr val="accent3"/>
                </a:solidFill>
              </a:rPr>
              <a:t>эффективность применения ПБВ                       </a:t>
            </a:r>
            <a:r>
              <a:rPr lang="ru-RU" sz="1400" dirty="0" smtClean="0">
                <a:solidFill>
                  <a:schemeClr val="tx2"/>
                </a:solidFill>
              </a:rPr>
              <a:t>в различных климатических условиях;</a:t>
            </a:r>
          </a:p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tx2"/>
                </a:solidFill>
              </a:rPr>
              <a:t>Разрабатывать Рекомендации по </a:t>
            </a:r>
            <a:r>
              <a:rPr lang="ru-RU" sz="1400" b="1" dirty="0" smtClean="0">
                <a:solidFill>
                  <a:schemeClr val="accent3"/>
                </a:solidFill>
              </a:rPr>
              <a:t>применению битумных материалов </a:t>
            </a:r>
            <a:r>
              <a:rPr lang="ru-RU" sz="1400" dirty="0" smtClean="0">
                <a:solidFill>
                  <a:schemeClr val="tx2"/>
                </a:solidFill>
              </a:rPr>
              <a:t>для различных условий эксплуатации автомобильных дорог</a:t>
            </a:r>
          </a:p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tx2"/>
                </a:solidFill>
              </a:rPr>
              <a:t>Показать эффективность и увеличить                            срок службы автомобильных дорог, обеспечить </a:t>
            </a:r>
            <a:r>
              <a:rPr lang="ru-RU" sz="1400" b="1" dirty="0">
                <a:solidFill>
                  <a:schemeClr val="accent3"/>
                </a:solidFill>
              </a:rPr>
              <a:t>экономию </a:t>
            </a:r>
            <a:r>
              <a:rPr lang="ru-RU" sz="1400" b="1" dirty="0" smtClean="0">
                <a:solidFill>
                  <a:schemeClr val="accent3"/>
                </a:solidFill>
              </a:rPr>
              <a:t>до </a:t>
            </a:r>
            <a:r>
              <a:rPr lang="ru-RU" sz="1400" b="1" dirty="0">
                <a:solidFill>
                  <a:schemeClr val="accent6"/>
                </a:solidFill>
              </a:rPr>
              <a:t>30% </a:t>
            </a:r>
            <a:r>
              <a:rPr lang="ru-RU" sz="1400" b="1" dirty="0" smtClean="0">
                <a:solidFill>
                  <a:schemeClr val="accent3"/>
                </a:solidFill>
              </a:rPr>
              <a:t>бюджетных средств</a:t>
            </a:r>
            <a:endParaRPr lang="ru-RU" sz="1400" b="1" dirty="0" smtClean="0">
              <a:solidFill>
                <a:schemeClr val="accent6"/>
              </a:solidFill>
            </a:endParaRPr>
          </a:p>
          <a:p>
            <a:pPr>
              <a:spcBef>
                <a:spcPts val="600"/>
              </a:spcBef>
            </a:pPr>
            <a:endParaRPr lang="ru-RU" sz="1400" b="1" dirty="0" smtClean="0">
              <a:solidFill>
                <a:schemeClr val="accent2"/>
              </a:solidFill>
            </a:endParaRPr>
          </a:p>
        </p:txBody>
      </p:sp>
      <p:pic>
        <p:nvPicPr>
          <p:cNvPr id="30742" name="Picture 22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98" t="11157" r="3853" b="10028"/>
          <a:stretch/>
        </p:blipFill>
        <p:spPr bwMode="auto">
          <a:xfrm>
            <a:off x="4898645" y="1807079"/>
            <a:ext cx="3957831" cy="21585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70981" y="1160748"/>
            <a:ext cx="85856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b="1" dirty="0">
                <a:solidFill>
                  <a:schemeClr val="tx2"/>
                </a:solidFill>
              </a:rPr>
              <a:t>Статистический анализ эксплуатации </a:t>
            </a:r>
            <a:r>
              <a:rPr lang="ru-RU" b="1" dirty="0" smtClean="0">
                <a:solidFill>
                  <a:schemeClr val="tx2"/>
                </a:solidFill>
              </a:rPr>
              <a:t>опытно-экспериментальных </a:t>
            </a:r>
            <a:r>
              <a:rPr lang="ru-RU" b="1" dirty="0">
                <a:solidFill>
                  <a:schemeClr val="tx2"/>
                </a:solidFill>
              </a:rPr>
              <a:t>участков </a:t>
            </a:r>
            <a:r>
              <a:rPr lang="ru-RU" b="1" dirty="0" smtClean="0">
                <a:solidFill>
                  <a:schemeClr val="tx2"/>
                </a:solidFill>
              </a:rPr>
              <a:t>в течение </a:t>
            </a:r>
            <a:r>
              <a:rPr lang="ru-RU" b="1" dirty="0">
                <a:solidFill>
                  <a:schemeClr val="accent6"/>
                </a:solidFill>
              </a:rPr>
              <a:t>5 лет наблюдений </a:t>
            </a:r>
            <a:r>
              <a:rPr lang="ru-RU" b="1" dirty="0">
                <a:solidFill>
                  <a:schemeClr val="tx2"/>
                </a:solidFill>
              </a:rPr>
              <a:t>позволил Компании:</a:t>
            </a:r>
          </a:p>
        </p:txBody>
      </p:sp>
      <p:sp>
        <p:nvSpPr>
          <p:cNvPr id="12" name="temp_prirosta_01"/>
          <p:cNvSpPr>
            <a:spLocks noEditPoints="1"/>
          </p:cNvSpPr>
          <p:nvPr/>
        </p:nvSpPr>
        <p:spPr bwMode="auto">
          <a:xfrm>
            <a:off x="287524" y="2060848"/>
            <a:ext cx="396269" cy="333413"/>
          </a:xfrm>
          <a:custGeom>
            <a:avLst/>
            <a:gdLst>
              <a:gd name="T0" fmla="*/ 1256 w 16146"/>
              <a:gd name="T1" fmla="*/ 0 h 15444"/>
              <a:gd name="T2" fmla="*/ 1256 w 16146"/>
              <a:gd name="T3" fmla="*/ 14189 h 15444"/>
              <a:gd name="T4" fmla="*/ 16146 w 16146"/>
              <a:gd name="T5" fmla="*/ 14189 h 15444"/>
              <a:gd name="T6" fmla="*/ 16146 w 16146"/>
              <a:gd name="T7" fmla="*/ 15444 h 15444"/>
              <a:gd name="T8" fmla="*/ 629 w 16146"/>
              <a:gd name="T9" fmla="*/ 15444 h 15444"/>
              <a:gd name="T10" fmla="*/ 0 w 16146"/>
              <a:gd name="T11" fmla="*/ 15444 h 15444"/>
              <a:gd name="T12" fmla="*/ 0 w 16146"/>
              <a:gd name="T13" fmla="*/ 14816 h 15444"/>
              <a:gd name="T14" fmla="*/ 0 w 16146"/>
              <a:gd name="T15" fmla="*/ 0 h 15444"/>
              <a:gd name="T16" fmla="*/ 1256 w 16146"/>
              <a:gd name="T17" fmla="*/ 0 h 15444"/>
              <a:gd name="T18" fmla="*/ 13212 w 16146"/>
              <a:gd name="T19" fmla="*/ 4604 h 15444"/>
              <a:gd name="T20" fmla="*/ 13212 w 16146"/>
              <a:gd name="T21" fmla="*/ 2929 h 15444"/>
              <a:gd name="T22" fmla="*/ 11535 w 16146"/>
              <a:gd name="T23" fmla="*/ 2929 h 15444"/>
              <a:gd name="T24" fmla="*/ 11535 w 16146"/>
              <a:gd name="T25" fmla="*/ 1675 h 15444"/>
              <a:gd name="T26" fmla="*/ 13212 w 16146"/>
              <a:gd name="T27" fmla="*/ 1675 h 15444"/>
              <a:gd name="T28" fmla="*/ 13212 w 16146"/>
              <a:gd name="T29" fmla="*/ 0 h 15444"/>
              <a:gd name="T30" fmla="*/ 14469 w 16146"/>
              <a:gd name="T31" fmla="*/ 0 h 15444"/>
              <a:gd name="T32" fmla="*/ 14469 w 16146"/>
              <a:gd name="T33" fmla="*/ 1675 h 15444"/>
              <a:gd name="T34" fmla="*/ 16146 w 16146"/>
              <a:gd name="T35" fmla="*/ 1675 h 15444"/>
              <a:gd name="T36" fmla="*/ 16146 w 16146"/>
              <a:gd name="T37" fmla="*/ 2929 h 15444"/>
              <a:gd name="T38" fmla="*/ 14469 w 16146"/>
              <a:gd name="T39" fmla="*/ 2929 h 15444"/>
              <a:gd name="T40" fmla="*/ 14469 w 16146"/>
              <a:gd name="T41" fmla="*/ 4604 h 15444"/>
              <a:gd name="T42" fmla="*/ 13212 w 16146"/>
              <a:gd name="T43" fmla="*/ 4604 h 15444"/>
              <a:gd name="T44" fmla="*/ 13153 w 16146"/>
              <a:gd name="T45" fmla="*/ 7408 h 15444"/>
              <a:gd name="T46" fmla="*/ 13153 w 16146"/>
              <a:gd name="T47" fmla="*/ 13645 h 15444"/>
              <a:gd name="T48" fmla="*/ 9296 w 16146"/>
              <a:gd name="T49" fmla="*/ 13645 h 15444"/>
              <a:gd name="T50" fmla="*/ 9296 w 16146"/>
              <a:gd name="T51" fmla="*/ 7408 h 15444"/>
              <a:gd name="T52" fmla="*/ 13153 w 16146"/>
              <a:gd name="T53" fmla="*/ 7408 h 15444"/>
              <a:gd name="T54" fmla="*/ 7479 w 16146"/>
              <a:gd name="T55" fmla="*/ 10003 h 15444"/>
              <a:gd name="T56" fmla="*/ 7479 w 16146"/>
              <a:gd name="T57" fmla="*/ 13645 h 15444"/>
              <a:gd name="T58" fmla="*/ 3621 w 16146"/>
              <a:gd name="T59" fmla="*/ 13645 h 15444"/>
              <a:gd name="T60" fmla="*/ 3621 w 16146"/>
              <a:gd name="T61" fmla="*/ 10003 h 15444"/>
              <a:gd name="T62" fmla="*/ 7479 w 16146"/>
              <a:gd name="T63" fmla="*/ 10003 h 154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6146" h="15444">
                <a:moveTo>
                  <a:pt x="1256" y="0"/>
                </a:moveTo>
                <a:lnTo>
                  <a:pt x="1256" y="14189"/>
                </a:lnTo>
                <a:lnTo>
                  <a:pt x="16146" y="14189"/>
                </a:lnTo>
                <a:lnTo>
                  <a:pt x="16146" y="15444"/>
                </a:lnTo>
                <a:lnTo>
                  <a:pt x="629" y="15444"/>
                </a:lnTo>
                <a:lnTo>
                  <a:pt x="0" y="15444"/>
                </a:lnTo>
                <a:lnTo>
                  <a:pt x="0" y="14816"/>
                </a:lnTo>
                <a:lnTo>
                  <a:pt x="0" y="0"/>
                </a:lnTo>
                <a:lnTo>
                  <a:pt x="1256" y="0"/>
                </a:lnTo>
                <a:close/>
                <a:moveTo>
                  <a:pt x="13212" y="4604"/>
                </a:moveTo>
                <a:lnTo>
                  <a:pt x="13212" y="2929"/>
                </a:lnTo>
                <a:lnTo>
                  <a:pt x="11535" y="2929"/>
                </a:lnTo>
                <a:lnTo>
                  <a:pt x="11535" y="1675"/>
                </a:lnTo>
                <a:lnTo>
                  <a:pt x="13212" y="1675"/>
                </a:lnTo>
                <a:lnTo>
                  <a:pt x="13212" y="0"/>
                </a:lnTo>
                <a:lnTo>
                  <a:pt x="14469" y="0"/>
                </a:lnTo>
                <a:lnTo>
                  <a:pt x="14469" y="1675"/>
                </a:lnTo>
                <a:lnTo>
                  <a:pt x="16146" y="1675"/>
                </a:lnTo>
                <a:lnTo>
                  <a:pt x="16146" y="2929"/>
                </a:lnTo>
                <a:lnTo>
                  <a:pt x="14469" y="2929"/>
                </a:lnTo>
                <a:lnTo>
                  <a:pt x="14469" y="4604"/>
                </a:lnTo>
                <a:lnTo>
                  <a:pt x="13212" y="4604"/>
                </a:lnTo>
                <a:close/>
                <a:moveTo>
                  <a:pt x="13153" y="7408"/>
                </a:moveTo>
                <a:lnTo>
                  <a:pt x="13153" y="13645"/>
                </a:lnTo>
                <a:lnTo>
                  <a:pt x="9296" y="13645"/>
                </a:lnTo>
                <a:lnTo>
                  <a:pt x="9296" y="7408"/>
                </a:lnTo>
                <a:lnTo>
                  <a:pt x="13153" y="7408"/>
                </a:lnTo>
                <a:close/>
                <a:moveTo>
                  <a:pt x="7479" y="10003"/>
                </a:moveTo>
                <a:lnTo>
                  <a:pt x="7479" y="13645"/>
                </a:lnTo>
                <a:lnTo>
                  <a:pt x="3621" y="13645"/>
                </a:lnTo>
                <a:lnTo>
                  <a:pt x="3621" y="10003"/>
                </a:lnTo>
                <a:lnTo>
                  <a:pt x="7479" y="10003"/>
                </a:lnTo>
                <a:close/>
              </a:path>
            </a:pathLst>
          </a:custGeom>
          <a:solidFill>
            <a:schemeClr val="accent4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traffic"/>
          <p:cNvSpPr>
            <a:spLocks noEditPoints="1"/>
          </p:cNvSpPr>
          <p:nvPr/>
        </p:nvSpPr>
        <p:spPr bwMode="auto">
          <a:xfrm>
            <a:off x="316897" y="2672916"/>
            <a:ext cx="371089" cy="331081"/>
          </a:xfrm>
          <a:custGeom>
            <a:avLst/>
            <a:gdLst>
              <a:gd name="T0" fmla="*/ 10252 w 15960"/>
              <a:gd name="T1" fmla="*/ 16188 h 16188"/>
              <a:gd name="T2" fmla="*/ 10653 w 15960"/>
              <a:gd name="T3" fmla="*/ 12327 h 16188"/>
              <a:gd name="T4" fmla="*/ 11172 w 15960"/>
              <a:gd name="T5" fmla="*/ 11349 h 16188"/>
              <a:gd name="T6" fmla="*/ 10602 w 15960"/>
              <a:gd name="T7" fmla="*/ 10259 h 16188"/>
              <a:gd name="T8" fmla="*/ 8792 w 15960"/>
              <a:gd name="T9" fmla="*/ 7954 h 16188"/>
              <a:gd name="T10" fmla="*/ 5590 w 15960"/>
              <a:gd name="T11" fmla="*/ 7526 h 16188"/>
              <a:gd name="T12" fmla="*/ 2407 w 15960"/>
              <a:gd name="T13" fmla="*/ 7925 h 16188"/>
              <a:gd name="T14" fmla="*/ 584 w 15960"/>
              <a:gd name="T15" fmla="*/ 10259 h 16188"/>
              <a:gd name="T16" fmla="*/ 15 w 15960"/>
              <a:gd name="T17" fmla="*/ 11349 h 16188"/>
              <a:gd name="T18" fmla="*/ 525 w 15960"/>
              <a:gd name="T19" fmla="*/ 12327 h 16188"/>
              <a:gd name="T20" fmla="*/ 927 w 15960"/>
              <a:gd name="T21" fmla="*/ 16188 h 16188"/>
              <a:gd name="T22" fmla="*/ 4797 w 15960"/>
              <a:gd name="T23" fmla="*/ 6294 h 16188"/>
              <a:gd name="T24" fmla="*/ 6093 w 15960"/>
              <a:gd name="T25" fmla="*/ 6847 h 16188"/>
              <a:gd name="T26" fmla="*/ 9101 w 15960"/>
              <a:gd name="T27" fmla="*/ 7346 h 16188"/>
              <a:gd name="T28" fmla="*/ 10570 w 15960"/>
              <a:gd name="T29" fmla="*/ 9556 h 16188"/>
              <a:gd name="T30" fmla="*/ 13436 w 15960"/>
              <a:gd name="T31" fmla="*/ 11080 h 16188"/>
              <a:gd name="T32" fmla="*/ 15226 w 15960"/>
              <a:gd name="T33" fmla="*/ 11347 h 16188"/>
              <a:gd name="T34" fmla="*/ 15351 w 15960"/>
              <a:gd name="T35" fmla="*/ 7287 h 16188"/>
              <a:gd name="T36" fmla="*/ 15948 w 15960"/>
              <a:gd name="T37" fmla="*/ 6339 h 16188"/>
              <a:gd name="T38" fmla="*/ 14614 w 15960"/>
              <a:gd name="T39" fmla="*/ 5110 h 16188"/>
              <a:gd name="T40" fmla="*/ 12987 w 15960"/>
              <a:gd name="T41" fmla="*/ 2962 h 16188"/>
              <a:gd name="T42" fmla="*/ 8949 w 15960"/>
              <a:gd name="T43" fmla="*/ 2778 h 16188"/>
              <a:gd name="T44" fmla="*/ 6889 w 15960"/>
              <a:gd name="T45" fmla="*/ 3331 h 16188"/>
              <a:gd name="T46" fmla="*/ 5189 w 15960"/>
              <a:gd name="T47" fmla="*/ 5555 h 16188"/>
              <a:gd name="T48" fmla="*/ 12376 w 15960"/>
              <a:gd name="T49" fmla="*/ 8709 h 16188"/>
              <a:gd name="T50" fmla="*/ 13121 w 15960"/>
              <a:gd name="T51" fmla="*/ 7871 h 16188"/>
              <a:gd name="T52" fmla="*/ 14352 w 15960"/>
              <a:gd name="T53" fmla="*/ 7681 h 16188"/>
              <a:gd name="T54" fmla="*/ 13751 w 15960"/>
              <a:gd name="T55" fmla="*/ 8835 h 16188"/>
              <a:gd name="T56" fmla="*/ 6721 w 15960"/>
              <a:gd name="T57" fmla="*/ 5797 h 16188"/>
              <a:gd name="T58" fmla="*/ 7748 w 15960"/>
              <a:gd name="T59" fmla="*/ 3791 h 16188"/>
              <a:gd name="T60" fmla="*/ 13174 w 15960"/>
              <a:gd name="T61" fmla="*/ 3871 h 16188"/>
              <a:gd name="T62" fmla="*/ 13909 w 15960"/>
              <a:gd name="T63" fmla="*/ 5935 h 16188"/>
              <a:gd name="T64" fmla="*/ 4102 w 15960"/>
              <a:gd name="T65" fmla="*/ 6588 h 16188"/>
              <a:gd name="T66" fmla="*/ 4813 w 15960"/>
              <a:gd name="T67" fmla="*/ 4982 h 16188"/>
              <a:gd name="T68" fmla="*/ 4529 w 15960"/>
              <a:gd name="T69" fmla="*/ 3532 h 16188"/>
              <a:gd name="T70" fmla="*/ 2328 w 15960"/>
              <a:gd name="T71" fmla="*/ 1962 h 16188"/>
              <a:gd name="T72" fmla="*/ 4853 w 15960"/>
              <a:gd name="T73" fmla="*/ 804 h 16188"/>
              <a:gd name="T74" fmla="*/ 8640 w 15960"/>
              <a:gd name="T75" fmla="*/ 1485 h 16188"/>
              <a:gd name="T76" fmla="*/ 9330 w 15960"/>
              <a:gd name="T77" fmla="*/ 1046 h 16188"/>
              <a:gd name="T78" fmla="*/ 7726 w 15960"/>
              <a:gd name="T79" fmla="*/ 111 h 16188"/>
              <a:gd name="T80" fmla="*/ 3454 w 15960"/>
              <a:gd name="T81" fmla="*/ 111 h 16188"/>
              <a:gd name="T82" fmla="*/ 1813 w 15960"/>
              <a:gd name="T83" fmla="*/ 1178 h 16188"/>
              <a:gd name="T84" fmla="*/ 233 w 15960"/>
              <a:gd name="T85" fmla="*/ 3006 h 16188"/>
              <a:gd name="T86" fmla="*/ 281 w 15960"/>
              <a:gd name="T87" fmla="*/ 4066 h 16188"/>
              <a:gd name="T88" fmla="*/ 588 w 15960"/>
              <a:gd name="T89" fmla="*/ 8492 h 16188"/>
              <a:gd name="T90" fmla="*/ 2071 w 15960"/>
              <a:gd name="T91" fmla="*/ 7329 h 16188"/>
              <a:gd name="T92" fmla="*/ 2149 w 15960"/>
              <a:gd name="T93" fmla="*/ 4861 h 16188"/>
              <a:gd name="T94" fmla="*/ 3637 w 15960"/>
              <a:gd name="T95" fmla="*/ 5727 h 16188"/>
              <a:gd name="T96" fmla="*/ 2338 w 15960"/>
              <a:gd name="T97" fmla="*/ 6106 h 16188"/>
              <a:gd name="T98" fmla="*/ 1567 w 15960"/>
              <a:gd name="T99" fmla="*/ 4998 h 16188"/>
              <a:gd name="T100" fmla="*/ 7656 w 15960"/>
              <a:gd name="T101" fmla="*/ 13549 h 16188"/>
              <a:gd name="T102" fmla="*/ 7984 w 15960"/>
              <a:gd name="T103" fmla="*/ 12836 h 16188"/>
              <a:gd name="T104" fmla="*/ 9523 w 15960"/>
              <a:gd name="T105" fmla="*/ 12419 h 16188"/>
              <a:gd name="T106" fmla="*/ 9152 w 15960"/>
              <a:gd name="T107" fmla="*/ 13603 h 16188"/>
              <a:gd name="T108" fmla="*/ 2050 w 15960"/>
              <a:gd name="T109" fmla="*/ 10725 h 16188"/>
              <a:gd name="T110" fmla="*/ 2784 w 15960"/>
              <a:gd name="T111" fmla="*/ 8668 h 16188"/>
              <a:gd name="T112" fmla="*/ 8205 w 15960"/>
              <a:gd name="T113" fmla="*/ 8567 h 16188"/>
              <a:gd name="T114" fmla="*/ 9238 w 15960"/>
              <a:gd name="T115" fmla="*/ 10579 h 16188"/>
              <a:gd name="T116" fmla="*/ 2178 w 15960"/>
              <a:gd name="T117" fmla="*/ 12397 h 16188"/>
              <a:gd name="T118" fmla="*/ 3638 w 15960"/>
              <a:gd name="T119" fmla="*/ 13277 h 16188"/>
              <a:gd name="T120" fmla="*/ 2292 w 15960"/>
              <a:gd name="T121" fmla="*/ 13630 h 16188"/>
              <a:gd name="T122" fmla="*/ 1577 w 15960"/>
              <a:gd name="T123" fmla="*/ 12506 h 161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960" h="16188">
                <a:moveTo>
                  <a:pt x="2179" y="14979"/>
                </a:moveTo>
                <a:lnTo>
                  <a:pt x="9038" y="14979"/>
                </a:lnTo>
                <a:lnTo>
                  <a:pt x="9038" y="15354"/>
                </a:lnTo>
                <a:lnTo>
                  <a:pt x="8650" y="15354"/>
                </a:lnTo>
                <a:lnTo>
                  <a:pt x="8650" y="15763"/>
                </a:lnTo>
                <a:lnTo>
                  <a:pt x="8650" y="15785"/>
                </a:lnTo>
                <a:lnTo>
                  <a:pt x="8652" y="15807"/>
                </a:lnTo>
                <a:lnTo>
                  <a:pt x="8656" y="15828"/>
                </a:lnTo>
                <a:lnTo>
                  <a:pt x="8659" y="15849"/>
                </a:lnTo>
                <a:lnTo>
                  <a:pt x="8664" y="15869"/>
                </a:lnTo>
                <a:lnTo>
                  <a:pt x="8670" y="15890"/>
                </a:lnTo>
                <a:lnTo>
                  <a:pt x="8676" y="15910"/>
                </a:lnTo>
                <a:lnTo>
                  <a:pt x="8684" y="15929"/>
                </a:lnTo>
                <a:lnTo>
                  <a:pt x="8692" y="15947"/>
                </a:lnTo>
                <a:lnTo>
                  <a:pt x="8701" y="15965"/>
                </a:lnTo>
                <a:lnTo>
                  <a:pt x="8712" y="15984"/>
                </a:lnTo>
                <a:lnTo>
                  <a:pt x="8722" y="16001"/>
                </a:lnTo>
                <a:lnTo>
                  <a:pt x="8734" y="16018"/>
                </a:lnTo>
                <a:lnTo>
                  <a:pt x="8747" y="16033"/>
                </a:lnTo>
                <a:lnTo>
                  <a:pt x="8760" y="16049"/>
                </a:lnTo>
                <a:lnTo>
                  <a:pt x="8774" y="16064"/>
                </a:lnTo>
                <a:lnTo>
                  <a:pt x="8789" y="16078"/>
                </a:lnTo>
                <a:lnTo>
                  <a:pt x="8805" y="16091"/>
                </a:lnTo>
                <a:lnTo>
                  <a:pt x="8820" y="16104"/>
                </a:lnTo>
                <a:lnTo>
                  <a:pt x="8837" y="16115"/>
                </a:lnTo>
                <a:lnTo>
                  <a:pt x="8854" y="16126"/>
                </a:lnTo>
                <a:lnTo>
                  <a:pt x="8872" y="16136"/>
                </a:lnTo>
                <a:lnTo>
                  <a:pt x="8890" y="16147"/>
                </a:lnTo>
                <a:lnTo>
                  <a:pt x="8909" y="16155"/>
                </a:lnTo>
                <a:lnTo>
                  <a:pt x="8928" y="16163"/>
                </a:lnTo>
                <a:lnTo>
                  <a:pt x="8948" y="16169"/>
                </a:lnTo>
                <a:lnTo>
                  <a:pt x="8968" y="16175"/>
                </a:lnTo>
                <a:lnTo>
                  <a:pt x="8988" y="16180"/>
                </a:lnTo>
                <a:lnTo>
                  <a:pt x="9009" y="16183"/>
                </a:lnTo>
                <a:lnTo>
                  <a:pt x="9031" y="16186"/>
                </a:lnTo>
                <a:lnTo>
                  <a:pt x="9052" y="16187"/>
                </a:lnTo>
                <a:lnTo>
                  <a:pt x="9074" y="16188"/>
                </a:lnTo>
                <a:lnTo>
                  <a:pt x="10252" y="16188"/>
                </a:lnTo>
                <a:lnTo>
                  <a:pt x="10274" y="16187"/>
                </a:lnTo>
                <a:lnTo>
                  <a:pt x="10295" y="16186"/>
                </a:lnTo>
                <a:lnTo>
                  <a:pt x="10316" y="16183"/>
                </a:lnTo>
                <a:lnTo>
                  <a:pt x="10337" y="16180"/>
                </a:lnTo>
                <a:lnTo>
                  <a:pt x="10357" y="16175"/>
                </a:lnTo>
                <a:lnTo>
                  <a:pt x="10378" y="16169"/>
                </a:lnTo>
                <a:lnTo>
                  <a:pt x="10398" y="16163"/>
                </a:lnTo>
                <a:lnTo>
                  <a:pt x="10417" y="16155"/>
                </a:lnTo>
                <a:lnTo>
                  <a:pt x="10435" y="16147"/>
                </a:lnTo>
                <a:lnTo>
                  <a:pt x="10453" y="16136"/>
                </a:lnTo>
                <a:lnTo>
                  <a:pt x="10471" y="16126"/>
                </a:lnTo>
                <a:lnTo>
                  <a:pt x="10488" y="16115"/>
                </a:lnTo>
                <a:lnTo>
                  <a:pt x="10505" y="16104"/>
                </a:lnTo>
                <a:lnTo>
                  <a:pt x="10521" y="16091"/>
                </a:lnTo>
                <a:lnTo>
                  <a:pt x="10536" y="16078"/>
                </a:lnTo>
                <a:lnTo>
                  <a:pt x="10551" y="16064"/>
                </a:lnTo>
                <a:lnTo>
                  <a:pt x="10565" y="16049"/>
                </a:lnTo>
                <a:lnTo>
                  <a:pt x="10578" y="16033"/>
                </a:lnTo>
                <a:lnTo>
                  <a:pt x="10590" y="16018"/>
                </a:lnTo>
                <a:lnTo>
                  <a:pt x="10602" y="16001"/>
                </a:lnTo>
                <a:lnTo>
                  <a:pt x="10613" y="15984"/>
                </a:lnTo>
                <a:lnTo>
                  <a:pt x="10624" y="15965"/>
                </a:lnTo>
                <a:lnTo>
                  <a:pt x="10633" y="15947"/>
                </a:lnTo>
                <a:lnTo>
                  <a:pt x="10642" y="15929"/>
                </a:lnTo>
                <a:lnTo>
                  <a:pt x="10649" y="15910"/>
                </a:lnTo>
                <a:lnTo>
                  <a:pt x="10656" y="15890"/>
                </a:lnTo>
                <a:lnTo>
                  <a:pt x="10661" y="15869"/>
                </a:lnTo>
                <a:lnTo>
                  <a:pt x="10666" y="15849"/>
                </a:lnTo>
                <a:lnTo>
                  <a:pt x="10670" y="15828"/>
                </a:lnTo>
                <a:lnTo>
                  <a:pt x="10672" y="15807"/>
                </a:lnTo>
                <a:lnTo>
                  <a:pt x="10674" y="15785"/>
                </a:lnTo>
                <a:lnTo>
                  <a:pt x="10675" y="15763"/>
                </a:lnTo>
                <a:lnTo>
                  <a:pt x="10675" y="12579"/>
                </a:lnTo>
                <a:lnTo>
                  <a:pt x="10673" y="12542"/>
                </a:lnTo>
                <a:lnTo>
                  <a:pt x="10670" y="12489"/>
                </a:lnTo>
                <a:lnTo>
                  <a:pt x="10665" y="12426"/>
                </a:lnTo>
                <a:lnTo>
                  <a:pt x="10658" y="12361"/>
                </a:lnTo>
                <a:lnTo>
                  <a:pt x="10653" y="12327"/>
                </a:lnTo>
                <a:lnTo>
                  <a:pt x="10649" y="12295"/>
                </a:lnTo>
                <a:lnTo>
                  <a:pt x="10644" y="12263"/>
                </a:lnTo>
                <a:lnTo>
                  <a:pt x="10638" y="12234"/>
                </a:lnTo>
                <a:lnTo>
                  <a:pt x="10632" y="12208"/>
                </a:lnTo>
                <a:lnTo>
                  <a:pt x="10626" y="12186"/>
                </a:lnTo>
                <a:lnTo>
                  <a:pt x="10619" y="12166"/>
                </a:lnTo>
                <a:lnTo>
                  <a:pt x="10612" y="12152"/>
                </a:lnTo>
                <a:lnTo>
                  <a:pt x="10608" y="12144"/>
                </a:lnTo>
                <a:lnTo>
                  <a:pt x="10597" y="12119"/>
                </a:lnTo>
                <a:lnTo>
                  <a:pt x="10578" y="12076"/>
                </a:lnTo>
                <a:lnTo>
                  <a:pt x="10553" y="12016"/>
                </a:lnTo>
                <a:lnTo>
                  <a:pt x="10521" y="11938"/>
                </a:lnTo>
                <a:lnTo>
                  <a:pt x="10483" y="11842"/>
                </a:lnTo>
                <a:lnTo>
                  <a:pt x="10463" y="11787"/>
                </a:lnTo>
                <a:lnTo>
                  <a:pt x="10442" y="11727"/>
                </a:lnTo>
                <a:lnTo>
                  <a:pt x="10419" y="11662"/>
                </a:lnTo>
                <a:lnTo>
                  <a:pt x="10395" y="11594"/>
                </a:lnTo>
                <a:lnTo>
                  <a:pt x="10884" y="11594"/>
                </a:lnTo>
                <a:lnTo>
                  <a:pt x="10906" y="11593"/>
                </a:lnTo>
                <a:lnTo>
                  <a:pt x="10927" y="11591"/>
                </a:lnTo>
                <a:lnTo>
                  <a:pt x="10947" y="11587"/>
                </a:lnTo>
                <a:lnTo>
                  <a:pt x="10966" y="11582"/>
                </a:lnTo>
                <a:lnTo>
                  <a:pt x="10985" y="11574"/>
                </a:lnTo>
                <a:lnTo>
                  <a:pt x="11004" y="11566"/>
                </a:lnTo>
                <a:lnTo>
                  <a:pt x="11021" y="11557"/>
                </a:lnTo>
                <a:lnTo>
                  <a:pt x="11038" y="11547"/>
                </a:lnTo>
                <a:lnTo>
                  <a:pt x="11054" y="11536"/>
                </a:lnTo>
                <a:lnTo>
                  <a:pt x="11069" y="11523"/>
                </a:lnTo>
                <a:lnTo>
                  <a:pt x="11083" y="11509"/>
                </a:lnTo>
                <a:lnTo>
                  <a:pt x="11096" y="11494"/>
                </a:lnTo>
                <a:lnTo>
                  <a:pt x="11109" y="11479"/>
                </a:lnTo>
                <a:lnTo>
                  <a:pt x="11121" y="11462"/>
                </a:lnTo>
                <a:lnTo>
                  <a:pt x="11132" y="11445"/>
                </a:lnTo>
                <a:lnTo>
                  <a:pt x="11142" y="11427"/>
                </a:lnTo>
                <a:lnTo>
                  <a:pt x="11151" y="11408"/>
                </a:lnTo>
                <a:lnTo>
                  <a:pt x="11159" y="11389"/>
                </a:lnTo>
                <a:lnTo>
                  <a:pt x="11166" y="11369"/>
                </a:lnTo>
                <a:lnTo>
                  <a:pt x="11172" y="11349"/>
                </a:lnTo>
                <a:lnTo>
                  <a:pt x="11177" y="11328"/>
                </a:lnTo>
                <a:lnTo>
                  <a:pt x="11181" y="11306"/>
                </a:lnTo>
                <a:lnTo>
                  <a:pt x="11184" y="11285"/>
                </a:lnTo>
                <a:lnTo>
                  <a:pt x="11186" y="11263"/>
                </a:lnTo>
                <a:lnTo>
                  <a:pt x="11187" y="11241"/>
                </a:lnTo>
                <a:lnTo>
                  <a:pt x="11187" y="11218"/>
                </a:lnTo>
                <a:lnTo>
                  <a:pt x="11186" y="11196"/>
                </a:lnTo>
                <a:lnTo>
                  <a:pt x="11183" y="11174"/>
                </a:lnTo>
                <a:lnTo>
                  <a:pt x="11180" y="11150"/>
                </a:lnTo>
                <a:lnTo>
                  <a:pt x="11175" y="11128"/>
                </a:lnTo>
                <a:lnTo>
                  <a:pt x="11170" y="11106"/>
                </a:lnTo>
                <a:lnTo>
                  <a:pt x="11163" y="11084"/>
                </a:lnTo>
                <a:lnTo>
                  <a:pt x="11018" y="10659"/>
                </a:lnTo>
                <a:lnTo>
                  <a:pt x="11010" y="10637"/>
                </a:lnTo>
                <a:lnTo>
                  <a:pt x="11001" y="10615"/>
                </a:lnTo>
                <a:lnTo>
                  <a:pt x="10991" y="10594"/>
                </a:lnTo>
                <a:lnTo>
                  <a:pt x="10979" y="10573"/>
                </a:lnTo>
                <a:lnTo>
                  <a:pt x="10967" y="10553"/>
                </a:lnTo>
                <a:lnTo>
                  <a:pt x="10955" y="10532"/>
                </a:lnTo>
                <a:lnTo>
                  <a:pt x="10941" y="10512"/>
                </a:lnTo>
                <a:lnTo>
                  <a:pt x="10927" y="10493"/>
                </a:lnTo>
                <a:lnTo>
                  <a:pt x="10912" y="10475"/>
                </a:lnTo>
                <a:lnTo>
                  <a:pt x="10897" y="10456"/>
                </a:lnTo>
                <a:lnTo>
                  <a:pt x="10881" y="10438"/>
                </a:lnTo>
                <a:lnTo>
                  <a:pt x="10863" y="10421"/>
                </a:lnTo>
                <a:lnTo>
                  <a:pt x="10846" y="10404"/>
                </a:lnTo>
                <a:lnTo>
                  <a:pt x="10828" y="10389"/>
                </a:lnTo>
                <a:lnTo>
                  <a:pt x="10809" y="10372"/>
                </a:lnTo>
                <a:lnTo>
                  <a:pt x="10790" y="10358"/>
                </a:lnTo>
                <a:lnTo>
                  <a:pt x="10771" y="10344"/>
                </a:lnTo>
                <a:lnTo>
                  <a:pt x="10751" y="10331"/>
                </a:lnTo>
                <a:lnTo>
                  <a:pt x="10730" y="10318"/>
                </a:lnTo>
                <a:lnTo>
                  <a:pt x="10709" y="10306"/>
                </a:lnTo>
                <a:lnTo>
                  <a:pt x="10689" y="10295"/>
                </a:lnTo>
                <a:lnTo>
                  <a:pt x="10668" y="10284"/>
                </a:lnTo>
                <a:lnTo>
                  <a:pt x="10646" y="10275"/>
                </a:lnTo>
                <a:lnTo>
                  <a:pt x="10625" y="10267"/>
                </a:lnTo>
                <a:lnTo>
                  <a:pt x="10602" y="10259"/>
                </a:lnTo>
                <a:lnTo>
                  <a:pt x="10580" y="10252"/>
                </a:lnTo>
                <a:lnTo>
                  <a:pt x="10558" y="10247"/>
                </a:lnTo>
                <a:lnTo>
                  <a:pt x="10536" y="10242"/>
                </a:lnTo>
                <a:lnTo>
                  <a:pt x="10514" y="10238"/>
                </a:lnTo>
                <a:lnTo>
                  <a:pt x="10491" y="10236"/>
                </a:lnTo>
                <a:lnTo>
                  <a:pt x="10470" y="10234"/>
                </a:lnTo>
                <a:lnTo>
                  <a:pt x="10448" y="10233"/>
                </a:lnTo>
                <a:lnTo>
                  <a:pt x="9959" y="10233"/>
                </a:lnTo>
                <a:lnTo>
                  <a:pt x="9901" y="10065"/>
                </a:lnTo>
                <a:lnTo>
                  <a:pt x="9841" y="9900"/>
                </a:lnTo>
                <a:lnTo>
                  <a:pt x="9783" y="9738"/>
                </a:lnTo>
                <a:lnTo>
                  <a:pt x="9725" y="9581"/>
                </a:lnTo>
                <a:lnTo>
                  <a:pt x="9670" y="9431"/>
                </a:lnTo>
                <a:lnTo>
                  <a:pt x="9614" y="9286"/>
                </a:lnTo>
                <a:lnTo>
                  <a:pt x="9562" y="9148"/>
                </a:lnTo>
                <a:lnTo>
                  <a:pt x="9510" y="9019"/>
                </a:lnTo>
                <a:lnTo>
                  <a:pt x="9463" y="8897"/>
                </a:lnTo>
                <a:lnTo>
                  <a:pt x="9418" y="8785"/>
                </a:lnTo>
                <a:lnTo>
                  <a:pt x="9376" y="8684"/>
                </a:lnTo>
                <a:lnTo>
                  <a:pt x="9339" y="8593"/>
                </a:lnTo>
                <a:lnTo>
                  <a:pt x="9305" y="8514"/>
                </a:lnTo>
                <a:lnTo>
                  <a:pt x="9276" y="8447"/>
                </a:lnTo>
                <a:lnTo>
                  <a:pt x="9251" y="8393"/>
                </a:lnTo>
                <a:lnTo>
                  <a:pt x="9232" y="8354"/>
                </a:lnTo>
                <a:lnTo>
                  <a:pt x="9211" y="8315"/>
                </a:lnTo>
                <a:lnTo>
                  <a:pt x="9187" y="8277"/>
                </a:lnTo>
                <a:lnTo>
                  <a:pt x="9162" y="8242"/>
                </a:lnTo>
                <a:lnTo>
                  <a:pt x="9134" y="8208"/>
                </a:lnTo>
                <a:lnTo>
                  <a:pt x="9106" y="8176"/>
                </a:lnTo>
                <a:lnTo>
                  <a:pt x="9076" y="8146"/>
                </a:lnTo>
                <a:lnTo>
                  <a:pt x="9045" y="8117"/>
                </a:lnTo>
                <a:lnTo>
                  <a:pt x="9011" y="8090"/>
                </a:lnTo>
                <a:lnTo>
                  <a:pt x="8978" y="8065"/>
                </a:lnTo>
                <a:lnTo>
                  <a:pt x="8943" y="8040"/>
                </a:lnTo>
                <a:lnTo>
                  <a:pt x="8907" y="8017"/>
                </a:lnTo>
                <a:lnTo>
                  <a:pt x="8869" y="7995"/>
                </a:lnTo>
                <a:lnTo>
                  <a:pt x="8831" y="7974"/>
                </a:lnTo>
                <a:lnTo>
                  <a:pt x="8792" y="7954"/>
                </a:lnTo>
                <a:lnTo>
                  <a:pt x="8752" y="7936"/>
                </a:lnTo>
                <a:lnTo>
                  <a:pt x="8712" y="7918"/>
                </a:lnTo>
                <a:lnTo>
                  <a:pt x="8672" y="7901"/>
                </a:lnTo>
                <a:lnTo>
                  <a:pt x="8630" y="7885"/>
                </a:lnTo>
                <a:lnTo>
                  <a:pt x="8588" y="7869"/>
                </a:lnTo>
                <a:lnTo>
                  <a:pt x="8547" y="7855"/>
                </a:lnTo>
                <a:lnTo>
                  <a:pt x="8463" y="7827"/>
                </a:lnTo>
                <a:lnTo>
                  <a:pt x="8378" y="7801"/>
                </a:lnTo>
                <a:lnTo>
                  <a:pt x="8296" y="7776"/>
                </a:lnTo>
                <a:lnTo>
                  <a:pt x="8214" y="7751"/>
                </a:lnTo>
                <a:lnTo>
                  <a:pt x="8134" y="7727"/>
                </a:lnTo>
                <a:lnTo>
                  <a:pt x="8058" y="7702"/>
                </a:lnTo>
                <a:lnTo>
                  <a:pt x="8051" y="7700"/>
                </a:lnTo>
                <a:lnTo>
                  <a:pt x="8029" y="7694"/>
                </a:lnTo>
                <a:lnTo>
                  <a:pt x="7993" y="7685"/>
                </a:lnTo>
                <a:lnTo>
                  <a:pt x="7940" y="7674"/>
                </a:lnTo>
                <a:lnTo>
                  <a:pt x="7868" y="7661"/>
                </a:lnTo>
                <a:lnTo>
                  <a:pt x="7777" y="7647"/>
                </a:lnTo>
                <a:lnTo>
                  <a:pt x="7725" y="7639"/>
                </a:lnTo>
                <a:lnTo>
                  <a:pt x="7667" y="7631"/>
                </a:lnTo>
                <a:lnTo>
                  <a:pt x="7605" y="7623"/>
                </a:lnTo>
                <a:lnTo>
                  <a:pt x="7536" y="7614"/>
                </a:lnTo>
                <a:lnTo>
                  <a:pt x="7462" y="7606"/>
                </a:lnTo>
                <a:lnTo>
                  <a:pt x="7382" y="7597"/>
                </a:lnTo>
                <a:lnTo>
                  <a:pt x="7296" y="7590"/>
                </a:lnTo>
                <a:lnTo>
                  <a:pt x="7206" y="7582"/>
                </a:lnTo>
                <a:lnTo>
                  <a:pt x="7108" y="7574"/>
                </a:lnTo>
                <a:lnTo>
                  <a:pt x="7004" y="7567"/>
                </a:lnTo>
                <a:lnTo>
                  <a:pt x="6893" y="7560"/>
                </a:lnTo>
                <a:lnTo>
                  <a:pt x="6776" y="7554"/>
                </a:lnTo>
                <a:lnTo>
                  <a:pt x="6653" y="7548"/>
                </a:lnTo>
                <a:lnTo>
                  <a:pt x="6523" y="7543"/>
                </a:lnTo>
                <a:lnTo>
                  <a:pt x="6385" y="7538"/>
                </a:lnTo>
                <a:lnTo>
                  <a:pt x="6241" y="7533"/>
                </a:lnTo>
                <a:lnTo>
                  <a:pt x="6090" y="7530"/>
                </a:lnTo>
                <a:lnTo>
                  <a:pt x="5930" y="7528"/>
                </a:lnTo>
                <a:lnTo>
                  <a:pt x="5764" y="7526"/>
                </a:lnTo>
                <a:lnTo>
                  <a:pt x="5590" y="7526"/>
                </a:lnTo>
                <a:lnTo>
                  <a:pt x="5415" y="7526"/>
                </a:lnTo>
                <a:lnTo>
                  <a:pt x="5249" y="7528"/>
                </a:lnTo>
                <a:lnTo>
                  <a:pt x="5089" y="7530"/>
                </a:lnTo>
                <a:lnTo>
                  <a:pt x="4938" y="7533"/>
                </a:lnTo>
                <a:lnTo>
                  <a:pt x="4794" y="7538"/>
                </a:lnTo>
                <a:lnTo>
                  <a:pt x="4656" y="7543"/>
                </a:lnTo>
                <a:lnTo>
                  <a:pt x="4526" y="7548"/>
                </a:lnTo>
                <a:lnTo>
                  <a:pt x="4403" y="7554"/>
                </a:lnTo>
                <a:lnTo>
                  <a:pt x="4286" y="7560"/>
                </a:lnTo>
                <a:lnTo>
                  <a:pt x="4175" y="7567"/>
                </a:lnTo>
                <a:lnTo>
                  <a:pt x="4071" y="7574"/>
                </a:lnTo>
                <a:lnTo>
                  <a:pt x="3973" y="7582"/>
                </a:lnTo>
                <a:lnTo>
                  <a:pt x="3882" y="7590"/>
                </a:lnTo>
                <a:lnTo>
                  <a:pt x="3797" y="7597"/>
                </a:lnTo>
                <a:lnTo>
                  <a:pt x="3717" y="7606"/>
                </a:lnTo>
                <a:lnTo>
                  <a:pt x="3643" y="7614"/>
                </a:lnTo>
                <a:lnTo>
                  <a:pt x="3574" y="7623"/>
                </a:lnTo>
                <a:lnTo>
                  <a:pt x="3512" y="7631"/>
                </a:lnTo>
                <a:lnTo>
                  <a:pt x="3454" y="7639"/>
                </a:lnTo>
                <a:lnTo>
                  <a:pt x="3401" y="7647"/>
                </a:lnTo>
                <a:lnTo>
                  <a:pt x="3311" y="7661"/>
                </a:lnTo>
                <a:lnTo>
                  <a:pt x="3239" y="7674"/>
                </a:lnTo>
                <a:lnTo>
                  <a:pt x="3186" y="7685"/>
                </a:lnTo>
                <a:lnTo>
                  <a:pt x="3149" y="7694"/>
                </a:lnTo>
                <a:lnTo>
                  <a:pt x="3127" y="7700"/>
                </a:lnTo>
                <a:lnTo>
                  <a:pt x="3120" y="7702"/>
                </a:lnTo>
                <a:lnTo>
                  <a:pt x="3054" y="7721"/>
                </a:lnTo>
                <a:lnTo>
                  <a:pt x="2981" y="7739"/>
                </a:lnTo>
                <a:lnTo>
                  <a:pt x="2905" y="7758"/>
                </a:lnTo>
                <a:lnTo>
                  <a:pt x="2824" y="7779"/>
                </a:lnTo>
                <a:lnTo>
                  <a:pt x="2741" y="7803"/>
                </a:lnTo>
                <a:lnTo>
                  <a:pt x="2657" y="7828"/>
                </a:lnTo>
                <a:lnTo>
                  <a:pt x="2614" y="7842"/>
                </a:lnTo>
                <a:lnTo>
                  <a:pt x="2572" y="7856"/>
                </a:lnTo>
                <a:lnTo>
                  <a:pt x="2531" y="7872"/>
                </a:lnTo>
                <a:lnTo>
                  <a:pt x="2488" y="7889"/>
                </a:lnTo>
                <a:lnTo>
                  <a:pt x="2447" y="7906"/>
                </a:lnTo>
                <a:lnTo>
                  <a:pt x="2407" y="7925"/>
                </a:lnTo>
                <a:lnTo>
                  <a:pt x="2366" y="7944"/>
                </a:lnTo>
                <a:lnTo>
                  <a:pt x="2327" y="7966"/>
                </a:lnTo>
                <a:lnTo>
                  <a:pt x="2289" y="7988"/>
                </a:lnTo>
                <a:lnTo>
                  <a:pt x="2251" y="8011"/>
                </a:lnTo>
                <a:lnTo>
                  <a:pt x="2215" y="8036"/>
                </a:lnTo>
                <a:lnTo>
                  <a:pt x="2181" y="8063"/>
                </a:lnTo>
                <a:lnTo>
                  <a:pt x="2147" y="8091"/>
                </a:lnTo>
                <a:lnTo>
                  <a:pt x="2116" y="8120"/>
                </a:lnTo>
                <a:lnTo>
                  <a:pt x="2086" y="8152"/>
                </a:lnTo>
                <a:lnTo>
                  <a:pt x="2058" y="8184"/>
                </a:lnTo>
                <a:lnTo>
                  <a:pt x="2032" y="8219"/>
                </a:lnTo>
                <a:lnTo>
                  <a:pt x="2007" y="8256"/>
                </a:lnTo>
                <a:lnTo>
                  <a:pt x="1986" y="8294"/>
                </a:lnTo>
                <a:lnTo>
                  <a:pt x="1967" y="8335"/>
                </a:lnTo>
                <a:lnTo>
                  <a:pt x="1945" y="8385"/>
                </a:lnTo>
                <a:lnTo>
                  <a:pt x="1918" y="8449"/>
                </a:lnTo>
                <a:lnTo>
                  <a:pt x="1886" y="8524"/>
                </a:lnTo>
                <a:lnTo>
                  <a:pt x="1851" y="8609"/>
                </a:lnTo>
                <a:lnTo>
                  <a:pt x="1812" y="8704"/>
                </a:lnTo>
                <a:lnTo>
                  <a:pt x="1769" y="8809"/>
                </a:lnTo>
                <a:lnTo>
                  <a:pt x="1724" y="8923"/>
                </a:lnTo>
                <a:lnTo>
                  <a:pt x="1676" y="9044"/>
                </a:lnTo>
                <a:lnTo>
                  <a:pt x="1625" y="9174"/>
                </a:lnTo>
                <a:lnTo>
                  <a:pt x="1573" y="9310"/>
                </a:lnTo>
                <a:lnTo>
                  <a:pt x="1518" y="9452"/>
                </a:lnTo>
                <a:lnTo>
                  <a:pt x="1462" y="9599"/>
                </a:lnTo>
                <a:lnTo>
                  <a:pt x="1405" y="9752"/>
                </a:lnTo>
                <a:lnTo>
                  <a:pt x="1348" y="9909"/>
                </a:lnTo>
                <a:lnTo>
                  <a:pt x="1291" y="10070"/>
                </a:lnTo>
                <a:lnTo>
                  <a:pt x="1232" y="10233"/>
                </a:lnTo>
                <a:lnTo>
                  <a:pt x="739" y="10233"/>
                </a:lnTo>
                <a:lnTo>
                  <a:pt x="717" y="10234"/>
                </a:lnTo>
                <a:lnTo>
                  <a:pt x="695" y="10236"/>
                </a:lnTo>
                <a:lnTo>
                  <a:pt x="672" y="10238"/>
                </a:lnTo>
                <a:lnTo>
                  <a:pt x="650" y="10242"/>
                </a:lnTo>
                <a:lnTo>
                  <a:pt x="628" y="10247"/>
                </a:lnTo>
                <a:lnTo>
                  <a:pt x="606" y="10252"/>
                </a:lnTo>
                <a:lnTo>
                  <a:pt x="584" y="10259"/>
                </a:lnTo>
                <a:lnTo>
                  <a:pt x="562" y="10267"/>
                </a:lnTo>
                <a:lnTo>
                  <a:pt x="540" y="10275"/>
                </a:lnTo>
                <a:lnTo>
                  <a:pt x="519" y="10284"/>
                </a:lnTo>
                <a:lnTo>
                  <a:pt x="497" y="10295"/>
                </a:lnTo>
                <a:lnTo>
                  <a:pt x="477" y="10306"/>
                </a:lnTo>
                <a:lnTo>
                  <a:pt x="456" y="10318"/>
                </a:lnTo>
                <a:lnTo>
                  <a:pt x="436" y="10331"/>
                </a:lnTo>
                <a:lnTo>
                  <a:pt x="415" y="10344"/>
                </a:lnTo>
                <a:lnTo>
                  <a:pt x="396" y="10358"/>
                </a:lnTo>
                <a:lnTo>
                  <a:pt x="377" y="10372"/>
                </a:lnTo>
                <a:lnTo>
                  <a:pt x="359" y="10389"/>
                </a:lnTo>
                <a:lnTo>
                  <a:pt x="341" y="10404"/>
                </a:lnTo>
                <a:lnTo>
                  <a:pt x="323" y="10421"/>
                </a:lnTo>
                <a:lnTo>
                  <a:pt x="306" y="10438"/>
                </a:lnTo>
                <a:lnTo>
                  <a:pt x="289" y="10456"/>
                </a:lnTo>
                <a:lnTo>
                  <a:pt x="274" y="10475"/>
                </a:lnTo>
                <a:lnTo>
                  <a:pt x="259" y="10493"/>
                </a:lnTo>
                <a:lnTo>
                  <a:pt x="245" y="10512"/>
                </a:lnTo>
                <a:lnTo>
                  <a:pt x="232" y="10532"/>
                </a:lnTo>
                <a:lnTo>
                  <a:pt x="219" y="10553"/>
                </a:lnTo>
                <a:lnTo>
                  <a:pt x="208" y="10573"/>
                </a:lnTo>
                <a:lnTo>
                  <a:pt x="197" y="10594"/>
                </a:lnTo>
                <a:lnTo>
                  <a:pt x="187" y="10615"/>
                </a:lnTo>
                <a:lnTo>
                  <a:pt x="177" y="10637"/>
                </a:lnTo>
                <a:lnTo>
                  <a:pt x="169" y="10659"/>
                </a:lnTo>
                <a:lnTo>
                  <a:pt x="24" y="11084"/>
                </a:lnTo>
                <a:lnTo>
                  <a:pt x="17" y="11106"/>
                </a:lnTo>
                <a:lnTo>
                  <a:pt x="12" y="11128"/>
                </a:lnTo>
                <a:lnTo>
                  <a:pt x="7" y="11150"/>
                </a:lnTo>
                <a:lnTo>
                  <a:pt x="4" y="11174"/>
                </a:lnTo>
                <a:lnTo>
                  <a:pt x="1" y="11196"/>
                </a:lnTo>
                <a:lnTo>
                  <a:pt x="0" y="11218"/>
                </a:lnTo>
                <a:lnTo>
                  <a:pt x="0" y="11241"/>
                </a:lnTo>
                <a:lnTo>
                  <a:pt x="1" y="11263"/>
                </a:lnTo>
                <a:lnTo>
                  <a:pt x="3" y="11285"/>
                </a:lnTo>
                <a:lnTo>
                  <a:pt x="6" y="11306"/>
                </a:lnTo>
                <a:lnTo>
                  <a:pt x="10" y="11328"/>
                </a:lnTo>
                <a:lnTo>
                  <a:pt x="15" y="11349"/>
                </a:lnTo>
                <a:lnTo>
                  <a:pt x="21" y="11369"/>
                </a:lnTo>
                <a:lnTo>
                  <a:pt x="28" y="11389"/>
                </a:lnTo>
                <a:lnTo>
                  <a:pt x="36" y="11408"/>
                </a:lnTo>
                <a:lnTo>
                  <a:pt x="45" y="11427"/>
                </a:lnTo>
                <a:lnTo>
                  <a:pt x="55" y="11445"/>
                </a:lnTo>
                <a:lnTo>
                  <a:pt x="67" y="11462"/>
                </a:lnTo>
                <a:lnTo>
                  <a:pt x="78" y="11479"/>
                </a:lnTo>
                <a:lnTo>
                  <a:pt x="91" y="11494"/>
                </a:lnTo>
                <a:lnTo>
                  <a:pt x="104" y="11509"/>
                </a:lnTo>
                <a:lnTo>
                  <a:pt x="118" y="11523"/>
                </a:lnTo>
                <a:lnTo>
                  <a:pt x="133" y="11536"/>
                </a:lnTo>
                <a:lnTo>
                  <a:pt x="149" y="11547"/>
                </a:lnTo>
                <a:lnTo>
                  <a:pt x="165" y="11557"/>
                </a:lnTo>
                <a:lnTo>
                  <a:pt x="183" y="11566"/>
                </a:lnTo>
                <a:lnTo>
                  <a:pt x="202" y="11574"/>
                </a:lnTo>
                <a:lnTo>
                  <a:pt x="220" y="11582"/>
                </a:lnTo>
                <a:lnTo>
                  <a:pt x="240" y="11587"/>
                </a:lnTo>
                <a:lnTo>
                  <a:pt x="260" y="11591"/>
                </a:lnTo>
                <a:lnTo>
                  <a:pt x="281" y="11593"/>
                </a:lnTo>
                <a:lnTo>
                  <a:pt x="302" y="11594"/>
                </a:lnTo>
                <a:lnTo>
                  <a:pt x="787" y="11594"/>
                </a:lnTo>
                <a:lnTo>
                  <a:pt x="762" y="11662"/>
                </a:lnTo>
                <a:lnTo>
                  <a:pt x="739" y="11727"/>
                </a:lnTo>
                <a:lnTo>
                  <a:pt x="717" y="11787"/>
                </a:lnTo>
                <a:lnTo>
                  <a:pt x="697" y="11842"/>
                </a:lnTo>
                <a:lnTo>
                  <a:pt x="658" y="11938"/>
                </a:lnTo>
                <a:lnTo>
                  <a:pt x="626" y="12016"/>
                </a:lnTo>
                <a:lnTo>
                  <a:pt x="601" y="12076"/>
                </a:lnTo>
                <a:lnTo>
                  <a:pt x="581" y="12119"/>
                </a:lnTo>
                <a:lnTo>
                  <a:pt x="570" y="12144"/>
                </a:lnTo>
                <a:lnTo>
                  <a:pt x="566" y="12152"/>
                </a:lnTo>
                <a:lnTo>
                  <a:pt x="559" y="12166"/>
                </a:lnTo>
                <a:lnTo>
                  <a:pt x="553" y="12186"/>
                </a:lnTo>
                <a:lnTo>
                  <a:pt x="546" y="12208"/>
                </a:lnTo>
                <a:lnTo>
                  <a:pt x="540" y="12234"/>
                </a:lnTo>
                <a:lnTo>
                  <a:pt x="534" y="12263"/>
                </a:lnTo>
                <a:lnTo>
                  <a:pt x="529" y="12295"/>
                </a:lnTo>
                <a:lnTo>
                  <a:pt x="525" y="12327"/>
                </a:lnTo>
                <a:lnTo>
                  <a:pt x="520" y="12361"/>
                </a:lnTo>
                <a:lnTo>
                  <a:pt x="513" y="12426"/>
                </a:lnTo>
                <a:lnTo>
                  <a:pt x="508" y="12489"/>
                </a:lnTo>
                <a:lnTo>
                  <a:pt x="504" y="12542"/>
                </a:lnTo>
                <a:lnTo>
                  <a:pt x="503" y="12579"/>
                </a:lnTo>
                <a:lnTo>
                  <a:pt x="503" y="15763"/>
                </a:lnTo>
                <a:lnTo>
                  <a:pt x="504" y="15785"/>
                </a:lnTo>
                <a:lnTo>
                  <a:pt x="505" y="15807"/>
                </a:lnTo>
                <a:lnTo>
                  <a:pt x="508" y="15828"/>
                </a:lnTo>
                <a:lnTo>
                  <a:pt x="512" y="15849"/>
                </a:lnTo>
                <a:lnTo>
                  <a:pt x="516" y="15869"/>
                </a:lnTo>
                <a:lnTo>
                  <a:pt x="522" y="15890"/>
                </a:lnTo>
                <a:lnTo>
                  <a:pt x="529" y="15910"/>
                </a:lnTo>
                <a:lnTo>
                  <a:pt x="536" y="15929"/>
                </a:lnTo>
                <a:lnTo>
                  <a:pt x="545" y="15947"/>
                </a:lnTo>
                <a:lnTo>
                  <a:pt x="555" y="15965"/>
                </a:lnTo>
                <a:lnTo>
                  <a:pt x="565" y="15984"/>
                </a:lnTo>
                <a:lnTo>
                  <a:pt x="576" y="16001"/>
                </a:lnTo>
                <a:lnTo>
                  <a:pt x="588" y="16018"/>
                </a:lnTo>
                <a:lnTo>
                  <a:pt x="600" y="16033"/>
                </a:lnTo>
                <a:lnTo>
                  <a:pt x="613" y="16049"/>
                </a:lnTo>
                <a:lnTo>
                  <a:pt x="627" y="16064"/>
                </a:lnTo>
                <a:lnTo>
                  <a:pt x="642" y="16078"/>
                </a:lnTo>
                <a:lnTo>
                  <a:pt x="657" y="16091"/>
                </a:lnTo>
                <a:lnTo>
                  <a:pt x="673" y="16104"/>
                </a:lnTo>
                <a:lnTo>
                  <a:pt x="690" y="16115"/>
                </a:lnTo>
                <a:lnTo>
                  <a:pt x="707" y="16126"/>
                </a:lnTo>
                <a:lnTo>
                  <a:pt x="725" y="16136"/>
                </a:lnTo>
                <a:lnTo>
                  <a:pt x="743" y="16147"/>
                </a:lnTo>
                <a:lnTo>
                  <a:pt x="762" y="16155"/>
                </a:lnTo>
                <a:lnTo>
                  <a:pt x="781" y="16163"/>
                </a:lnTo>
                <a:lnTo>
                  <a:pt x="801" y="16169"/>
                </a:lnTo>
                <a:lnTo>
                  <a:pt x="821" y="16175"/>
                </a:lnTo>
                <a:lnTo>
                  <a:pt x="842" y="16180"/>
                </a:lnTo>
                <a:lnTo>
                  <a:pt x="862" y="16183"/>
                </a:lnTo>
                <a:lnTo>
                  <a:pt x="883" y="16186"/>
                </a:lnTo>
                <a:lnTo>
                  <a:pt x="905" y="16187"/>
                </a:lnTo>
                <a:lnTo>
                  <a:pt x="927" y="16188"/>
                </a:lnTo>
                <a:lnTo>
                  <a:pt x="2105" y="16188"/>
                </a:lnTo>
                <a:lnTo>
                  <a:pt x="2126" y="16187"/>
                </a:lnTo>
                <a:lnTo>
                  <a:pt x="2149" y="16186"/>
                </a:lnTo>
                <a:lnTo>
                  <a:pt x="2170" y="16183"/>
                </a:lnTo>
                <a:lnTo>
                  <a:pt x="2190" y="16179"/>
                </a:lnTo>
                <a:lnTo>
                  <a:pt x="2211" y="16175"/>
                </a:lnTo>
                <a:lnTo>
                  <a:pt x="2231" y="16169"/>
                </a:lnTo>
                <a:lnTo>
                  <a:pt x="2250" y="16163"/>
                </a:lnTo>
                <a:lnTo>
                  <a:pt x="2269" y="16155"/>
                </a:lnTo>
                <a:lnTo>
                  <a:pt x="2289" y="16147"/>
                </a:lnTo>
                <a:lnTo>
                  <a:pt x="2307" y="16136"/>
                </a:lnTo>
                <a:lnTo>
                  <a:pt x="2325" y="16126"/>
                </a:lnTo>
                <a:lnTo>
                  <a:pt x="2342" y="16115"/>
                </a:lnTo>
                <a:lnTo>
                  <a:pt x="2358" y="16104"/>
                </a:lnTo>
                <a:lnTo>
                  <a:pt x="2374" y="16091"/>
                </a:lnTo>
                <a:lnTo>
                  <a:pt x="2389" y="16078"/>
                </a:lnTo>
                <a:lnTo>
                  <a:pt x="2405" y="16064"/>
                </a:lnTo>
                <a:lnTo>
                  <a:pt x="2419" y="16048"/>
                </a:lnTo>
                <a:lnTo>
                  <a:pt x="2432" y="16033"/>
                </a:lnTo>
                <a:lnTo>
                  <a:pt x="2444" y="16017"/>
                </a:lnTo>
                <a:lnTo>
                  <a:pt x="2456" y="16001"/>
                </a:lnTo>
                <a:lnTo>
                  <a:pt x="2467" y="15984"/>
                </a:lnTo>
                <a:lnTo>
                  <a:pt x="2477" y="15965"/>
                </a:lnTo>
                <a:lnTo>
                  <a:pt x="2487" y="15947"/>
                </a:lnTo>
                <a:lnTo>
                  <a:pt x="2495" y="15928"/>
                </a:lnTo>
                <a:lnTo>
                  <a:pt x="2502" y="15909"/>
                </a:lnTo>
                <a:lnTo>
                  <a:pt x="2509" y="15890"/>
                </a:lnTo>
                <a:lnTo>
                  <a:pt x="2515" y="15869"/>
                </a:lnTo>
                <a:lnTo>
                  <a:pt x="2520" y="15849"/>
                </a:lnTo>
                <a:lnTo>
                  <a:pt x="2524" y="15828"/>
                </a:lnTo>
                <a:lnTo>
                  <a:pt x="2527" y="15807"/>
                </a:lnTo>
                <a:lnTo>
                  <a:pt x="2528" y="15784"/>
                </a:lnTo>
                <a:lnTo>
                  <a:pt x="2529" y="15763"/>
                </a:lnTo>
                <a:lnTo>
                  <a:pt x="2529" y="15354"/>
                </a:lnTo>
                <a:lnTo>
                  <a:pt x="2179" y="15354"/>
                </a:lnTo>
                <a:lnTo>
                  <a:pt x="2179" y="14979"/>
                </a:lnTo>
                <a:close/>
                <a:moveTo>
                  <a:pt x="4943" y="5869"/>
                </a:moveTo>
                <a:lnTo>
                  <a:pt x="4797" y="6294"/>
                </a:lnTo>
                <a:lnTo>
                  <a:pt x="4791" y="6316"/>
                </a:lnTo>
                <a:lnTo>
                  <a:pt x="4785" y="6339"/>
                </a:lnTo>
                <a:lnTo>
                  <a:pt x="4780" y="6361"/>
                </a:lnTo>
                <a:lnTo>
                  <a:pt x="4777" y="6383"/>
                </a:lnTo>
                <a:lnTo>
                  <a:pt x="4775" y="6406"/>
                </a:lnTo>
                <a:lnTo>
                  <a:pt x="4774" y="6429"/>
                </a:lnTo>
                <a:lnTo>
                  <a:pt x="4774" y="6451"/>
                </a:lnTo>
                <a:lnTo>
                  <a:pt x="4775" y="6473"/>
                </a:lnTo>
                <a:lnTo>
                  <a:pt x="4777" y="6494"/>
                </a:lnTo>
                <a:lnTo>
                  <a:pt x="4780" y="6517"/>
                </a:lnTo>
                <a:lnTo>
                  <a:pt x="4784" y="6538"/>
                </a:lnTo>
                <a:lnTo>
                  <a:pt x="4789" y="6558"/>
                </a:lnTo>
                <a:lnTo>
                  <a:pt x="4795" y="6578"/>
                </a:lnTo>
                <a:lnTo>
                  <a:pt x="4802" y="6599"/>
                </a:lnTo>
                <a:lnTo>
                  <a:pt x="4810" y="6618"/>
                </a:lnTo>
                <a:lnTo>
                  <a:pt x="4819" y="6637"/>
                </a:lnTo>
                <a:lnTo>
                  <a:pt x="4829" y="6654"/>
                </a:lnTo>
                <a:lnTo>
                  <a:pt x="4840" y="6672"/>
                </a:lnTo>
                <a:lnTo>
                  <a:pt x="4852" y="6689"/>
                </a:lnTo>
                <a:lnTo>
                  <a:pt x="4865" y="6704"/>
                </a:lnTo>
                <a:lnTo>
                  <a:pt x="4878" y="6719"/>
                </a:lnTo>
                <a:lnTo>
                  <a:pt x="4892" y="6732"/>
                </a:lnTo>
                <a:lnTo>
                  <a:pt x="4907" y="6745"/>
                </a:lnTo>
                <a:lnTo>
                  <a:pt x="4923" y="6756"/>
                </a:lnTo>
                <a:lnTo>
                  <a:pt x="4939" y="6768"/>
                </a:lnTo>
                <a:lnTo>
                  <a:pt x="4957" y="6777"/>
                </a:lnTo>
                <a:lnTo>
                  <a:pt x="4976" y="6784"/>
                </a:lnTo>
                <a:lnTo>
                  <a:pt x="4994" y="6791"/>
                </a:lnTo>
                <a:lnTo>
                  <a:pt x="5014" y="6796"/>
                </a:lnTo>
                <a:lnTo>
                  <a:pt x="5034" y="6800"/>
                </a:lnTo>
                <a:lnTo>
                  <a:pt x="5055" y="6802"/>
                </a:lnTo>
                <a:lnTo>
                  <a:pt x="5076" y="6803"/>
                </a:lnTo>
                <a:lnTo>
                  <a:pt x="5560" y="6803"/>
                </a:lnTo>
                <a:lnTo>
                  <a:pt x="5546" y="6842"/>
                </a:lnTo>
                <a:lnTo>
                  <a:pt x="5590" y="6842"/>
                </a:lnTo>
                <a:lnTo>
                  <a:pt x="5764" y="6842"/>
                </a:lnTo>
                <a:lnTo>
                  <a:pt x="5932" y="6843"/>
                </a:lnTo>
                <a:lnTo>
                  <a:pt x="6093" y="6847"/>
                </a:lnTo>
                <a:lnTo>
                  <a:pt x="6246" y="6850"/>
                </a:lnTo>
                <a:lnTo>
                  <a:pt x="6393" y="6854"/>
                </a:lnTo>
                <a:lnTo>
                  <a:pt x="6533" y="6858"/>
                </a:lnTo>
                <a:lnTo>
                  <a:pt x="6667" y="6864"/>
                </a:lnTo>
                <a:lnTo>
                  <a:pt x="6794" y="6870"/>
                </a:lnTo>
                <a:lnTo>
                  <a:pt x="6915" y="6876"/>
                </a:lnTo>
                <a:lnTo>
                  <a:pt x="7030" y="6883"/>
                </a:lnTo>
                <a:lnTo>
                  <a:pt x="7139" y="6890"/>
                </a:lnTo>
                <a:lnTo>
                  <a:pt x="7242" y="6898"/>
                </a:lnTo>
                <a:lnTo>
                  <a:pt x="7340" y="6906"/>
                </a:lnTo>
                <a:lnTo>
                  <a:pt x="7432" y="6915"/>
                </a:lnTo>
                <a:lnTo>
                  <a:pt x="7517" y="6923"/>
                </a:lnTo>
                <a:lnTo>
                  <a:pt x="7598" y="6933"/>
                </a:lnTo>
                <a:lnTo>
                  <a:pt x="7674" y="6942"/>
                </a:lnTo>
                <a:lnTo>
                  <a:pt x="7744" y="6951"/>
                </a:lnTo>
                <a:lnTo>
                  <a:pt x="7811" y="6960"/>
                </a:lnTo>
                <a:lnTo>
                  <a:pt x="7871" y="6969"/>
                </a:lnTo>
                <a:lnTo>
                  <a:pt x="7928" y="6978"/>
                </a:lnTo>
                <a:lnTo>
                  <a:pt x="7979" y="6986"/>
                </a:lnTo>
                <a:lnTo>
                  <a:pt x="8026" y="6995"/>
                </a:lnTo>
                <a:lnTo>
                  <a:pt x="8070" y="7003"/>
                </a:lnTo>
                <a:lnTo>
                  <a:pt x="8143" y="7020"/>
                </a:lnTo>
                <a:lnTo>
                  <a:pt x="8202" y="7033"/>
                </a:lnTo>
                <a:lnTo>
                  <a:pt x="8245" y="7045"/>
                </a:lnTo>
                <a:lnTo>
                  <a:pt x="8276" y="7054"/>
                </a:lnTo>
                <a:lnTo>
                  <a:pt x="8476" y="7116"/>
                </a:lnTo>
                <a:lnTo>
                  <a:pt x="8557" y="7140"/>
                </a:lnTo>
                <a:lnTo>
                  <a:pt x="8641" y="7166"/>
                </a:lnTo>
                <a:lnTo>
                  <a:pt x="8685" y="7180"/>
                </a:lnTo>
                <a:lnTo>
                  <a:pt x="8729" y="7196"/>
                </a:lnTo>
                <a:lnTo>
                  <a:pt x="8774" y="7211"/>
                </a:lnTo>
                <a:lnTo>
                  <a:pt x="8820" y="7227"/>
                </a:lnTo>
                <a:lnTo>
                  <a:pt x="8866" y="7244"/>
                </a:lnTo>
                <a:lnTo>
                  <a:pt x="8913" y="7262"/>
                </a:lnTo>
                <a:lnTo>
                  <a:pt x="8960" y="7282"/>
                </a:lnTo>
                <a:lnTo>
                  <a:pt x="9006" y="7302"/>
                </a:lnTo>
                <a:lnTo>
                  <a:pt x="9054" y="7323"/>
                </a:lnTo>
                <a:lnTo>
                  <a:pt x="9101" y="7346"/>
                </a:lnTo>
                <a:lnTo>
                  <a:pt x="9149" y="7371"/>
                </a:lnTo>
                <a:lnTo>
                  <a:pt x="9195" y="7396"/>
                </a:lnTo>
                <a:lnTo>
                  <a:pt x="9241" y="7422"/>
                </a:lnTo>
                <a:lnTo>
                  <a:pt x="9288" y="7451"/>
                </a:lnTo>
                <a:lnTo>
                  <a:pt x="9333" y="7481"/>
                </a:lnTo>
                <a:lnTo>
                  <a:pt x="9378" y="7512"/>
                </a:lnTo>
                <a:lnTo>
                  <a:pt x="9423" y="7546"/>
                </a:lnTo>
                <a:lnTo>
                  <a:pt x="9466" y="7580"/>
                </a:lnTo>
                <a:lnTo>
                  <a:pt x="9508" y="7617"/>
                </a:lnTo>
                <a:lnTo>
                  <a:pt x="9551" y="7656"/>
                </a:lnTo>
                <a:lnTo>
                  <a:pt x="9591" y="7696"/>
                </a:lnTo>
                <a:lnTo>
                  <a:pt x="9630" y="7739"/>
                </a:lnTo>
                <a:lnTo>
                  <a:pt x="9669" y="7784"/>
                </a:lnTo>
                <a:lnTo>
                  <a:pt x="9706" y="7831"/>
                </a:lnTo>
                <a:lnTo>
                  <a:pt x="9741" y="7881"/>
                </a:lnTo>
                <a:lnTo>
                  <a:pt x="9776" y="7931"/>
                </a:lnTo>
                <a:lnTo>
                  <a:pt x="9808" y="7986"/>
                </a:lnTo>
                <a:lnTo>
                  <a:pt x="9838" y="8041"/>
                </a:lnTo>
                <a:lnTo>
                  <a:pt x="9858" y="8083"/>
                </a:lnTo>
                <a:lnTo>
                  <a:pt x="9882" y="8134"/>
                </a:lnTo>
                <a:lnTo>
                  <a:pt x="9909" y="8194"/>
                </a:lnTo>
                <a:lnTo>
                  <a:pt x="9939" y="8262"/>
                </a:lnTo>
                <a:lnTo>
                  <a:pt x="9971" y="8339"/>
                </a:lnTo>
                <a:lnTo>
                  <a:pt x="10005" y="8422"/>
                </a:lnTo>
                <a:lnTo>
                  <a:pt x="10043" y="8513"/>
                </a:lnTo>
                <a:lnTo>
                  <a:pt x="10082" y="8609"/>
                </a:lnTo>
                <a:lnTo>
                  <a:pt x="10122" y="8711"/>
                </a:lnTo>
                <a:lnTo>
                  <a:pt x="10165" y="8819"/>
                </a:lnTo>
                <a:lnTo>
                  <a:pt x="10208" y="8932"/>
                </a:lnTo>
                <a:lnTo>
                  <a:pt x="10254" y="9049"/>
                </a:lnTo>
                <a:lnTo>
                  <a:pt x="10299" y="9169"/>
                </a:lnTo>
                <a:lnTo>
                  <a:pt x="10345" y="9294"/>
                </a:lnTo>
                <a:lnTo>
                  <a:pt x="10392" y="9420"/>
                </a:lnTo>
                <a:lnTo>
                  <a:pt x="10439" y="9550"/>
                </a:lnTo>
                <a:lnTo>
                  <a:pt x="10448" y="9550"/>
                </a:lnTo>
                <a:lnTo>
                  <a:pt x="10488" y="9550"/>
                </a:lnTo>
                <a:lnTo>
                  <a:pt x="10530" y="9553"/>
                </a:lnTo>
                <a:lnTo>
                  <a:pt x="10570" y="9556"/>
                </a:lnTo>
                <a:lnTo>
                  <a:pt x="10610" y="9561"/>
                </a:lnTo>
                <a:lnTo>
                  <a:pt x="10651" y="9568"/>
                </a:lnTo>
                <a:lnTo>
                  <a:pt x="10691" y="9576"/>
                </a:lnTo>
                <a:lnTo>
                  <a:pt x="10730" y="9585"/>
                </a:lnTo>
                <a:lnTo>
                  <a:pt x="10770" y="9596"/>
                </a:lnTo>
                <a:lnTo>
                  <a:pt x="10809" y="9608"/>
                </a:lnTo>
                <a:lnTo>
                  <a:pt x="10847" y="9622"/>
                </a:lnTo>
                <a:lnTo>
                  <a:pt x="10886" y="9636"/>
                </a:lnTo>
                <a:lnTo>
                  <a:pt x="10923" y="9652"/>
                </a:lnTo>
                <a:lnTo>
                  <a:pt x="10960" y="9668"/>
                </a:lnTo>
                <a:lnTo>
                  <a:pt x="10998" y="9686"/>
                </a:lnTo>
                <a:lnTo>
                  <a:pt x="11033" y="9706"/>
                </a:lnTo>
                <a:lnTo>
                  <a:pt x="11069" y="9727"/>
                </a:lnTo>
                <a:lnTo>
                  <a:pt x="11103" y="9748"/>
                </a:lnTo>
                <a:lnTo>
                  <a:pt x="11139" y="9771"/>
                </a:lnTo>
                <a:lnTo>
                  <a:pt x="11172" y="9795"/>
                </a:lnTo>
                <a:lnTo>
                  <a:pt x="11205" y="9820"/>
                </a:lnTo>
                <a:lnTo>
                  <a:pt x="11238" y="9845"/>
                </a:lnTo>
                <a:lnTo>
                  <a:pt x="11269" y="9873"/>
                </a:lnTo>
                <a:lnTo>
                  <a:pt x="11300" y="9900"/>
                </a:lnTo>
                <a:lnTo>
                  <a:pt x="11329" y="9928"/>
                </a:lnTo>
                <a:lnTo>
                  <a:pt x="11359" y="9959"/>
                </a:lnTo>
                <a:lnTo>
                  <a:pt x="11387" y="9989"/>
                </a:lnTo>
                <a:lnTo>
                  <a:pt x="11414" y="10020"/>
                </a:lnTo>
                <a:lnTo>
                  <a:pt x="11440" y="10053"/>
                </a:lnTo>
                <a:lnTo>
                  <a:pt x="11465" y="10085"/>
                </a:lnTo>
                <a:lnTo>
                  <a:pt x="11491" y="10120"/>
                </a:lnTo>
                <a:lnTo>
                  <a:pt x="11514" y="10154"/>
                </a:lnTo>
                <a:lnTo>
                  <a:pt x="11536" y="10189"/>
                </a:lnTo>
                <a:lnTo>
                  <a:pt x="13739" y="10189"/>
                </a:lnTo>
                <a:lnTo>
                  <a:pt x="13739" y="10565"/>
                </a:lnTo>
                <a:lnTo>
                  <a:pt x="13423" y="10565"/>
                </a:lnTo>
                <a:lnTo>
                  <a:pt x="13423" y="10973"/>
                </a:lnTo>
                <a:lnTo>
                  <a:pt x="13423" y="10995"/>
                </a:lnTo>
                <a:lnTo>
                  <a:pt x="13425" y="11017"/>
                </a:lnTo>
                <a:lnTo>
                  <a:pt x="13427" y="11038"/>
                </a:lnTo>
                <a:lnTo>
                  <a:pt x="13431" y="11058"/>
                </a:lnTo>
                <a:lnTo>
                  <a:pt x="13436" y="11080"/>
                </a:lnTo>
                <a:lnTo>
                  <a:pt x="13441" y="11100"/>
                </a:lnTo>
                <a:lnTo>
                  <a:pt x="13449" y="11119"/>
                </a:lnTo>
                <a:lnTo>
                  <a:pt x="13457" y="11138"/>
                </a:lnTo>
                <a:lnTo>
                  <a:pt x="13465" y="11158"/>
                </a:lnTo>
                <a:lnTo>
                  <a:pt x="13474" y="11176"/>
                </a:lnTo>
                <a:lnTo>
                  <a:pt x="13484" y="11194"/>
                </a:lnTo>
                <a:lnTo>
                  <a:pt x="13495" y="11211"/>
                </a:lnTo>
                <a:lnTo>
                  <a:pt x="13507" y="11227"/>
                </a:lnTo>
                <a:lnTo>
                  <a:pt x="13520" y="11244"/>
                </a:lnTo>
                <a:lnTo>
                  <a:pt x="13533" y="11259"/>
                </a:lnTo>
                <a:lnTo>
                  <a:pt x="13547" y="11274"/>
                </a:lnTo>
                <a:lnTo>
                  <a:pt x="13561" y="11288"/>
                </a:lnTo>
                <a:lnTo>
                  <a:pt x="13578" y="11301"/>
                </a:lnTo>
                <a:lnTo>
                  <a:pt x="13593" y="11313"/>
                </a:lnTo>
                <a:lnTo>
                  <a:pt x="13610" y="11326"/>
                </a:lnTo>
                <a:lnTo>
                  <a:pt x="13627" y="11337"/>
                </a:lnTo>
                <a:lnTo>
                  <a:pt x="13645" y="11347"/>
                </a:lnTo>
                <a:lnTo>
                  <a:pt x="13663" y="11356"/>
                </a:lnTo>
                <a:lnTo>
                  <a:pt x="13681" y="11365"/>
                </a:lnTo>
                <a:lnTo>
                  <a:pt x="13701" y="11372"/>
                </a:lnTo>
                <a:lnTo>
                  <a:pt x="13721" y="11379"/>
                </a:lnTo>
                <a:lnTo>
                  <a:pt x="13741" y="11385"/>
                </a:lnTo>
                <a:lnTo>
                  <a:pt x="13761" y="11389"/>
                </a:lnTo>
                <a:lnTo>
                  <a:pt x="13782" y="11393"/>
                </a:lnTo>
                <a:lnTo>
                  <a:pt x="13803" y="11396"/>
                </a:lnTo>
                <a:lnTo>
                  <a:pt x="13825" y="11397"/>
                </a:lnTo>
                <a:lnTo>
                  <a:pt x="13847" y="11398"/>
                </a:lnTo>
                <a:lnTo>
                  <a:pt x="15024" y="11398"/>
                </a:lnTo>
                <a:lnTo>
                  <a:pt x="15047" y="11397"/>
                </a:lnTo>
                <a:lnTo>
                  <a:pt x="15068" y="11396"/>
                </a:lnTo>
                <a:lnTo>
                  <a:pt x="15089" y="11393"/>
                </a:lnTo>
                <a:lnTo>
                  <a:pt x="15110" y="11389"/>
                </a:lnTo>
                <a:lnTo>
                  <a:pt x="15130" y="11385"/>
                </a:lnTo>
                <a:lnTo>
                  <a:pt x="15150" y="11379"/>
                </a:lnTo>
                <a:lnTo>
                  <a:pt x="15171" y="11372"/>
                </a:lnTo>
                <a:lnTo>
                  <a:pt x="15190" y="11365"/>
                </a:lnTo>
                <a:lnTo>
                  <a:pt x="15208" y="11357"/>
                </a:lnTo>
                <a:lnTo>
                  <a:pt x="15226" y="11347"/>
                </a:lnTo>
                <a:lnTo>
                  <a:pt x="15244" y="11337"/>
                </a:lnTo>
                <a:lnTo>
                  <a:pt x="15261" y="11326"/>
                </a:lnTo>
                <a:lnTo>
                  <a:pt x="15277" y="11314"/>
                </a:lnTo>
                <a:lnTo>
                  <a:pt x="15294" y="11301"/>
                </a:lnTo>
                <a:lnTo>
                  <a:pt x="15310" y="11288"/>
                </a:lnTo>
                <a:lnTo>
                  <a:pt x="15324" y="11274"/>
                </a:lnTo>
                <a:lnTo>
                  <a:pt x="15338" y="11259"/>
                </a:lnTo>
                <a:lnTo>
                  <a:pt x="15351" y="11244"/>
                </a:lnTo>
                <a:lnTo>
                  <a:pt x="15364" y="11227"/>
                </a:lnTo>
                <a:lnTo>
                  <a:pt x="15375" y="11211"/>
                </a:lnTo>
                <a:lnTo>
                  <a:pt x="15386" y="11194"/>
                </a:lnTo>
                <a:lnTo>
                  <a:pt x="15396" y="11176"/>
                </a:lnTo>
                <a:lnTo>
                  <a:pt x="15406" y="11158"/>
                </a:lnTo>
                <a:lnTo>
                  <a:pt x="15415" y="11139"/>
                </a:lnTo>
                <a:lnTo>
                  <a:pt x="15423" y="11119"/>
                </a:lnTo>
                <a:lnTo>
                  <a:pt x="15429" y="11100"/>
                </a:lnTo>
                <a:lnTo>
                  <a:pt x="15435" y="11080"/>
                </a:lnTo>
                <a:lnTo>
                  <a:pt x="15439" y="11059"/>
                </a:lnTo>
                <a:lnTo>
                  <a:pt x="15443" y="11038"/>
                </a:lnTo>
                <a:lnTo>
                  <a:pt x="15446" y="11017"/>
                </a:lnTo>
                <a:lnTo>
                  <a:pt x="15447" y="10995"/>
                </a:lnTo>
                <a:lnTo>
                  <a:pt x="15448" y="10973"/>
                </a:lnTo>
                <a:lnTo>
                  <a:pt x="15448" y="7789"/>
                </a:lnTo>
                <a:lnTo>
                  <a:pt x="15447" y="7752"/>
                </a:lnTo>
                <a:lnTo>
                  <a:pt x="15443" y="7699"/>
                </a:lnTo>
                <a:lnTo>
                  <a:pt x="15438" y="7637"/>
                </a:lnTo>
                <a:lnTo>
                  <a:pt x="15431" y="7571"/>
                </a:lnTo>
                <a:lnTo>
                  <a:pt x="15426" y="7538"/>
                </a:lnTo>
                <a:lnTo>
                  <a:pt x="15422" y="7505"/>
                </a:lnTo>
                <a:lnTo>
                  <a:pt x="15417" y="7474"/>
                </a:lnTo>
                <a:lnTo>
                  <a:pt x="15411" y="7444"/>
                </a:lnTo>
                <a:lnTo>
                  <a:pt x="15404" y="7418"/>
                </a:lnTo>
                <a:lnTo>
                  <a:pt x="15398" y="7396"/>
                </a:lnTo>
                <a:lnTo>
                  <a:pt x="15392" y="7377"/>
                </a:lnTo>
                <a:lnTo>
                  <a:pt x="15385" y="7363"/>
                </a:lnTo>
                <a:lnTo>
                  <a:pt x="15381" y="7354"/>
                </a:lnTo>
                <a:lnTo>
                  <a:pt x="15370" y="7329"/>
                </a:lnTo>
                <a:lnTo>
                  <a:pt x="15351" y="7287"/>
                </a:lnTo>
                <a:lnTo>
                  <a:pt x="15326" y="7226"/>
                </a:lnTo>
                <a:lnTo>
                  <a:pt x="15294" y="7148"/>
                </a:lnTo>
                <a:lnTo>
                  <a:pt x="15257" y="7052"/>
                </a:lnTo>
                <a:lnTo>
                  <a:pt x="15236" y="6997"/>
                </a:lnTo>
                <a:lnTo>
                  <a:pt x="15215" y="6938"/>
                </a:lnTo>
                <a:lnTo>
                  <a:pt x="15192" y="6873"/>
                </a:lnTo>
                <a:lnTo>
                  <a:pt x="15168" y="6804"/>
                </a:lnTo>
                <a:lnTo>
                  <a:pt x="15657" y="6804"/>
                </a:lnTo>
                <a:lnTo>
                  <a:pt x="15679" y="6803"/>
                </a:lnTo>
                <a:lnTo>
                  <a:pt x="15700" y="6801"/>
                </a:lnTo>
                <a:lnTo>
                  <a:pt x="15720" y="6797"/>
                </a:lnTo>
                <a:lnTo>
                  <a:pt x="15739" y="6792"/>
                </a:lnTo>
                <a:lnTo>
                  <a:pt x="15758" y="6785"/>
                </a:lnTo>
                <a:lnTo>
                  <a:pt x="15777" y="6777"/>
                </a:lnTo>
                <a:lnTo>
                  <a:pt x="15794" y="6768"/>
                </a:lnTo>
                <a:lnTo>
                  <a:pt x="15811" y="6757"/>
                </a:lnTo>
                <a:lnTo>
                  <a:pt x="15827" y="6745"/>
                </a:lnTo>
                <a:lnTo>
                  <a:pt x="15842" y="6733"/>
                </a:lnTo>
                <a:lnTo>
                  <a:pt x="15856" y="6719"/>
                </a:lnTo>
                <a:lnTo>
                  <a:pt x="15869" y="6705"/>
                </a:lnTo>
                <a:lnTo>
                  <a:pt x="15882" y="6689"/>
                </a:lnTo>
                <a:lnTo>
                  <a:pt x="15893" y="6672"/>
                </a:lnTo>
                <a:lnTo>
                  <a:pt x="15905" y="6655"/>
                </a:lnTo>
                <a:lnTo>
                  <a:pt x="15915" y="6637"/>
                </a:lnTo>
                <a:lnTo>
                  <a:pt x="15924" y="6619"/>
                </a:lnTo>
                <a:lnTo>
                  <a:pt x="15932" y="6599"/>
                </a:lnTo>
                <a:lnTo>
                  <a:pt x="15939" y="6579"/>
                </a:lnTo>
                <a:lnTo>
                  <a:pt x="15945" y="6559"/>
                </a:lnTo>
                <a:lnTo>
                  <a:pt x="15950" y="6538"/>
                </a:lnTo>
                <a:lnTo>
                  <a:pt x="15954" y="6517"/>
                </a:lnTo>
                <a:lnTo>
                  <a:pt x="15957" y="6494"/>
                </a:lnTo>
                <a:lnTo>
                  <a:pt x="15959" y="6473"/>
                </a:lnTo>
                <a:lnTo>
                  <a:pt x="15960" y="6451"/>
                </a:lnTo>
                <a:lnTo>
                  <a:pt x="15960" y="6429"/>
                </a:lnTo>
                <a:lnTo>
                  <a:pt x="15959" y="6406"/>
                </a:lnTo>
                <a:lnTo>
                  <a:pt x="15956" y="6383"/>
                </a:lnTo>
                <a:lnTo>
                  <a:pt x="15953" y="6361"/>
                </a:lnTo>
                <a:lnTo>
                  <a:pt x="15948" y="6339"/>
                </a:lnTo>
                <a:lnTo>
                  <a:pt x="15943" y="6316"/>
                </a:lnTo>
                <a:lnTo>
                  <a:pt x="15936" y="6294"/>
                </a:lnTo>
                <a:lnTo>
                  <a:pt x="15791" y="5869"/>
                </a:lnTo>
                <a:lnTo>
                  <a:pt x="15783" y="5848"/>
                </a:lnTo>
                <a:lnTo>
                  <a:pt x="15773" y="5826"/>
                </a:lnTo>
                <a:lnTo>
                  <a:pt x="15763" y="5804"/>
                </a:lnTo>
                <a:lnTo>
                  <a:pt x="15752" y="5784"/>
                </a:lnTo>
                <a:lnTo>
                  <a:pt x="15740" y="5763"/>
                </a:lnTo>
                <a:lnTo>
                  <a:pt x="15728" y="5743"/>
                </a:lnTo>
                <a:lnTo>
                  <a:pt x="15715" y="5723"/>
                </a:lnTo>
                <a:lnTo>
                  <a:pt x="15701" y="5704"/>
                </a:lnTo>
                <a:lnTo>
                  <a:pt x="15686" y="5685"/>
                </a:lnTo>
                <a:lnTo>
                  <a:pt x="15670" y="5667"/>
                </a:lnTo>
                <a:lnTo>
                  <a:pt x="15654" y="5649"/>
                </a:lnTo>
                <a:lnTo>
                  <a:pt x="15636" y="5631"/>
                </a:lnTo>
                <a:lnTo>
                  <a:pt x="15619" y="5615"/>
                </a:lnTo>
                <a:lnTo>
                  <a:pt x="15601" y="5599"/>
                </a:lnTo>
                <a:lnTo>
                  <a:pt x="15582" y="5584"/>
                </a:lnTo>
                <a:lnTo>
                  <a:pt x="15564" y="5569"/>
                </a:lnTo>
                <a:lnTo>
                  <a:pt x="15544" y="5555"/>
                </a:lnTo>
                <a:lnTo>
                  <a:pt x="15523" y="5541"/>
                </a:lnTo>
                <a:lnTo>
                  <a:pt x="15503" y="5529"/>
                </a:lnTo>
                <a:lnTo>
                  <a:pt x="15483" y="5517"/>
                </a:lnTo>
                <a:lnTo>
                  <a:pt x="15462" y="5506"/>
                </a:lnTo>
                <a:lnTo>
                  <a:pt x="15441" y="5496"/>
                </a:lnTo>
                <a:lnTo>
                  <a:pt x="15419" y="5487"/>
                </a:lnTo>
                <a:lnTo>
                  <a:pt x="15397" y="5478"/>
                </a:lnTo>
                <a:lnTo>
                  <a:pt x="15375" y="5471"/>
                </a:lnTo>
                <a:lnTo>
                  <a:pt x="15353" y="5463"/>
                </a:lnTo>
                <a:lnTo>
                  <a:pt x="15331" y="5457"/>
                </a:lnTo>
                <a:lnTo>
                  <a:pt x="15309" y="5453"/>
                </a:lnTo>
                <a:lnTo>
                  <a:pt x="15287" y="5449"/>
                </a:lnTo>
                <a:lnTo>
                  <a:pt x="15265" y="5446"/>
                </a:lnTo>
                <a:lnTo>
                  <a:pt x="15243" y="5445"/>
                </a:lnTo>
                <a:lnTo>
                  <a:pt x="15221" y="5444"/>
                </a:lnTo>
                <a:lnTo>
                  <a:pt x="14731" y="5444"/>
                </a:lnTo>
                <a:lnTo>
                  <a:pt x="14673" y="5276"/>
                </a:lnTo>
                <a:lnTo>
                  <a:pt x="14614" y="5110"/>
                </a:lnTo>
                <a:lnTo>
                  <a:pt x="14556" y="4949"/>
                </a:lnTo>
                <a:lnTo>
                  <a:pt x="14498" y="4793"/>
                </a:lnTo>
                <a:lnTo>
                  <a:pt x="14442" y="4641"/>
                </a:lnTo>
                <a:lnTo>
                  <a:pt x="14387" y="4496"/>
                </a:lnTo>
                <a:lnTo>
                  <a:pt x="14334" y="4359"/>
                </a:lnTo>
                <a:lnTo>
                  <a:pt x="14283" y="4229"/>
                </a:lnTo>
                <a:lnTo>
                  <a:pt x="14236" y="4108"/>
                </a:lnTo>
                <a:lnTo>
                  <a:pt x="14191" y="3995"/>
                </a:lnTo>
                <a:lnTo>
                  <a:pt x="14149" y="3894"/>
                </a:lnTo>
                <a:lnTo>
                  <a:pt x="14112" y="3803"/>
                </a:lnTo>
                <a:lnTo>
                  <a:pt x="14078" y="3724"/>
                </a:lnTo>
                <a:lnTo>
                  <a:pt x="14048" y="3657"/>
                </a:lnTo>
                <a:lnTo>
                  <a:pt x="14024" y="3604"/>
                </a:lnTo>
                <a:lnTo>
                  <a:pt x="14005" y="3564"/>
                </a:lnTo>
                <a:lnTo>
                  <a:pt x="13984" y="3525"/>
                </a:lnTo>
                <a:lnTo>
                  <a:pt x="13960" y="3488"/>
                </a:lnTo>
                <a:lnTo>
                  <a:pt x="13935" y="3452"/>
                </a:lnTo>
                <a:lnTo>
                  <a:pt x="13908" y="3419"/>
                </a:lnTo>
                <a:lnTo>
                  <a:pt x="13879" y="3386"/>
                </a:lnTo>
                <a:lnTo>
                  <a:pt x="13849" y="3357"/>
                </a:lnTo>
                <a:lnTo>
                  <a:pt x="13818" y="3328"/>
                </a:lnTo>
                <a:lnTo>
                  <a:pt x="13785" y="3300"/>
                </a:lnTo>
                <a:lnTo>
                  <a:pt x="13751" y="3275"/>
                </a:lnTo>
                <a:lnTo>
                  <a:pt x="13716" y="3251"/>
                </a:lnTo>
                <a:lnTo>
                  <a:pt x="13679" y="3227"/>
                </a:lnTo>
                <a:lnTo>
                  <a:pt x="13642" y="3205"/>
                </a:lnTo>
                <a:lnTo>
                  <a:pt x="13604" y="3185"/>
                </a:lnTo>
                <a:lnTo>
                  <a:pt x="13565" y="3165"/>
                </a:lnTo>
                <a:lnTo>
                  <a:pt x="13525" y="3147"/>
                </a:lnTo>
                <a:lnTo>
                  <a:pt x="13485" y="3128"/>
                </a:lnTo>
                <a:lnTo>
                  <a:pt x="13445" y="3112"/>
                </a:lnTo>
                <a:lnTo>
                  <a:pt x="13403" y="3096"/>
                </a:lnTo>
                <a:lnTo>
                  <a:pt x="13362" y="3080"/>
                </a:lnTo>
                <a:lnTo>
                  <a:pt x="13319" y="3066"/>
                </a:lnTo>
                <a:lnTo>
                  <a:pt x="13236" y="3037"/>
                </a:lnTo>
                <a:lnTo>
                  <a:pt x="13152" y="3011"/>
                </a:lnTo>
                <a:lnTo>
                  <a:pt x="13068" y="2987"/>
                </a:lnTo>
                <a:lnTo>
                  <a:pt x="12987" y="2962"/>
                </a:lnTo>
                <a:lnTo>
                  <a:pt x="12907" y="2937"/>
                </a:lnTo>
                <a:lnTo>
                  <a:pt x="12831" y="2913"/>
                </a:lnTo>
                <a:lnTo>
                  <a:pt x="12823" y="2911"/>
                </a:lnTo>
                <a:lnTo>
                  <a:pt x="12802" y="2905"/>
                </a:lnTo>
                <a:lnTo>
                  <a:pt x="12766" y="2897"/>
                </a:lnTo>
                <a:lnTo>
                  <a:pt x="12713" y="2886"/>
                </a:lnTo>
                <a:lnTo>
                  <a:pt x="12641" y="2872"/>
                </a:lnTo>
                <a:lnTo>
                  <a:pt x="12550" y="2857"/>
                </a:lnTo>
                <a:lnTo>
                  <a:pt x="12498" y="2849"/>
                </a:lnTo>
                <a:lnTo>
                  <a:pt x="12440" y="2841"/>
                </a:lnTo>
                <a:lnTo>
                  <a:pt x="12378" y="2833"/>
                </a:lnTo>
                <a:lnTo>
                  <a:pt x="12309" y="2825"/>
                </a:lnTo>
                <a:lnTo>
                  <a:pt x="12236" y="2817"/>
                </a:lnTo>
                <a:lnTo>
                  <a:pt x="12155" y="2809"/>
                </a:lnTo>
                <a:lnTo>
                  <a:pt x="12070" y="2801"/>
                </a:lnTo>
                <a:lnTo>
                  <a:pt x="11979" y="2792"/>
                </a:lnTo>
                <a:lnTo>
                  <a:pt x="11881" y="2785"/>
                </a:lnTo>
                <a:lnTo>
                  <a:pt x="11777" y="2778"/>
                </a:lnTo>
                <a:lnTo>
                  <a:pt x="11667" y="2771"/>
                </a:lnTo>
                <a:lnTo>
                  <a:pt x="11550" y="2765"/>
                </a:lnTo>
                <a:lnTo>
                  <a:pt x="11426" y="2759"/>
                </a:lnTo>
                <a:lnTo>
                  <a:pt x="11296" y="2754"/>
                </a:lnTo>
                <a:lnTo>
                  <a:pt x="11159" y="2749"/>
                </a:lnTo>
                <a:lnTo>
                  <a:pt x="11015" y="2745"/>
                </a:lnTo>
                <a:lnTo>
                  <a:pt x="10862" y="2742"/>
                </a:lnTo>
                <a:lnTo>
                  <a:pt x="10703" y="2740"/>
                </a:lnTo>
                <a:lnTo>
                  <a:pt x="10537" y="2738"/>
                </a:lnTo>
                <a:lnTo>
                  <a:pt x="10362" y="2738"/>
                </a:lnTo>
                <a:lnTo>
                  <a:pt x="10189" y="2738"/>
                </a:lnTo>
                <a:lnTo>
                  <a:pt x="10023" y="2740"/>
                </a:lnTo>
                <a:lnTo>
                  <a:pt x="9863" y="2742"/>
                </a:lnTo>
                <a:lnTo>
                  <a:pt x="9711" y="2745"/>
                </a:lnTo>
                <a:lnTo>
                  <a:pt x="9567" y="2749"/>
                </a:lnTo>
                <a:lnTo>
                  <a:pt x="9430" y="2754"/>
                </a:lnTo>
                <a:lnTo>
                  <a:pt x="9300" y="2759"/>
                </a:lnTo>
                <a:lnTo>
                  <a:pt x="9176" y="2765"/>
                </a:lnTo>
                <a:lnTo>
                  <a:pt x="9059" y="2771"/>
                </a:lnTo>
                <a:lnTo>
                  <a:pt x="8949" y="2778"/>
                </a:lnTo>
                <a:lnTo>
                  <a:pt x="8845" y="2785"/>
                </a:lnTo>
                <a:lnTo>
                  <a:pt x="8747" y="2792"/>
                </a:lnTo>
                <a:lnTo>
                  <a:pt x="8656" y="2801"/>
                </a:lnTo>
                <a:lnTo>
                  <a:pt x="8570" y="2809"/>
                </a:lnTo>
                <a:lnTo>
                  <a:pt x="8490" y="2817"/>
                </a:lnTo>
                <a:lnTo>
                  <a:pt x="8417" y="2825"/>
                </a:lnTo>
                <a:lnTo>
                  <a:pt x="8348" y="2833"/>
                </a:lnTo>
                <a:lnTo>
                  <a:pt x="8285" y="2841"/>
                </a:lnTo>
                <a:lnTo>
                  <a:pt x="8227" y="2849"/>
                </a:lnTo>
                <a:lnTo>
                  <a:pt x="8175" y="2857"/>
                </a:lnTo>
                <a:lnTo>
                  <a:pt x="8085" y="2872"/>
                </a:lnTo>
                <a:lnTo>
                  <a:pt x="8013" y="2886"/>
                </a:lnTo>
                <a:lnTo>
                  <a:pt x="7960" y="2897"/>
                </a:lnTo>
                <a:lnTo>
                  <a:pt x="7923" y="2905"/>
                </a:lnTo>
                <a:lnTo>
                  <a:pt x="7901" y="2911"/>
                </a:lnTo>
                <a:lnTo>
                  <a:pt x="7894" y="2913"/>
                </a:lnTo>
                <a:lnTo>
                  <a:pt x="7828" y="2931"/>
                </a:lnTo>
                <a:lnTo>
                  <a:pt x="7755" y="2949"/>
                </a:lnTo>
                <a:lnTo>
                  <a:pt x="7678" y="2968"/>
                </a:lnTo>
                <a:lnTo>
                  <a:pt x="7598" y="2990"/>
                </a:lnTo>
                <a:lnTo>
                  <a:pt x="7557" y="3001"/>
                </a:lnTo>
                <a:lnTo>
                  <a:pt x="7514" y="3013"/>
                </a:lnTo>
                <a:lnTo>
                  <a:pt x="7473" y="3025"/>
                </a:lnTo>
                <a:lnTo>
                  <a:pt x="7431" y="3038"/>
                </a:lnTo>
                <a:lnTo>
                  <a:pt x="7388" y="3052"/>
                </a:lnTo>
                <a:lnTo>
                  <a:pt x="7346" y="3068"/>
                </a:lnTo>
                <a:lnTo>
                  <a:pt x="7303" y="3083"/>
                </a:lnTo>
                <a:lnTo>
                  <a:pt x="7262" y="3099"/>
                </a:lnTo>
                <a:lnTo>
                  <a:pt x="7221" y="3117"/>
                </a:lnTo>
                <a:lnTo>
                  <a:pt x="7179" y="3135"/>
                </a:lnTo>
                <a:lnTo>
                  <a:pt x="7140" y="3156"/>
                </a:lnTo>
                <a:lnTo>
                  <a:pt x="7101" y="3176"/>
                </a:lnTo>
                <a:lnTo>
                  <a:pt x="7063" y="3198"/>
                </a:lnTo>
                <a:lnTo>
                  <a:pt x="7025" y="3222"/>
                </a:lnTo>
                <a:lnTo>
                  <a:pt x="6989" y="3247"/>
                </a:lnTo>
                <a:lnTo>
                  <a:pt x="6955" y="3273"/>
                </a:lnTo>
                <a:lnTo>
                  <a:pt x="6921" y="3301"/>
                </a:lnTo>
                <a:lnTo>
                  <a:pt x="6889" y="3331"/>
                </a:lnTo>
                <a:lnTo>
                  <a:pt x="6860" y="3362"/>
                </a:lnTo>
                <a:lnTo>
                  <a:pt x="6832" y="3394"/>
                </a:lnTo>
                <a:lnTo>
                  <a:pt x="6805" y="3430"/>
                </a:lnTo>
                <a:lnTo>
                  <a:pt x="6781" y="3466"/>
                </a:lnTo>
                <a:lnTo>
                  <a:pt x="6760" y="3505"/>
                </a:lnTo>
                <a:lnTo>
                  <a:pt x="6740" y="3545"/>
                </a:lnTo>
                <a:lnTo>
                  <a:pt x="6718" y="3596"/>
                </a:lnTo>
                <a:lnTo>
                  <a:pt x="6692" y="3659"/>
                </a:lnTo>
                <a:lnTo>
                  <a:pt x="6660" y="3734"/>
                </a:lnTo>
                <a:lnTo>
                  <a:pt x="6625" y="3819"/>
                </a:lnTo>
                <a:lnTo>
                  <a:pt x="6586" y="3914"/>
                </a:lnTo>
                <a:lnTo>
                  <a:pt x="6543" y="4020"/>
                </a:lnTo>
                <a:lnTo>
                  <a:pt x="6498" y="4133"/>
                </a:lnTo>
                <a:lnTo>
                  <a:pt x="6450" y="4254"/>
                </a:lnTo>
                <a:lnTo>
                  <a:pt x="6399" y="4384"/>
                </a:lnTo>
                <a:lnTo>
                  <a:pt x="6346" y="4520"/>
                </a:lnTo>
                <a:lnTo>
                  <a:pt x="6291" y="4662"/>
                </a:lnTo>
                <a:lnTo>
                  <a:pt x="6236" y="4811"/>
                </a:lnTo>
                <a:lnTo>
                  <a:pt x="6179" y="4964"/>
                </a:lnTo>
                <a:lnTo>
                  <a:pt x="6122" y="5120"/>
                </a:lnTo>
                <a:lnTo>
                  <a:pt x="6064" y="5281"/>
                </a:lnTo>
                <a:lnTo>
                  <a:pt x="6006" y="5444"/>
                </a:lnTo>
                <a:lnTo>
                  <a:pt x="5512" y="5444"/>
                </a:lnTo>
                <a:lnTo>
                  <a:pt x="5491" y="5445"/>
                </a:lnTo>
                <a:lnTo>
                  <a:pt x="5469" y="5446"/>
                </a:lnTo>
                <a:lnTo>
                  <a:pt x="5446" y="5449"/>
                </a:lnTo>
                <a:lnTo>
                  <a:pt x="5424" y="5453"/>
                </a:lnTo>
                <a:lnTo>
                  <a:pt x="5402" y="5457"/>
                </a:lnTo>
                <a:lnTo>
                  <a:pt x="5380" y="5463"/>
                </a:lnTo>
                <a:lnTo>
                  <a:pt x="5358" y="5471"/>
                </a:lnTo>
                <a:lnTo>
                  <a:pt x="5335" y="5478"/>
                </a:lnTo>
                <a:lnTo>
                  <a:pt x="5314" y="5487"/>
                </a:lnTo>
                <a:lnTo>
                  <a:pt x="5292" y="5496"/>
                </a:lnTo>
                <a:lnTo>
                  <a:pt x="5271" y="5506"/>
                </a:lnTo>
                <a:lnTo>
                  <a:pt x="5251" y="5517"/>
                </a:lnTo>
                <a:lnTo>
                  <a:pt x="5230" y="5529"/>
                </a:lnTo>
                <a:lnTo>
                  <a:pt x="5209" y="5541"/>
                </a:lnTo>
                <a:lnTo>
                  <a:pt x="5189" y="5555"/>
                </a:lnTo>
                <a:lnTo>
                  <a:pt x="5170" y="5569"/>
                </a:lnTo>
                <a:lnTo>
                  <a:pt x="5151" y="5584"/>
                </a:lnTo>
                <a:lnTo>
                  <a:pt x="5132" y="5599"/>
                </a:lnTo>
                <a:lnTo>
                  <a:pt x="5115" y="5615"/>
                </a:lnTo>
                <a:lnTo>
                  <a:pt x="5097" y="5631"/>
                </a:lnTo>
                <a:lnTo>
                  <a:pt x="5079" y="5650"/>
                </a:lnTo>
                <a:lnTo>
                  <a:pt x="5063" y="5667"/>
                </a:lnTo>
                <a:lnTo>
                  <a:pt x="5048" y="5685"/>
                </a:lnTo>
                <a:lnTo>
                  <a:pt x="5033" y="5704"/>
                </a:lnTo>
                <a:lnTo>
                  <a:pt x="5019" y="5723"/>
                </a:lnTo>
                <a:lnTo>
                  <a:pt x="5006" y="5743"/>
                </a:lnTo>
                <a:lnTo>
                  <a:pt x="4993" y="5763"/>
                </a:lnTo>
                <a:lnTo>
                  <a:pt x="4981" y="5784"/>
                </a:lnTo>
                <a:lnTo>
                  <a:pt x="4970" y="5804"/>
                </a:lnTo>
                <a:lnTo>
                  <a:pt x="4960" y="5826"/>
                </a:lnTo>
                <a:lnTo>
                  <a:pt x="4951" y="5848"/>
                </a:lnTo>
                <a:lnTo>
                  <a:pt x="4943" y="5869"/>
                </a:lnTo>
                <a:close/>
                <a:moveTo>
                  <a:pt x="12863" y="8847"/>
                </a:moveTo>
                <a:lnTo>
                  <a:pt x="12824" y="8847"/>
                </a:lnTo>
                <a:lnTo>
                  <a:pt x="12787" y="8846"/>
                </a:lnTo>
                <a:lnTo>
                  <a:pt x="12752" y="8844"/>
                </a:lnTo>
                <a:lnTo>
                  <a:pt x="12718" y="8842"/>
                </a:lnTo>
                <a:lnTo>
                  <a:pt x="12685" y="8839"/>
                </a:lnTo>
                <a:lnTo>
                  <a:pt x="12655" y="8835"/>
                </a:lnTo>
                <a:lnTo>
                  <a:pt x="12626" y="8831"/>
                </a:lnTo>
                <a:lnTo>
                  <a:pt x="12599" y="8825"/>
                </a:lnTo>
                <a:lnTo>
                  <a:pt x="12572" y="8819"/>
                </a:lnTo>
                <a:lnTo>
                  <a:pt x="12548" y="8813"/>
                </a:lnTo>
                <a:lnTo>
                  <a:pt x="12525" y="8806"/>
                </a:lnTo>
                <a:lnTo>
                  <a:pt x="12503" y="8798"/>
                </a:lnTo>
                <a:lnTo>
                  <a:pt x="12483" y="8789"/>
                </a:lnTo>
                <a:lnTo>
                  <a:pt x="12464" y="8780"/>
                </a:lnTo>
                <a:lnTo>
                  <a:pt x="12445" y="8770"/>
                </a:lnTo>
                <a:lnTo>
                  <a:pt x="12429" y="8760"/>
                </a:lnTo>
                <a:lnTo>
                  <a:pt x="12414" y="8748"/>
                </a:lnTo>
                <a:lnTo>
                  <a:pt x="12400" y="8735"/>
                </a:lnTo>
                <a:lnTo>
                  <a:pt x="12387" y="8722"/>
                </a:lnTo>
                <a:lnTo>
                  <a:pt x="12376" y="8709"/>
                </a:lnTo>
                <a:lnTo>
                  <a:pt x="12365" y="8695"/>
                </a:lnTo>
                <a:lnTo>
                  <a:pt x="12356" y="8680"/>
                </a:lnTo>
                <a:lnTo>
                  <a:pt x="12348" y="8664"/>
                </a:lnTo>
                <a:lnTo>
                  <a:pt x="12340" y="8647"/>
                </a:lnTo>
                <a:lnTo>
                  <a:pt x="12333" y="8629"/>
                </a:lnTo>
                <a:lnTo>
                  <a:pt x="12328" y="8612"/>
                </a:lnTo>
                <a:lnTo>
                  <a:pt x="12323" y="8593"/>
                </a:lnTo>
                <a:lnTo>
                  <a:pt x="12319" y="8573"/>
                </a:lnTo>
                <a:lnTo>
                  <a:pt x="12317" y="8552"/>
                </a:lnTo>
                <a:lnTo>
                  <a:pt x="12315" y="8531"/>
                </a:lnTo>
                <a:lnTo>
                  <a:pt x="12314" y="8510"/>
                </a:lnTo>
                <a:lnTo>
                  <a:pt x="12313" y="8487"/>
                </a:lnTo>
                <a:lnTo>
                  <a:pt x="12314" y="8462"/>
                </a:lnTo>
                <a:lnTo>
                  <a:pt x="12317" y="8439"/>
                </a:lnTo>
                <a:lnTo>
                  <a:pt x="12322" y="8416"/>
                </a:lnTo>
                <a:lnTo>
                  <a:pt x="12329" y="8393"/>
                </a:lnTo>
                <a:lnTo>
                  <a:pt x="12339" y="8371"/>
                </a:lnTo>
                <a:lnTo>
                  <a:pt x="12350" y="8351"/>
                </a:lnTo>
                <a:lnTo>
                  <a:pt x="12362" y="8330"/>
                </a:lnTo>
                <a:lnTo>
                  <a:pt x="12376" y="8311"/>
                </a:lnTo>
                <a:lnTo>
                  <a:pt x="12391" y="8291"/>
                </a:lnTo>
                <a:lnTo>
                  <a:pt x="12408" y="8272"/>
                </a:lnTo>
                <a:lnTo>
                  <a:pt x="12426" y="8254"/>
                </a:lnTo>
                <a:lnTo>
                  <a:pt x="12445" y="8236"/>
                </a:lnTo>
                <a:lnTo>
                  <a:pt x="12467" y="8218"/>
                </a:lnTo>
                <a:lnTo>
                  <a:pt x="12489" y="8201"/>
                </a:lnTo>
                <a:lnTo>
                  <a:pt x="12512" y="8184"/>
                </a:lnTo>
                <a:lnTo>
                  <a:pt x="12536" y="8168"/>
                </a:lnTo>
                <a:lnTo>
                  <a:pt x="12561" y="8152"/>
                </a:lnTo>
                <a:lnTo>
                  <a:pt x="12588" y="8136"/>
                </a:lnTo>
                <a:lnTo>
                  <a:pt x="12614" y="8120"/>
                </a:lnTo>
                <a:lnTo>
                  <a:pt x="12642" y="8105"/>
                </a:lnTo>
                <a:lnTo>
                  <a:pt x="12698" y="8076"/>
                </a:lnTo>
                <a:lnTo>
                  <a:pt x="12758" y="8045"/>
                </a:lnTo>
                <a:lnTo>
                  <a:pt x="12880" y="7988"/>
                </a:lnTo>
                <a:lnTo>
                  <a:pt x="13003" y="7929"/>
                </a:lnTo>
                <a:lnTo>
                  <a:pt x="13060" y="7901"/>
                </a:lnTo>
                <a:lnTo>
                  <a:pt x="13121" y="7871"/>
                </a:lnTo>
                <a:lnTo>
                  <a:pt x="13184" y="7842"/>
                </a:lnTo>
                <a:lnTo>
                  <a:pt x="13249" y="7812"/>
                </a:lnTo>
                <a:lnTo>
                  <a:pt x="13315" y="7781"/>
                </a:lnTo>
                <a:lnTo>
                  <a:pt x="13383" y="7752"/>
                </a:lnTo>
                <a:lnTo>
                  <a:pt x="13451" y="7723"/>
                </a:lnTo>
                <a:lnTo>
                  <a:pt x="13518" y="7695"/>
                </a:lnTo>
                <a:lnTo>
                  <a:pt x="13585" y="7669"/>
                </a:lnTo>
                <a:lnTo>
                  <a:pt x="13650" y="7646"/>
                </a:lnTo>
                <a:lnTo>
                  <a:pt x="13682" y="7635"/>
                </a:lnTo>
                <a:lnTo>
                  <a:pt x="13714" y="7625"/>
                </a:lnTo>
                <a:lnTo>
                  <a:pt x="13744" y="7614"/>
                </a:lnTo>
                <a:lnTo>
                  <a:pt x="13774" y="7606"/>
                </a:lnTo>
                <a:lnTo>
                  <a:pt x="13803" y="7598"/>
                </a:lnTo>
                <a:lnTo>
                  <a:pt x="13832" y="7591"/>
                </a:lnTo>
                <a:lnTo>
                  <a:pt x="13860" y="7585"/>
                </a:lnTo>
                <a:lnTo>
                  <a:pt x="13886" y="7580"/>
                </a:lnTo>
                <a:lnTo>
                  <a:pt x="13911" y="7576"/>
                </a:lnTo>
                <a:lnTo>
                  <a:pt x="13937" y="7573"/>
                </a:lnTo>
                <a:lnTo>
                  <a:pt x="13960" y="7571"/>
                </a:lnTo>
                <a:lnTo>
                  <a:pt x="13982" y="7571"/>
                </a:lnTo>
                <a:lnTo>
                  <a:pt x="14025" y="7571"/>
                </a:lnTo>
                <a:lnTo>
                  <a:pt x="14069" y="7572"/>
                </a:lnTo>
                <a:lnTo>
                  <a:pt x="14090" y="7573"/>
                </a:lnTo>
                <a:lnTo>
                  <a:pt x="14110" y="7575"/>
                </a:lnTo>
                <a:lnTo>
                  <a:pt x="14131" y="7577"/>
                </a:lnTo>
                <a:lnTo>
                  <a:pt x="14151" y="7579"/>
                </a:lnTo>
                <a:lnTo>
                  <a:pt x="14170" y="7583"/>
                </a:lnTo>
                <a:lnTo>
                  <a:pt x="14190" y="7587"/>
                </a:lnTo>
                <a:lnTo>
                  <a:pt x="14209" y="7591"/>
                </a:lnTo>
                <a:lnTo>
                  <a:pt x="14227" y="7597"/>
                </a:lnTo>
                <a:lnTo>
                  <a:pt x="14245" y="7603"/>
                </a:lnTo>
                <a:lnTo>
                  <a:pt x="14262" y="7611"/>
                </a:lnTo>
                <a:lnTo>
                  <a:pt x="14279" y="7619"/>
                </a:lnTo>
                <a:lnTo>
                  <a:pt x="14294" y="7630"/>
                </a:lnTo>
                <a:lnTo>
                  <a:pt x="14311" y="7641"/>
                </a:lnTo>
                <a:lnTo>
                  <a:pt x="14325" y="7653"/>
                </a:lnTo>
                <a:lnTo>
                  <a:pt x="14339" y="7666"/>
                </a:lnTo>
                <a:lnTo>
                  <a:pt x="14352" y="7681"/>
                </a:lnTo>
                <a:lnTo>
                  <a:pt x="14364" y="7697"/>
                </a:lnTo>
                <a:lnTo>
                  <a:pt x="14375" y="7716"/>
                </a:lnTo>
                <a:lnTo>
                  <a:pt x="14385" y="7735"/>
                </a:lnTo>
                <a:lnTo>
                  <a:pt x="14395" y="7756"/>
                </a:lnTo>
                <a:lnTo>
                  <a:pt x="14403" y="7779"/>
                </a:lnTo>
                <a:lnTo>
                  <a:pt x="14411" y="7805"/>
                </a:lnTo>
                <a:lnTo>
                  <a:pt x="14417" y="7831"/>
                </a:lnTo>
                <a:lnTo>
                  <a:pt x="14422" y="7860"/>
                </a:lnTo>
                <a:lnTo>
                  <a:pt x="14427" y="7891"/>
                </a:lnTo>
                <a:lnTo>
                  <a:pt x="14430" y="7924"/>
                </a:lnTo>
                <a:lnTo>
                  <a:pt x="14432" y="7958"/>
                </a:lnTo>
                <a:lnTo>
                  <a:pt x="14433" y="7996"/>
                </a:lnTo>
                <a:lnTo>
                  <a:pt x="14433" y="8421"/>
                </a:lnTo>
                <a:lnTo>
                  <a:pt x="14431" y="8453"/>
                </a:lnTo>
                <a:lnTo>
                  <a:pt x="14427" y="8485"/>
                </a:lnTo>
                <a:lnTo>
                  <a:pt x="14419" y="8513"/>
                </a:lnTo>
                <a:lnTo>
                  <a:pt x="14410" y="8541"/>
                </a:lnTo>
                <a:lnTo>
                  <a:pt x="14397" y="8566"/>
                </a:lnTo>
                <a:lnTo>
                  <a:pt x="14383" y="8592"/>
                </a:lnTo>
                <a:lnTo>
                  <a:pt x="14365" y="8615"/>
                </a:lnTo>
                <a:lnTo>
                  <a:pt x="14346" y="8636"/>
                </a:lnTo>
                <a:lnTo>
                  <a:pt x="14325" y="8657"/>
                </a:lnTo>
                <a:lnTo>
                  <a:pt x="14300" y="8676"/>
                </a:lnTo>
                <a:lnTo>
                  <a:pt x="14274" y="8694"/>
                </a:lnTo>
                <a:lnTo>
                  <a:pt x="14247" y="8711"/>
                </a:lnTo>
                <a:lnTo>
                  <a:pt x="14217" y="8726"/>
                </a:lnTo>
                <a:lnTo>
                  <a:pt x="14186" y="8741"/>
                </a:lnTo>
                <a:lnTo>
                  <a:pt x="14152" y="8754"/>
                </a:lnTo>
                <a:lnTo>
                  <a:pt x="14118" y="8767"/>
                </a:lnTo>
                <a:lnTo>
                  <a:pt x="14082" y="8778"/>
                </a:lnTo>
                <a:lnTo>
                  <a:pt x="14044" y="8788"/>
                </a:lnTo>
                <a:lnTo>
                  <a:pt x="14005" y="8797"/>
                </a:lnTo>
                <a:lnTo>
                  <a:pt x="13966" y="8805"/>
                </a:lnTo>
                <a:lnTo>
                  <a:pt x="13924" y="8812"/>
                </a:lnTo>
                <a:lnTo>
                  <a:pt x="13882" y="8819"/>
                </a:lnTo>
                <a:lnTo>
                  <a:pt x="13840" y="8825"/>
                </a:lnTo>
                <a:lnTo>
                  <a:pt x="13795" y="8831"/>
                </a:lnTo>
                <a:lnTo>
                  <a:pt x="13751" y="8835"/>
                </a:lnTo>
                <a:lnTo>
                  <a:pt x="13706" y="8838"/>
                </a:lnTo>
                <a:lnTo>
                  <a:pt x="13660" y="8841"/>
                </a:lnTo>
                <a:lnTo>
                  <a:pt x="13614" y="8844"/>
                </a:lnTo>
                <a:lnTo>
                  <a:pt x="13567" y="8845"/>
                </a:lnTo>
                <a:lnTo>
                  <a:pt x="13520" y="8846"/>
                </a:lnTo>
                <a:lnTo>
                  <a:pt x="13473" y="8847"/>
                </a:lnTo>
                <a:lnTo>
                  <a:pt x="13426" y="8847"/>
                </a:lnTo>
                <a:lnTo>
                  <a:pt x="12863" y="8847"/>
                </a:lnTo>
                <a:close/>
                <a:moveTo>
                  <a:pt x="10362" y="6294"/>
                </a:moveTo>
                <a:lnTo>
                  <a:pt x="10136" y="6293"/>
                </a:lnTo>
                <a:lnTo>
                  <a:pt x="9917" y="6290"/>
                </a:lnTo>
                <a:lnTo>
                  <a:pt x="9705" y="6284"/>
                </a:lnTo>
                <a:lnTo>
                  <a:pt x="9499" y="6277"/>
                </a:lnTo>
                <a:lnTo>
                  <a:pt x="9303" y="6268"/>
                </a:lnTo>
                <a:lnTo>
                  <a:pt x="9112" y="6258"/>
                </a:lnTo>
                <a:lnTo>
                  <a:pt x="8929" y="6246"/>
                </a:lnTo>
                <a:lnTo>
                  <a:pt x="8753" y="6232"/>
                </a:lnTo>
                <a:lnTo>
                  <a:pt x="8585" y="6218"/>
                </a:lnTo>
                <a:lnTo>
                  <a:pt x="8424" y="6202"/>
                </a:lnTo>
                <a:lnTo>
                  <a:pt x="8269" y="6186"/>
                </a:lnTo>
                <a:lnTo>
                  <a:pt x="8123" y="6169"/>
                </a:lnTo>
                <a:lnTo>
                  <a:pt x="7983" y="6151"/>
                </a:lnTo>
                <a:lnTo>
                  <a:pt x="7851" y="6133"/>
                </a:lnTo>
                <a:lnTo>
                  <a:pt x="7726" y="6115"/>
                </a:lnTo>
                <a:lnTo>
                  <a:pt x="7607" y="6096"/>
                </a:lnTo>
                <a:lnTo>
                  <a:pt x="7497" y="6078"/>
                </a:lnTo>
                <a:lnTo>
                  <a:pt x="7393" y="6059"/>
                </a:lnTo>
                <a:lnTo>
                  <a:pt x="7296" y="6041"/>
                </a:lnTo>
                <a:lnTo>
                  <a:pt x="7208" y="6024"/>
                </a:lnTo>
                <a:lnTo>
                  <a:pt x="7125" y="6007"/>
                </a:lnTo>
                <a:lnTo>
                  <a:pt x="7050" y="5990"/>
                </a:lnTo>
                <a:lnTo>
                  <a:pt x="6983" y="5974"/>
                </a:lnTo>
                <a:lnTo>
                  <a:pt x="6921" y="5960"/>
                </a:lnTo>
                <a:lnTo>
                  <a:pt x="6822" y="5935"/>
                </a:lnTo>
                <a:lnTo>
                  <a:pt x="6751" y="5915"/>
                </a:lnTo>
                <a:lnTo>
                  <a:pt x="6708" y="5903"/>
                </a:lnTo>
                <a:lnTo>
                  <a:pt x="6694" y="5899"/>
                </a:lnTo>
                <a:lnTo>
                  <a:pt x="6721" y="5797"/>
                </a:lnTo>
                <a:lnTo>
                  <a:pt x="6747" y="5700"/>
                </a:lnTo>
                <a:lnTo>
                  <a:pt x="6774" y="5605"/>
                </a:lnTo>
                <a:lnTo>
                  <a:pt x="6802" y="5514"/>
                </a:lnTo>
                <a:lnTo>
                  <a:pt x="6830" y="5426"/>
                </a:lnTo>
                <a:lnTo>
                  <a:pt x="6858" y="5341"/>
                </a:lnTo>
                <a:lnTo>
                  <a:pt x="6885" y="5258"/>
                </a:lnTo>
                <a:lnTo>
                  <a:pt x="6913" y="5179"/>
                </a:lnTo>
                <a:lnTo>
                  <a:pt x="6941" y="5102"/>
                </a:lnTo>
                <a:lnTo>
                  <a:pt x="6968" y="5028"/>
                </a:lnTo>
                <a:lnTo>
                  <a:pt x="6995" y="4958"/>
                </a:lnTo>
                <a:lnTo>
                  <a:pt x="7022" y="4889"/>
                </a:lnTo>
                <a:lnTo>
                  <a:pt x="7049" y="4823"/>
                </a:lnTo>
                <a:lnTo>
                  <a:pt x="7076" y="4760"/>
                </a:lnTo>
                <a:lnTo>
                  <a:pt x="7102" y="4700"/>
                </a:lnTo>
                <a:lnTo>
                  <a:pt x="7127" y="4641"/>
                </a:lnTo>
                <a:lnTo>
                  <a:pt x="7175" y="4533"/>
                </a:lnTo>
                <a:lnTo>
                  <a:pt x="7222" y="4432"/>
                </a:lnTo>
                <a:lnTo>
                  <a:pt x="7265" y="4342"/>
                </a:lnTo>
                <a:lnTo>
                  <a:pt x="7304" y="4260"/>
                </a:lnTo>
                <a:lnTo>
                  <a:pt x="7340" y="4188"/>
                </a:lnTo>
                <a:lnTo>
                  <a:pt x="7370" y="4122"/>
                </a:lnTo>
                <a:lnTo>
                  <a:pt x="7383" y="4092"/>
                </a:lnTo>
                <a:lnTo>
                  <a:pt x="7395" y="4063"/>
                </a:lnTo>
                <a:lnTo>
                  <a:pt x="7406" y="4037"/>
                </a:lnTo>
                <a:lnTo>
                  <a:pt x="7415" y="4013"/>
                </a:lnTo>
                <a:lnTo>
                  <a:pt x="7417" y="4007"/>
                </a:lnTo>
                <a:lnTo>
                  <a:pt x="7426" y="3990"/>
                </a:lnTo>
                <a:lnTo>
                  <a:pt x="7434" y="3979"/>
                </a:lnTo>
                <a:lnTo>
                  <a:pt x="7444" y="3966"/>
                </a:lnTo>
                <a:lnTo>
                  <a:pt x="7457" y="3951"/>
                </a:lnTo>
                <a:lnTo>
                  <a:pt x="7475" y="3935"/>
                </a:lnTo>
                <a:lnTo>
                  <a:pt x="7496" y="3917"/>
                </a:lnTo>
                <a:lnTo>
                  <a:pt x="7523" y="3898"/>
                </a:lnTo>
                <a:lnTo>
                  <a:pt x="7556" y="3878"/>
                </a:lnTo>
                <a:lnTo>
                  <a:pt x="7594" y="3858"/>
                </a:lnTo>
                <a:lnTo>
                  <a:pt x="7638" y="3836"/>
                </a:lnTo>
                <a:lnTo>
                  <a:pt x="7689" y="3814"/>
                </a:lnTo>
                <a:lnTo>
                  <a:pt x="7748" y="3791"/>
                </a:lnTo>
                <a:lnTo>
                  <a:pt x="7815" y="3769"/>
                </a:lnTo>
                <a:lnTo>
                  <a:pt x="7889" y="3747"/>
                </a:lnTo>
                <a:lnTo>
                  <a:pt x="7973" y="3724"/>
                </a:lnTo>
                <a:lnTo>
                  <a:pt x="8067" y="3702"/>
                </a:lnTo>
                <a:lnTo>
                  <a:pt x="8170" y="3681"/>
                </a:lnTo>
                <a:lnTo>
                  <a:pt x="8283" y="3661"/>
                </a:lnTo>
                <a:lnTo>
                  <a:pt x="8407" y="3640"/>
                </a:lnTo>
                <a:lnTo>
                  <a:pt x="8544" y="3621"/>
                </a:lnTo>
                <a:lnTo>
                  <a:pt x="8691" y="3604"/>
                </a:lnTo>
                <a:lnTo>
                  <a:pt x="8851" y="3588"/>
                </a:lnTo>
                <a:lnTo>
                  <a:pt x="9025" y="3574"/>
                </a:lnTo>
                <a:lnTo>
                  <a:pt x="9211" y="3560"/>
                </a:lnTo>
                <a:lnTo>
                  <a:pt x="9412" y="3550"/>
                </a:lnTo>
                <a:lnTo>
                  <a:pt x="9626" y="3541"/>
                </a:lnTo>
                <a:lnTo>
                  <a:pt x="9856" y="3534"/>
                </a:lnTo>
                <a:lnTo>
                  <a:pt x="10101" y="3531"/>
                </a:lnTo>
                <a:lnTo>
                  <a:pt x="10362" y="3529"/>
                </a:lnTo>
                <a:lnTo>
                  <a:pt x="10624" y="3530"/>
                </a:lnTo>
                <a:lnTo>
                  <a:pt x="10869" y="3534"/>
                </a:lnTo>
                <a:lnTo>
                  <a:pt x="11098" y="3540"/>
                </a:lnTo>
                <a:lnTo>
                  <a:pt x="11313" y="3547"/>
                </a:lnTo>
                <a:lnTo>
                  <a:pt x="11513" y="3557"/>
                </a:lnTo>
                <a:lnTo>
                  <a:pt x="11699" y="3568"/>
                </a:lnTo>
                <a:lnTo>
                  <a:pt x="11872" y="3582"/>
                </a:lnTo>
                <a:lnTo>
                  <a:pt x="12032" y="3597"/>
                </a:lnTo>
                <a:lnTo>
                  <a:pt x="12180" y="3613"/>
                </a:lnTo>
                <a:lnTo>
                  <a:pt x="12315" y="3630"/>
                </a:lnTo>
                <a:lnTo>
                  <a:pt x="12440" y="3649"/>
                </a:lnTo>
                <a:lnTo>
                  <a:pt x="12553" y="3669"/>
                </a:lnTo>
                <a:lnTo>
                  <a:pt x="12657" y="3689"/>
                </a:lnTo>
                <a:lnTo>
                  <a:pt x="12750" y="3711"/>
                </a:lnTo>
                <a:lnTo>
                  <a:pt x="12835" y="3732"/>
                </a:lnTo>
                <a:lnTo>
                  <a:pt x="12910" y="3756"/>
                </a:lnTo>
                <a:lnTo>
                  <a:pt x="12977" y="3778"/>
                </a:lnTo>
                <a:lnTo>
                  <a:pt x="13036" y="3801"/>
                </a:lnTo>
                <a:lnTo>
                  <a:pt x="13089" y="3824"/>
                </a:lnTo>
                <a:lnTo>
                  <a:pt x="13134" y="3848"/>
                </a:lnTo>
                <a:lnTo>
                  <a:pt x="13174" y="3871"/>
                </a:lnTo>
                <a:lnTo>
                  <a:pt x="13208" y="3894"/>
                </a:lnTo>
                <a:lnTo>
                  <a:pt x="13236" y="3917"/>
                </a:lnTo>
                <a:lnTo>
                  <a:pt x="13260" y="3940"/>
                </a:lnTo>
                <a:lnTo>
                  <a:pt x="13280" y="3961"/>
                </a:lnTo>
                <a:lnTo>
                  <a:pt x="13296" y="3981"/>
                </a:lnTo>
                <a:lnTo>
                  <a:pt x="13309" y="4001"/>
                </a:lnTo>
                <a:lnTo>
                  <a:pt x="13319" y="4021"/>
                </a:lnTo>
                <a:lnTo>
                  <a:pt x="13336" y="4054"/>
                </a:lnTo>
                <a:lnTo>
                  <a:pt x="13347" y="4083"/>
                </a:lnTo>
                <a:lnTo>
                  <a:pt x="13354" y="4102"/>
                </a:lnTo>
                <a:lnTo>
                  <a:pt x="13363" y="4121"/>
                </a:lnTo>
                <a:lnTo>
                  <a:pt x="13373" y="4143"/>
                </a:lnTo>
                <a:lnTo>
                  <a:pt x="13385" y="4166"/>
                </a:lnTo>
                <a:lnTo>
                  <a:pt x="13411" y="4218"/>
                </a:lnTo>
                <a:lnTo>
                  <a:pt x="13444" y="4279"/>
                </a:lnTo>
                <a:lnTo>
                  <a:pt x="13479" y="4349"/>
                </a:lnTo>
                <a:lnTo>
                  <a:pt x="13519" y="4427"/>
                </a:lnTo>
                <a:lnTo>
                  <a:pt x="13561" y="4516"/>
                </a:lnTo>
                <a:lnTo>
                  <a:pt x="13608" y="4617"/>
                </a:lnTo>
                <a:lnTo>
                  <a:pt x="13632" y="4671"/>
                </a:lnTo>
                <a:lnTo>
                  <a:pt x="13657" y="4728"/>
                </a:lnTo>
                <a:lnTo>
                  <a:pt x="13682" y="4789"/>
                </a:lnTo>
                <a:lnTo>
                  <a:pt x="13708" y="4852"/>
                </a:lnTo>
                <a:lnTo>
                  <a:pt x="13734" y="4920"/>
                </a:lnTo>
                <a:lnTo>
                  <a:pt x="13761" y="4990"/>
                </a:lnTo>
                <a:lnTo>
                  <a:pt x="13788" y="5064"/>
                </a:lnTo>
                <a:lnTo>
                  <a:pt x="13816" y="5142"/>
                </a:lnTo>
                <a:lnTo>
                  <a:pt x="13843" y="5223"/>
                </a:lnTo>
                <a:lnTo>
                  <a:pt x="13871" y="5307"/>
                </a:lnTo>
                <a:lnTo>
                  <a:pt x="13898" y="5396"/>
                </a:lnTo>
                <a:lnTo>
                  <a:pt x="13926" y="5488"/>
                </a:lnTo>
                <a:lnTo>
                  <a:pt x="13955" y="5584"/>
                </a:lnTo>
                <a:lnTo>
                  <a:pt x="13983" y="5685"/>
                </a:lnTo>
                <a:lnTo>
                  <a:pt x="14011" y="5789"/>
                </a:lnTo>
                <a:lnTo>
                  <a:pt x="14038" y="5899"/>
                </a:lnTo>
                <a:lnTo>
                  <a:pt x="14024" y="5903"/>
                </a:lnTo>
                <a:lnTo>
                  <a:pt x="13982" y="5915"/>
                </a:lnTo>
                <a:lnTo>
                  <a:pt x="13909" y="5935"/>
                </a:lnTo>
                <a:lnTo>
                  <a:pt x="13809" y="5960"/>
                </a:lnTo>
                <a:lnTo>
                  <a:pt x="13748" y="5974"/>
                </a:lnTo>
                <a:lnTo>
                  <a:pt x="13680" y="5990"/>
                </a:lnTo>
                <a:lnTo>
                  <a:pt x="13605" y="6007"/>
                </a:lnTo>
                <a:lnTo>
                  <a:pt x="13522" y="6024"/>
                </a:lnTo>
                <a:lnTo>
                  <a:pt x="13432" y="6041"/>
                </a:lnTo>
                <a:lnTo>
                  <a:pt x="13336" y="6059"/>
                </a:lnTo>
                <a:lnTo>
                  <a:pt x="13232" y="6078"/>
                </a:lnTo>
                <a:lnTo>
                  <a:pt x="13121" y="6096"/>
                </a:lnTo>
                <a:lnTo>
                  <a:pt x="13003" y="6115"/>
                </a:lnTo>
                <a:lnTo>
                  <a:pt x="12877" y="6133"/>
                </a:lnTo>
                <a:lnTo>
                  <a:pt x="12744" y="6151"/>
                </a:lnTo>
                <a:lnTo>
                  <a:pt x="12604" y="6169"/>
                </a:lnTo>
                <a:lnTo>
                  <a:pt x="12456" y="6186"/>
                </a:lnTo>
                <a:lnTo>
                  <a:pt x="12302" y="6202"/>
                </a:lnTo>
                <a:lnTo>
                  <a:pt x="12141" y="6218"/>
                </a:lnTo>
                <a:lnTo>
                  <a:pt x="11973" y="6232"/>
                </a:lnTo>
                <a:lnTo>
                  <a:pt x="11796" y="6246"/>
                </a:lnTo>
                <a:lnTo>
                  <a:pt x="11613" y="6258"/>
                </a:lnTo>
                <a:lnTo>
                  <a:pt x="11422" y="6268"/>
                </a:lnTo>
                <a:lnTo>
                  <a:pt x="11225" y="6277"/>
                </a:lnTo>
                <a:lnTo>
                  <a:pt x="11020" y="6284"/>
                </a:lnTo>
                <a:lnTo>
                  <a:pt x="10808" y="6290"/>
                </a:lnTo>
                <a:lnTo>
                  <a:pt x="10589" y="6293"/>
                </a:lnTo>
                <a:lnTo>
                  <a:pt x="10362" y="6294"/>
                </a:lnTo>
                <a:close/>
                <a:moveTo>
                  <a:pt x="4184" y="6883"/>
                </a:moveTo>
                <a:lnTo>
                  <a:pt x="4175" y="6859"/>
                </a:lnTo>
                <a:lnTo>
                  <a:pt x="4165" y="6835"/>
                </a:lnTo>
                <a:lnTo>
                  <a:pt x="4156" y="6811"/>
                </a:lnTo>
                <a:lnTo>
                  <a:pt x="4148" y="6787"/>
                </a:lnTo>
                <a:lnTo>
                  <a:pt x="4141" y="6763"/>
                </a:lnTo>
                <a:lnTo>
                  <a:pt x="4133" y="6737"/>
                </a:lnTo>
                <a:lnTo>
                  <a:pt x="4127" y="6713"/>
                </a:lnTo>
                <a:lnTo>
                  <a:pt x="4121" y="6688"/>
                </a:lnTo>
                <a:lnTo>
                  <a:pt x="4115" y="6663"/>
                </a:lnTo>
                <a:lnTo>
                  <a:pt x="4110" y="6638"/>
                </a:lnTo>
                <a:lnTo>
                  <a:pt x="4105" y="6613"/>
                </a:lnTo>
                <a:lnTo>
                  <a:pt x="4102" y="6588"/>
                </a:lnTo>
                <a:lnTo>
                  <a:pt x="4098" y="6561"/>
                </a:lnTo>
                <a:lnTo>
                  <a:pt x="4096" y="6536"/>
                </a:lnTo>
                <a:lnTo>
                  <a:pt x="4094" y="6511"/>
                </a:lnTo>
                <a:lnTo>
                  <a:pt x="4092" y="6484"/>
                </a:lnTo>
                <a:lnTo>
                  <a:pt x="4092" y="6459"/>
                </a:lnTo>
                <a:lnTo>
                  <a:pt x="4091" y="6433"/>
                </a:lnTo>
                <a:lnTo>
                  <a:pt x="4092" y="6407"/>
                </a:lnTo>
                <a:lnTo>
                  <a:pt x="4093" y="6381"/>
                </a:lnTo>
                <a:lnTo>
                  <a:pt x="4094" y="6356"/>
                </a:lnTo>
                <a:lnTo>
                  <a:pt x="4096" y="6330"/>
                </a:lnTo>
                <a:lnTo>
                  <a:pt x="4099" y="6304"/>
                </a:lnTo>
                <a:lnTo>
                  <a:pt x="4102" y="6278"/>
                </a:lnTo>
                <a:lnTo>
                  <a:pt x="4106" y="6252"/>
                </a:lnTo>
                <a:lnTo>
                  <a:pt x="4111" y="6226"/>
                </a:lnTo>
                <a:lnTo>
                  <a:pt x="4117" y="6200"/>
                </a:lnTo>
                <a:lnTo>
                  <a:pt x="4123" y="6175"/>
                </a:lnTo>
                <a:lnTo>
                  <a:pt x="4129" y="6149"/>
                </a:lnTo>
                <a:lnTo>
                  <a:pt x="4136" y="6123"/>
                </a:lnTo>
                <a:lnTo>
                  <a:pt x="4144" y="6098"/>
                </a:lnTo>
                <a:lnTo>
                  <a:pt x="4152" y="6073"/>
                </a:lnTo>
                <a:lnTo>
                  <a:pt x="4297" y="5648"/>
                </a:lnTo>
                <a:lnTo>
                  <a:pt x="4315" y="5600"/>
                </a:lnTo>
                <a:lnTo>
                  <a:pt x="4334" y="5553"/>
                </a:lnTo>
                <a:lnTo>
                  <a:pt x="4355" y="5507"/>
                </a:lnTo>
                <a:lnTo>
                  <a:pt x="4379" y="5462"/>
                </a:lnTo>
                <a:lnTo>
                  <a:pt x="4403" y="5418"/>
                </a:lnTo>
                <a:lnTo>
                  <a:pt x="4429" y="5374"/>
                </a:lnTo>
                <a:lnTo>
                  <a:pt x="4457" y="5333"/>
                </a:lnTo>
                <a:lnTo>
                  <a:pt x="4487" y="5292"/>
                </a:lnTo>
                <a:lnTo>
                  <a:pt x="4518" y="5252"/>
                </a:lnTo>
                <a:lnTo>
                  <a:pt x="4550" y="5214"/>
                </a:lnTo>
                <a:lnTo>
                  <a:pt x="4584" y="5177"/>
                </a:lnTo>
                <a:lnTo>
                  <a:pt x="4620" y="5141"/>
                </a:lnTo>
                <a:lnTo>
                  <a:pt x="4656" y="5106"/>
                </a:lnTo>
                <a:lnTo>
                  <a:pt x="4693" y="5073"/>
                </a:lnTo>
                <a:lnTo>
                  <a:pt x="4732" y="5042"/>
                </a:lnTo>
                <a:lnTo>
                  <a:pt x="4772" y="5011"/>
                </a:lnTo>
                <a:lnTo>
                  <a:pt x="4813" y="4982"/>
                </a:lnTo>
                <a:lnTo>
                  <a:pt x="4855" y="4955"/>
                </a:lnTo>
                <a:lnTo>
                  <a:pt x="4898" y="4929"/>
                </a:lnTo>
                <a:lnTo>
                  <a:pt x="4941" y="4905"/>
                </a:lnTo>
                <a:lnTo>
                  <a:pt x="4986" y="4883"/>
                </a:lnTo>
                <a:lnTo>
                  <a:pt x="5031" y="4862"/>
                </a:lnTo>
                <a:lnTo>
                  <a:pt x="5076" y="4843"/>
                </a:lnTo>
                <a:lnTo>
                  <a:pt x="5123" y="4826"/>
                </a:lnTo>
                <a:lnTo>
                  <a:pt x="5170" y="4811"/>
                </a:lnTo>
                <a:lnTo>
                  <a:pt x="5217" y="4798"/>
                </a:lnTo>
                <a:lnTo>
                  <a:pt x="5266" y="4787"/>
                </a:lnTo>
                <a:lnTo>
                  <a:pt x="5314" y="4777"/>
                </a:lnTo>
                <a:lnTo>
                  <a:pt x="5363" y="4769"/>
                </a:lnTo>
                <a:lnTo>
                  <a:pt x="5412" y="4764"/>
                </a:lnTo>
                <a:lnTo>
                  <a:pt x="5461" y="4761"/>
                </a:lnTo>
                <a:lnTo>
                  <a:pt x="5511" y="4760"/>
                </a:lnTo>
                <a:lnTo>
                  <a:pt x="5526" y="4760"/>
                </a:lnTo>
                <a:lnTo>
                  <a:pt x="5560" y="4666"/>
                </a:lnTo>
                <a:lnTo>
                  <a:pt x="5595" y="4574"/>
                </a:lnTo>
                <a:lnTo>
                  <a:pt x="5629" y="4484"/>
                </a:lnTo>
                <a:lnTo>
                  <a:pt x="5662" y="4397"/>
                </a:lnTo>
                <a:lnTo>
                  <a:pt x="5695" y="4311"/>
                </a:lnTo>
                <a:lnTo>
                  <a:pt x="5727" y="4228"/>
                </a:lnTo>
                <a:lnTo>
                  <a:pt x="5758" y="4148"/>
                </a:lnTo>
                <a:lnTo>
                  <a:pt x="5789" y="4070"/>
                </a:lnTo>
                <a:lnTo>
                  <a:pt x="5818" y="3994"/>
                </a:lnTo>
                <a:lnTo>
                  <a:pt x="5847" y="3922"/>
                </a:lnTo>
                <a:lnTo>
                  <a:pt x="5875" y="3852"/>
                </a:lnTo>
                <a:lnTo>
                  <a:pt x="5902" y="3785"/>
                </a:lnTo>
                <a:lnTo>
                  <a:pt x="5927" y="3721"/>
                </a:lnTo>
                <a:lnTo>
                  <a:pt x="5951" y="3661"/>
                </a:lnTo>
                <a:lnTo>
                  <a:pt x="5976" y="3604"/>
                </a:lnTo>
                <a:lnTo>
                  <a:pt x="5998" y="3549"/>
                </a:lnTo>
                <a:lnTo>
                  <a:pt x="5589" y="3557"/>
                </a:lnTo>
                <a:lnTo>
                  <a:pt x="5363" y="3556"/>
                </a:lnTo>
                <a:lnTo>
                  <a:pt x="5143" y="3553"/>
                </a:lnTo>
                <a:lnTo>
                  <a:pt x="4931" y="3548"/>
                </a:lnTo>
                <a:lnTo>
                  <a:pt x="4726" y="3541"/>
                </a:lnTo>
                <a:lnTo>
                  <a:pt x="4529" y="3532"/>
                </a:lnTo>
                <a:lnTo>
                  <a:pt x="4338" y="3521"/>
                </a:lnTo>
                <a:lnTo>
                  <a:pt x="4156" y="3509"/>
                </a:lnTo>
                <a:lnTo>
                  <a:pt x="3980" y="3496"/>
                </a:lnTo>
                <a:lnTo>
                  <a:pt x="3812" y="3481"/>
                </a:lnTo>
                <a:lnTo>
                  <a:pt x="3651" y="3466"/>
                </a:lnTo>
                <a:lnTo>
                  <a:pt x="3496" y="3449"/>
                </a:lnTo>
                <a:lnTo>
                  <a:pt x="3349" y="3432"/>
                </a:lnTo>
                <a:lnTo>
                  <a:pt x="3210" y="3415"/>
                </a:lnTo>
                <a:lnTo>
                  <a:pt x="3077" y="3396"/>
                </a:lnTo>
                <a:lnTo>
                  <a:pt x="2952" y="3378"/>
                </a:lnTo>
                <a:lnTo>
                  <a:pt x="2834" y="3359"/>
                </a:lnTo>
                <a:lnTo>
                  <a:pt x="2723" y="3341"/>
                </a:lnTo>
                <a:lnTo>
                  <a:pt x="2620" y="3323"/>
                </a:lnTo>
                <a:lnTo>
                  <a:pt x="2524" y="3304"/>
                </a:lnTo>
                <a:lnTo>
                  <a:pt x="2434" y="3286"/>
                </a:lnTo>
                <a:lnTo>
                  <a:pt x="2352" y="3270"/>
                </a:lnTo>
                <a:lnTo>
                  <a:pt x="2278" y="3253"/>
                </a:lnTo>
                <a:lnTo>
                  <a:pt x="2209" y="3238"/>
                </a:lnTo>
                <a:lnTo>
                  <a:pt x="2149" y="3223"/>
                </a:lnTo>
                <a:lnTo>
                  <a:pt x="2049" y="3198"/>
                </a:lnTo>
                <a:lnTo>
                  <a:pt x="1978" y="3178"/>
                </a:lnTo>
                <a:lnTo>
                  <a:pt x="1935" y="3166"/>
                </a:lnTo>
                <a:lnTo>
                  <a:pt x="1921" y="3161"/>
                </a:lnTo>
                <a:lnTo>
                  <a:pt x="1947" y="3061"/>
                </a:lnTo>
                <a:lnTo>
                  <a:pt x="1974" y="2962"/>
                </a:lnTo>
                <a:lnTo>
                  <a:pt x="2001" y="2868"/>
                </a:lnTo>
                <a:lnTo>
                  <a:pt x="2029" y="2777"/>
                </a:lnTo>
                <a:lnTo>
                  <a:pt x="2057" y="2688"/>
                </a:lnTo>
                <a:lnTo>
                  <a:pt x="2084" y="2603"/>
                </a:lnTo>
                <a:lnTo>
                  <a:pt x="2112" y="2521"/>
                </a:lnTo>
                <a:lnTo>
                  <a:pt x="2139" y="2441"/>
                </a:lnTo>
                <a:lnTo>
                  <a:pt x="2168" y="2364"/>
                </a:lnTo>
                <a:lnTo>
                  <a:pt x="2195" y="2291"/>
                </a:lnTo>
                <a:lnTo>
                  <a:pt x="2222" y="2220"/>
                </a:lnTo>
                <a:lnTo>
                  <a:pt x="2249" y="2152"/>
                </a:lnTo>
                <a:lnTo>
                  <a:pt x="2276" y="2086"/>
                </a:lnTo>
                <a:lnTo>
                  <a:pt x="2303" y="2022"/>
                </a:lnTo>
                <a:lnTo>
                  <a:pt x="2328" y="1962"/>
                </a:lnTo>
                <a:lnTo>
                  <a:pt x="2354" y="1904"/>
                </a:lnTo>
                <a:lnTo>
                  <a:pt x="2403" y="1795"/>
                </a:lnTo>
                <a:lnTo>
                  <a:pt x="2449" y="1696"/>
                </a:lnTo>
                <a:lnTo>
                  <a:pt x="2492" y="1606"/>
                </a:lnTo>
                <a:lnTo>
                  <a:pt x="2532" y="1524"/>
                </a:lnTo>
                <a:lnTo>
                  <a:pt x="2567" y="1450"/>
                </a:lnTo>
                <a:lnTo>
                  <a:pt x="2597" y="1384"/>
                </a:lnTo>
                <a:lnTo>
                  <a:pt x="2610" y="1355"/>
                </a:lnTo>
                <a:lnTo>
                  <a:pt x="2622" y="1326"/>
                </a:lnTo>
                <a:lnTo>
                  <a:pt x="2633" y="1300"/>
                </a:lnTo>
                <a:lnTo>
                  <a:pt x="2643" y="1275"/>
                </a:lnTo>
                <a:lnTo>
                  <a:pt x="2645" y="1269"/>
                </a:lnTo>
                <a:lnTo>
                  <a:pt x="2654" y="1253"/>
                </a:lnTo>
                <a:lnTo>
                  <a:pt x="2661" y="1241"/>
                </a:lnTo>
                <a:lnTo>
                  <a:pt x="2671" y="1229"/>
                </a:lnTo>
                <a:lnTo>
                  <a:pt x="2685" y="1214"/>
                </a:lnTo>
                <a:lnTo>
                  <a:pt x="2702" y="1198"/>
                </a:lnTo>
                <a:lnTo>
                  <a:pt x="2724" y="1180"/>
                </a:lnTo>
                <a:lnTo>
                  <a:pt x="2750" y="1161"/>
                </a:lnTo>
                <a:lnTo>
                  <a:pt x="2783" y="1141"/>
                </a:lnTo>
                <a:lnTo>
                  <a:pt x="2821" y="1120"/>
                </a:lnTo>
                <a:lnTo>
                  <a:pt x="2865" y="1099"/>
                </a:lnTo>
                <a:lnTo>
                  <a:pt x="2917" y="1077"/>
                </a:lnTo>
                <a:lnTo>
                  <a:pt x="2975" y="1054"/>
                </a:lnTo>
                <a:lnTo>
                  <a:pt x="3042" y="1032"/>
                </a:lnTo>
                <a:lnTo>
                  <a:pt x="3116" y="1010"/>
                </a:lnTo>
                <a:lnTo>
                  <a:pt x="3200" y="987"/>
                </a:lnTo>
                <a:lnTo>
                  <a:pt x="3294" y="965"/>
                </a:lnTo>
                <a:lnTo>
                  <a:pt x="3397" y="944"/>
                </a:lnTo>
                <a:lnTo>
                  <a:pt x="3510" y="923"/>
                </a:lnTo>
                <a:lnTo>
                  <a:pt x="3635" y="903"/>
                </a:lnTo>
                <a:lnTo>
                  <a:pt x="3770" y="884"/>
                </a:lnTo>
                <a:lnTo>
                  <a:pt x="3918" y="867"/>
                </a:lnTo>
                <a:lnTo>
                  <a:pt x="4078" y="851"/>
                </a:lnTo>
                <a:lnTo>
                  <a:pt x="4251" y="837"/>
                </a:lnTo>
                <a:lnTo>
                  <a:pt x="4437" y="824"/>
                </a:lnTo>
                <a:lnTo>
                  <a:pt x="4638" y="812"/>
                </a:lnTo>
                <a:lnTo>
                  <a:pt x="4853" y="804"/>
                </a:lnTo>
                <a:lnTo>
                  <a:pt x="5082" y="797"/>
                </a:lnTo>
                <a:lnTo>
                  <a:pt x="5327" y="793"/>
                </a:lnTo>
                <a:lnTo>
                  <a:pt x="5589" y="792"/>
                </a:lnTo>
                <a:lnTo>
                  <a:pt x="5850" y="793"/>
                </a:lnTo>
                <a:lnTo>
                  <a:pt x="6095" y="797"/>
                </a:lnTo>
                <a:lnTo>
                  <a:pt x="6325" y="802"/>
                </a:lnTo>
                <a:lnTo>
                  <a:pt x="6539" y="810"/>
                </a:lnTo>
                <a:lnTo>
                  <a:pt x="6740" y="821"/>
                </a:lnTo>
                <a:lnTo>
                  <a:pt x="6925" y="832"/>
                </a:lnTo>
                <a:lnTo>
                  <a:pt x="7099" y="845"/>
                </a:lnTo>
                <a:lnTo>
                  <a:pt x="7259" y="860"/>
                </a:lnTo>
                <a:lnTo>
                  <a:pt x="7406" y="876"/>
                </a:lnTo>
                <a:lnTo>
                  <a:pt x="7542" y="893"/>
                </a:lnTo>
                <a:lnTo>
                  <a:pt x="7666" y="912"/>
                </a:lnTo>
                <a:lnTo>
                  <a:pt x="7780" y="932"/>
                </a:lnTo>
                <a:lnTo>
                  <a:pt x="7883" y="952"/>
                </a:lnTo>
                <a:lnTo>
                  <a:pt x="7977" y="973"/>
                </a:lnTo>
                <a:lnTo>
                  <a:pt x="8061" y="996"/>
                </a:lnTo>
                <a:lnTo>
                  <a:pt x="8136" y="1018"/>
                </a:lnTo>
                <a:lnTo>
                  <a:pt x="8204" y="1041"/>
                </a:lnTo>
                <a:lnTo>
                  <a:pt x="8263" y="1064"/>
                </a:lnTo>
                <a:lnTo>
                  <a:pt x="8316" y="1088"/>
                </a:lnTo>
                <a:lnTo>
                  <a:pt x="8361" y="1111"/>
                </a:lnTo>
                <a:lnTo>
                  <a:pt x="8400" y="1134"/>
                </a:lnTo>
                <a:lnTo>
                  <a:pt x="8435" y="1157"/>
                </a:lnTo>
                <a:lnTo>
                  <a:pt x="8463" y="1180"/>
                </a:lnTo>
                <a:lnTo>
                  <a:pt x="8487" y="1202"/>
                </a:lnTo>
                <a:lnTo>
                  <a:pt x="8506" y="1224"/>
                </a:lnTo>
                <a:lnTo>
                  <a:pt x="8523" y="1244"/>
                </a:lnTo>
                <a:lnTo>
                  <a:pt x="8537" y="1265"/>
                </a:lnTo>
                <a:lnTo>
                  <a:pt x="8547" y="1283"/>
                </a:lnTo>
                <a:lnTo>
                  <a:pt x="8563" y="1317"/>
                </a:lnTo>
                <a:lnTo>
                  <a:pt x="8574" y="1347"/>
                </a:lnTo>
                <a:lnTo>
                  <a:pt x="8583" y="1369"/>
                </a:lnTo>
                <a:lnTo>
                  <a:pt x="8595" y="1394"/>
                </a:lnTo>
                <a:lnTo>
                  <a:pt x="8608" y="1422"/>
                </a:lnTo>
                <a:lnTo>
                  <a:pt x="8623" y="1452"/>
                </a:lnTo>
                <a:lnTo>
                  <a:pt x="8640" y="1485"/>
                </a:lnTo>
                <a:lnTo>
                  <a:pt x="8660" y="1522"/>
                </a:lnTo>
                <a:lnTo>
                  <a:pt x="8681" y="1562"/>
                </a:lnTo>
                <a:lnTo>
                  <a:pt x="8703" y="1606"/>
                </a:lnTo>
                <a:lnTo>
                  <a:pt x="8727" y="1652"/>
                </a:lnTo>
                <a:lnTo>
                  <a:pt x="8752" y="1703"/>
                </a:lnTo>
                <a:lnTo>
                  <a:pt x="8779" y="1757"/>
                </a:lnTo>
                <a:lnTo>
                  <a:pt x="8806" y="1816"/>
                </a:lnTo>
                <a:lnTo>
                  <a:pt x="8835" y="1879"/>
                </a:lnTo>
                <a:lnTo>
                  <a:pt x="8864" y="1947"/>
                </a:lnTo>
                <a:lnTo>
                  <a:pt x="8895" y="2018"/>
                </a:lnTo>
                <a:lnTo>
                  <a:pt x="8927" y="2094"/>
                </a:lnTo>
                <a:lnTo>
                  <a:pt x="8970" y="2091"/>
                </a:lnTo>
                <a:lnTo>
                  <a:pt x="9014" y="2089"/>
                </a:lnTo>
                <a:lnTo>
                  <a:pt x="9059" y="2086"/>
                </a:lnTo>
                <a:lnTo>
                  <a:pt x="9105" y="2083"/>
                </a:lnTo>
                <a:lnTo>
                  <a:pt x="9152" y="2081"/>
                </a:lnTo>
                <a:lnTo>
                  <a:pt x="9199" y="2078"/>
                </a:lnTo>
                <a:lnTo>
                  <a:pt x="9247" y="2076"/>
                </a:lnTo>
                <a:lnTo>
                  <a:pt x="9296" y="2074"/>
                </a:lnTo>
                <a:lnTo>
                  <a:pt x="9346" y="2072"/>
                </a:lnTo>
                <a:lnTo>
                  <a:pt x="9398" y="2070"/>
                </a:lnTo>
                <a:lnTo>
                  <a:pt x="9450" y="2068"/>
                </a:lnTo>
                <a:lnTo>
                  <a:pt x="9502" y="2066"/>
                </a:lnTo>
                <a:lnTo>
                  <a:pt x="9557" y="2064"/>
                </a:lnTo>
                <a:lnTo>
                  <a:pt x="9612" y="2062"/>
                </a:lnTo>
                <a:lnTo>
                  <a:pt x="9670" y="2061"/>
                </a:lnTo>
                <a:lnTo>
                  <a:pt x="9727" y="2059"/>
                </a:lnTo>
                <a:lnTo>
                  <a:pt x="9685" y="1945"/>
                </a:lnTo>
                <a:lnTo>
                  <a:pt x="9643" y="1834"/>
                </a:lnTo>
                <a:lnTo>
                  <a:pt x="9602" y="1727"/>
                </a:lnTo>
                <a:lnTo>
                  <a:pt x="9563" y="1624"/>
                </a:lnTo>
                <a:lnTo>
                  <a:pt x="9525" y="1526"/>
                </a:lnTo>
                <a:lnTo>
                  <a:pt x="9487" y="1432"/>
                </a:lnTo>
                <a:lnTo>
                  <a:pt x="9452" y="1344"/>
                </a:lnTo>
                <a:lnTo>
                  <a:pt x="9419" y="1260"/>
                </a:lnTo>
                <a:lnTo>
                  <a:pt x="9386" y="1183"/>
                </a:lnTo>
                <a:lnTo>
                  <a:pt x="9357" y="1111"/>
                </a:lnTo>
                <a:lnTo>
                  <a:pt x="9330" y="1046"/>
                </a:lnTo>
                <a:lnTo>
                  <a:pt x="9306" y="987"/>
                </a:lnTo>
                <a:lnTo>
                  <a:pt x="9283" y="936"/>
                </a:lnTo>
                <a:lnTo>
                  <a:pt x="9263" y="891"/>
                </a:lnTo>
                <a:lnTo>
                  <a:pt x="9246" y="855"/>
                </a:lnTo>
                <a:lnTo>
                  <a:pt x="9233" y="827"/>
                </a:lnTo>
                <a:lnTo>
                  <a:pt x="9211" y="788"/>
                </a:lnTo>
                <a:lnTo>
                  <a:pt x="9188" y="751"/>
                </a:lnTo>
                <a:lnTo>
                  <a:pt x="9163" y="715"/>
                </a:lnTo>
                <a:lnTo>
                  <a:pt x="9135" y="682"/>
                </a:lnTo>
                <a:lnTo>
                  <a:pt x="9107" y="650"/>
                </a:lnTo>
                <a:lnTo>
                  <a:pt x="9077" y="619"/>
                </a:lnTo>
                <a:lnTo>
                  <a:pt x="9046" y="591"/>
                </a:lnTo>
                <a:lnTo>
                  <a:pt x="9012" y="564"/>
                </a:lnTo>
                <a:lnTo>
                  <a:pt x="8978" y="537"/>
                </a:lnTo>
                <a:lnTo>
                  <a:pt x="8943" y="513"/>
                </a:lnTo>
                <a:lnTo>
                  <a:pt x="8907" y="490"/>
                </a:lnTo>
                <a:lnTo>
                  <a:pt x="8869" y="468"/>
                </a:lnTo>
                <a:lnTo>
                  <a:pt x="8832" y="447"/>
                </a:lnTo>
                <a:lnTo>
                  <a:pt x="8793" y="428"/>
                </a:lnTo>
                <a:lnTo>
                  <a:pt x="8753" y="409"/>
                </a:lnTo>
                <a:lnTo>
                  <a:pt x="8713" y="392"/>
                </a:lnTo>
                <a:lnTo>
                  <a:pt x="8672" y="374"/>
                </a:lnTo>
                <a:lnTo>
                  <a:pt x="8630" y="358"/>
                </a:lnTo>
                <a:lnTo>
                  <a:pt x="8589" y="343"/>
                </a:lnTo>
                <a:lnTo>
                  <a:pt x="8548" y="328"/>
                </a:lnTo>
                <a:lnTo>
                  <a:pt x="8463" y="300"/>
                </a:lnTo>
                <a:lnTo>
                  <a:pt x="8379" y="274"/>
                </a:lnTo>
                <a:lnTo>
                  <a:pt x="8297" y="249"/>
                </a:lnTo>
                <a:lnTo>
                  <a:pt x="8215" y="225"/>
                </a:lnTo>
                <a:lnTo>
                  <a:pt x="8135" y="200"/>
                </a:lnTo>
                <a:lnTo>
                  <a:pt x="8059" y="175"/>
                </a:lnTo>
                <a:lnTo>
                  <a:pt x="8052" y="173"/>
                </a:lnTo>
                <a:lnTo>
                  <a:pt x="8030" y="167"/>
                </a:lnTo>
                <a:lnTo>
                  <a:pt x="7993" y="159"/>
                </a:lnTo>
                <a:lnTo>
                  <a:pt x="7940" y="148"/>
                </a:lnTo>
                <a:lnTo>
                  <a:pt x="7868" y="135"/>
                </a:lnTo>
                <a:lnTo>
                  <a:pt x="7778" y="119"/>
                </a:lnTo>
                <a:lnTo>
                  <a:pt x="7726" y="111"/>
                </a:lnTo>
                <a:lnTo>
                  <a:pt x="7668" y="103"/>
                </a:lnTo>
                <a:lnTo>
                  <a:pt x="7605" y="95"/>
                </a:lnTo>
                <a:lnTo>
                  <a:pt x="7536" y="87"/>
                </a:lnTo>
                <a:lnTo>
                  <a:pt x="7463" y="79"/>
                </a:lnTo>
                <a:lnTo>
                  <a:pt x="7383" y="71"/>
                </a:lnTo>
                <a:lnTo>
                  <a:pt x="7297" y="63"/>
                </a:lnTo>
                <a:lnTo>
                  <a:pt x="7206" y="56"/>
                </a:lnTo>
                <a:lnTo>
                  <a:pt x="7108" y="48"/>
                </a:lnTo>
                <a:lnTo>
                  <a:pt x="7004" y="40"/>
                </a:lnTo>
                <a:lnTo>
                  <a:pt x="6894" y="33"/>
                </a:lnTo>
                <a:lnTo>
                  <a:pt x="6777" y="27"/>
                </a:lnTo>
                <a:lnTo>
                  <a:pt x="6653" y="21"/>
                </a:lnTo>
                <a:lnTo>
                  <a:pt x="6523" y="16"/>
                </a:lnTo>
                <a:lnTo>
                  <a:pt x="6386" y="11"/>
                </a:lnTo>
                <a:lnTo>
                  <a:pt x="6242" y="7"/>
                </a:lnTo>
                <a:lnTo>
                  <a:pt x="6090" y="4"/>
                </a:lnTo>
                <a:lnTo>
                  <a:pt x="5930" y="2"/>
                </a:lnTo>
                <a:lnTo>
                  <a:pt x="5764" y="0"/>
                </a:lnTo>
                <a:lnTo>
                  <a:pt x="5591" y="0"/>
                </a:lnTo>
                <a:lnTo>
                  <a:pt x="5416" y="0"/>
                </a:lnTo>
                <a:lnTo>
                  <a:pt x="5250" y="2"/>
                </a:lnTo>
                <a:lnTo>
                  <a:pt x="5090" y="4"/>
                </a:lnTo>
                <a:lnTo>
                  <a:pt x="4939" y="7"/>
                </a:lnTo>
                <a:lnTo>
                  <a:pt x="4794" y="11"/>
                </a:lnTo>
                <a:lnTo>
                  <a:pt x="4657" y="16"/>
                </a:lnTo>
                <a:lnTo>
                  <a:pt x="4527" y="21"/>
                </a:lnTo>
                <a:lnTo>
                  <a:pt x="4403" y="27"/>
                </a:lnTo>
                <a:lnTo>
                  <a:pt x="4286" y="33"/>
                </a:lnTo>
                <a:lnTo>
                  <a:pt x="4176" y="40"/>
                </a:lnTo>
                <a:lnTo>
                  <a:pt x="4072" y="48"/>
                </a:lnTo>
                <a:lnTo>
                  <a:pt x="3974" y="56"/>
                </a:lnTo>
                <a:lnTo>
                  <a:pt x="3883" y="63"/>
                </a:lnTo>
                <a:lnTo>
                  <a:pt x="3797" y="71"/>
                </a:lnTo>
                <a:lnTo>
                  <a:pt x="3717" y="79"/>
                </a:lnTo>
                <a:lnTo>
                  <a:pt x="3644" y="87"/>
                </a:lnTo>
                <a:lnTo>
                  <a:pt x="3575" y="95"/>
                </a:lnTo>
                <a:lnTo>
                  <a:pt x="3513" y="103"/>
                </a:lnTo>
                <a:lnTo>
                  <a:pt x="3454" y="111"/>
                </a:lnTo>
                <a:lnTo>
                  <a:pt x="3402" y="119"/>
                </a:lnTo>
                <a:lnTo>
                  <a:pt x="3312" y="135"/>
                </a:lnTo>
                <a:lnTo>
                  <a:pt x="3240" y="148"/>
                </a:lnTo>
                <a:lnTo>
                  <a:pt x="3187" y="159"/>
                </a:lnTo>
                <a:lnTo>
                  <a:pt x="3150" y="167"/>
                </a:lnTo>
                <a:lnTo>
                  <a:pt x="3128" y="173"/>
                </a:lnTo>
                <a:lnTo>
                  <a:pt x="3121" y="175"/>
                </a:lnTo>
                <a:lnTo>
                  <a:pt x="3055" y="193"/>
                </a:lnTo>
                <a:lnTo>
                  <a:pt x="2982" y="211"/>
                </a:lnTo>
                <a:lnTo>
                  <a:pt x="2905" y="232"/>
                </a:lnTo>
                <a:lnTo>
                  <a:pt x="2825" y="253"/>
                </a:lnTo>
                <a:lnTo>
                  <a:pt x="2741" y="276"/>
                </a:lnTo>
                <a:lnTo>
                  <a:pt x="2658" y="302"/>
                </a:lnTo>
                <a:lnTo>
                  <a:pt x="2615" y="316"/>
                </a:lnTo>
                <a:lnTo>
                  <a:pt x="2573" y="330"/>
                </a:lnTo>
                <a:lnTo>
                  <a:pt x="2531" y="346"/>
                </a:lnTo>
                <a:lnTo>
                  <a:pt x="2489" y="362"/>
                </a:lnTo>
                <a:lnTo>
                  <a:pt x="2448" y="379"/>
                </a:lnTo>
                <a:lnTo>
                  <a:pt x="2408" y="399"/>
                </a:lnTo>
                <a:lnTo>
                  <a:pt x="2367" y="418"/>
                </a:lnTo>
                <a:lnTo>
                  <a:pt x="2328" y="439"/>
                </a:lnTo>
                <a:lnTo>
                  <a:pt x="2290" y="461"/>
                </a:lnTo>
                <a:lnTo>
                  <a:pt x="2252" y="485"/>
                </a:lnTo>
                <a:lnTo>
                  <a:pt x="2216" y="510"/>
                </a:lnTo>
                <a:lnTo>
                  <a:pt x="2182" y="536"/>
                </a:lnTo>
                <a:lnTo>
                  <a:pt x="2149" y="565"/>
                </a:lnTo>
                <a:lnTo>
                  <a:pt x="2117" y="594"/>
                </a:lnTo>
                <a:lnTo>
                  <a:pt x="2087" y="625"/>
                </a:lnTo>
                <a:lnTo>
                  <a:pt x="2059" y="658"/>
                </a:lnTo>
                <a:lnTo>
                  <a:pt x="2033" y="692"/>
                </a:lnTo>
                <a:lnTo>
                  <a:pt x="2009" y="729"/>
                </a:lnTo>
                <a:lnTo>
                  <a:pt x="1987" y="768"/>
                </a:lnTo>
                <a:lnTo>
                  <a:pt x="1968" y="808"/>
                </a:lnTo>
                <a:lnTo>
                  <a:pt x="1946" y="859"/>
                </a:lnTo>
                <a:lnTo>
                  <a:pt x="1919" y="923"/>
                </a:lnTo>
                <a:lnTo>
                  <a:pt x="1887" y="997"/>
                </a:lnTo>
                <a:lnTo>
                  <a:pt x="1852" y="1083"/>
                </a:lnTo>
                <a:lnTo>
                  <a:pt x="1813" y="1178"/>
                </a:lnTo>
                <a:lnTo>
                  <a:pt x="1770" y="1283"/>
                </a:lnTo>
                <a:lnTo>
                  <a:pt x="1725" y="1396"/>
                </a:lnTo>
                <a:lnTo>
                  <a:pt x="1677" y="1518"/>
                </a:lnTo>
                <a:lnTo>
                  <a:pt x="1626" y="1647"/>
                </a:lnTo>
                <a:lnTo>
                  <a:pt x="1574" y="1783"/>
                </a:lnTo>
                <a:lnTo>
                  <a:pt x="1519" y="1925"/>
                </a:lnTo>
                <a:lnTo>
                  <a:pt x="1463" y="2073"/>
                </a:lnTo>
                <a:lnTo>
                  <a:pt x="1406" y="2226"/>
                </a:lnTo>
                <a:lnTo>
                  <a:pt x="1349" y="2383"/>
                </a:lnTo>
                <a:lnTo>
                  <a:pt x="1291" y="2544"/>
                </a:lnTo>
                <a:lnTo>
                  <a:pt x="1233" y="2707"/>
                </a:lnTo>
                <a:lnTo>
                  <a:pt x="739" y="2707"/>
                </a:lnTo>
                <a:lnTo>
                  <a:pt x="718" y="2707"/>
                </a:lnTo>
                <a:lnTo>
                  <a:pt x="696" y="2709"/>
                </a:lnTo>
                <a:lnTo>
                  <a:pt x="673" y="2713"/>
                </a:lnTo>
                <a:lnTo>
                  <a:pt x="651" y="2716"/>
                </a:lnTo>
                <a:lnTo>
                  <a:pt x="629" y="2721"/>
                </a:lnTo>
                <a:lnTo>
                  <a:pt x="607" y="2727"/>
                </a:lnTo>
                <a:lnTo>
                  <a:pt x="585" y="2733"/>
                </a:lnTo>
                <a:lnTo>
                  <a:pt x="563" y="2741"/>
                </a:lnTo>
                <a:lnTo>
                  <a:pt x="541" y="2749"/>
                </a:lnTo>
                <a:lnTo>
                  <a:pt x="520" y="2758"/>
                </a:lnTo>
                <a:lnTo>
                  <a:pt x="499" y="2769"/>
                </a:lnTo>
                <a:lnTo>
                  <a:pt x="478" y="2780"/>
                </a:lnTo>
                <a:lnTo>
                  <a:pt x="457" y="2791"/>
                </a:lnTo>
                <a:lnTo>
                  <a:pt x="437" y="2805"/>
                </a:lnTo>
                <a:lnTo>
                  <a:pt x="416" y="2818"/>
                </a:lnTo>
                <a:lnTo>
                  <a:pt x="397" y="2832"/>
                </a:lnTo>
                <a:lnTo>
                  <a:pt x="378" y="2846"/>
                </a:lnTo>
                <a:lnTo>
                  <a:pt x="360" y="2862"/>
                </a:lnTo>
                <a:lnTo>
                  <a:pt x="342" y="2878"/>
                </a:lnTo>
                <a:lnTo>
                  <a:pt x="324" y="2895"/>
                </a:lnTo>
                <a:lnTo>
                  <a:pt x="308" y="2912"/>
                </a:lnTo>
                <a:lnTo>
                  <a:pt x="291" y="2930"/>
                </a:lnTo>
                <a:lnTo>
                  <a:pt x="275" y="2948"/>
                </a:lnTo>
                <a:lnTo>
                  <a:pt x="260" y="2967"/>
                </a:lnTo>
                <a:lnTo>
                  <a:pt x="246" y="2987"/>
                </a:lnTo>
                <a:lnTo>
                  <a:pt x="233" y="3006"/>
                </a:lnTo>
                <a:lnTo>
                  <a:pt x="220" y="3026"/>
                </a:lnTo>
                <a:lnTo>
                  <a:pt x="209" y="3046"/>
                </a:lnTo>
                <a:lnTo>
                  <a:pt x="198" y="3068"/>
                </a:lnTo>
                <a:lnTo>
                  <a:pt x="188" y="3089"/>
                </a:lnTo>
                <a:lnTo>
                  <a:pt x="178" y="3110"/>
                </a:lnTo>
                <a:lnTo>
                  <a:pt x="170" y="3132"/>
                </a:lnTo>
                <a:lnTo>
                  <a:pt x="24" y="3557"/>
                </a:lnTo>
                <a:lnTo>
                  <a:pt x="17" y="3580"/>
                </a:lnTo>
                <a:lnTo>
                  <a:pt x="12" y="3602"/>
                </a:lnTo>
                <a:lnTo>
                  <a:pt x="7" y="3624"/>
                </a:lnTo>
                <a:lnTo>
                  <a:pt x="4" y="3646"/>
                </a:lnTo>
                <a:lnTo>
                  <a:pt x="2" y="3670"/>
                </a:lnTo>
                <a:lnTo>
                  <a:pt x="0" y="3692"/>
                </a:lnTo>
                <a:lnTo>
                  <a:pt x="0" y="3714"/>
                </a:lnTo>
                <a:lnTo>
                  <a:pt x="1" y="3736"/>
                </a:lnTo>
                <a:lnTo>
                  <a:pt x="3" y="3758"/>
                </a:lnTo>
                <a:lnTo>
                  <a:pt x="6" y="3780"/>
                </a:lnTo>
                <a:lnTo>
                  <a:pt x="11" y="3801"/>
                </a:lnTo>
                <a:lnTo>
                  <a:pt x="16" y="3821"/>
                </a:lnTo>
                <a:lnTo>
                  <a:pt x="22" y="3843"/>
                </a:lnTo>
                <a:lnTo>
                  <a:pt x="29" y="3862"/>
                </a:lnTo>
                <a:lnTo>
                  <a:pt x="37" y="3882"/>
                </a:lnTo>
                <a:lnTo>
                  <a:pt x="46" y="3900"/>
                </a:lnTo>
                <a:lnTo>
                  <a:pt x="56" y="3919"/>
                </a:lnTo>
                <a:lnTo>
                  <a:pt x="67" y="3936"/>
                </a:lnTo>
                <a:lnTo>
                  <a:pt x="79" y="3952"/>
                </a:lnTo>
                <a:lnTo>
                  <a:pt x="91" y="3968"/>
                </a:lnTo>
                <a:lnTo>
                  <a:pt x="105" y="3982"/>
                </a:lnTo>
                <a:lnTo>
                  <a:pt x="119" y="3996"/>
                </a:lnTo>
                <a:lnTo>
                  <a:pt x="134" y="4009"/>
                </a:lnTo>
                <a:lnTo>
                  <a:pt x="150" y="4021"/>
                </a:lnTo>
                <a:lnTo>
                  <a:pt x="166" y="4031"/>
                </a:lnTo>
                <a:lnTo>
                  <a:pt x="183" y="4040"/>
                </a:lnTo>
                <a:lnTo>
                  <a:pt x="202" y="4048"/>
                </a:lnTo>
                <a:lnTo>
                  <a:pt x="221" y="4055"/>
                </a:lnTo>
                <a:lnTo>
                  <a:pt x="241" y="4060"/>
                </a:lnTo>
                <a:lnTo>
                  <a:pt x="261" y="4064"/>
                </a:lnTo>
                <a:lnTo>
                  <a:pt x="281" y="4066"/>
                </a:lnTo>
                <a:lnTo>
                  <a:pt x="303" y="4067"/>
                </a:lnTo>
                <a:lnTo>
                  <a:pt x="787" y="4067"/>
                </a:lnTo>
                <a:lnTo>
                  <a:pt x="762" y="4136"/>
                </a:lnTo>
                <a:lnTo>
                  <a:pt x="739" y="4201"/>
                </a:lnTo>
                <a:lnTo>
                  <a:pt x="717" y="4260"/>
                </a:lnTo>
                <a:lnTo>
                  <a:pt x="697" y="4315"/>
                </a:lnTo>
                <a:lnTo>
                  <a:pt x="658" y="4411"/>
                </a:lnTo>
                <a:lnTo>
                  <a:pt x="626" y="4489"/>
                </a:lnTo>
                <a:lnTo>
                  <a:pt x="601" y="4549"/>
                </a:lnTo>
                <a:lnTo>
                  <a:pt x="581" y="4591"/>
                </a:lnTo>
                <a:lnTo>
                  <a:pt x="570" y="4617"/>
                </a:lnTo>
                <a:lnTo>
                  <a:pt x="566" y="4625"/>
                </a:lnTo>
                <a:lnTo>
                  <a:pt x="559" y="4639"/>
                </a:lnTo>
                <a:lnTo>
                  <a:pt x="553" y="4658"/>
                </a:lnTo>
                <a:lnTo>
                  <a:pt x="546" y="4681"/>
                </a:lnTo>
                <a:lnTo>
                  <a:pt x="540" y="4708"/>
                </a:lnTo>
                <a:lnTo>
                  <a:pt x="535" y="4736"/>
                </a:lnTo>
                <a:lnTo>
                  <a:pt x="530" y="4767"/>
                </a:lnTo>
                <a:lnTo>
                  <a:pt x="525" y="4800"/>
                </a:lnTo>
                <a:lnTo>
                  <a:pt x="521" y="4833"/>
                </a:lnTo>
                <a:lnTo>
                  <a:pt x="513" y="4900"/>
                </a:lnTo>
                <a:lnTo>
                  <a:pt x="508" y="4963"/>
                </a:lnTo>
                <a:lnTo>
                  <a:pt x="504" y="5015"/>
                </a:lnTo>
                <a:lnTo>
                  <a:pt x="503" y="5053"/>
                </a:lnTo>
                <a:lnTo>
                  <a:pt x="503" y="8237"/>
                </a:lnTo>
                <a:lnTo>
                  <a:pt x="504" y="8259"/>
                </a:lnTo>
                <a:lnTo>
                  <a:pt x="505" y="8280"/>
                </a:lnTo>
                <a:lnTo>
                  <a:pt x="508" y="8301"/>
                </a:lnTo>
                <a:lnTo>
                  <a:pt x="512" y="8323"/>
                </a:lnTo>
                <a:lnTo>
                  <a:pt x="516" y="8343"/>
                </a:lnTo>
                <a:lnTo>
                  <a:pt x="522" y="8363"/>
                </a:lnTo>
                <a:lnTo>
                  <a:pt x="529" y="8383"/>
                </a:lnTo>
                <a:lnTo>
                  <a:pt x="536" y="8403"/>
                </a:lnTo>
                <a:lnTo>
                  <a:pt x="545" y="8421"/>
                </a:lnTo>
                <a:lnTo>
                  <a:pt x="555" y="8440"/>
                </a:lnTo>
                <a:lnTo>
                  <a:pt x="565" y="8457"/>
                </a:lnTo>
                <a:lnTo>
                  <a:pt x="576" y="8474"/>
                </a:lnTo>
                <a:lnTo>
                  <a:pt x="588" y="8492"/>
                </a:lnTo>
                <a:lnTo>
                  <a:pt x="600" y="8507"/>
                </a:lnTo>
                <a:lnTo>
                  <a:pt x="613" y="8523"/>
                </a:lnTo>
                <a:lnTo>
                  <a:pt x="627" y="8537"/>
                </a:lnTo>
                <a:lnTo>
                  <a:pt x="642" y="8551"/>
                </a:lnTo>
                <a:lnTo>
                  <a:pt x="657" y="8564"/>
                </a:lnTo>
                <a:lnTo>
                  <a:pt x="673" y="8578"/>
                </a:lnTo>
                <a:lnTo>
                  <a:pt x="690" y="8590"/>
                </a:lnTo>
                <a:lnTo>
                  <a:pt x="707" y="8600"/>
                </a:lnTo>
                <a:lnTo>
                  <a:pt x="725" y="8611"/>
                </a:lnTo>
                <a:lnTo>
                  <a:pt x="743" y="8620"/>
                </a:lnTo>
                <a:lnTo>
                  <a:pt x="762" y="8628"/>
                </a:lnTo>
                <a:lnTo>
                  <a:pt x="781" y="8636"/>
                </a:lnTo>
                <a:lnTo>
                  <a:pt x="801" y="8642"/>
                </a:lnTo>
                <a:lnTo>
                  <a:pt x="821" y="8648"/>
                </a:lnTo>
                <a:lnTo>
                  <a:pt x="842" y="8653"/>
                </a:lnTo>
                <a:lnTo>
                  <a:pt x="862" y="8657"/>
                </a:lnTo>
                <a:lnTo>
                  <a:pt x="883" y="8660"/>
                </a:lnTo>
                <a:lnTo>
                  <a:pt x="905" y="8662"/>
                </a:lnTo>
                <a:lnTo>
                  <a:pt x="927" y="8662"/>
                </a:lnTo>
                <a:lnTo>
                  <a:pt x="1095" y="8662"/>
                </a:lnTo>
                <a:lnTo>
                  <a:pt x="1342" y="8061"/>
                </a:lnTo>
                <a:lnTo>
                  <a:pt x="1371" y="7998"/>
                </a:lnTo>
                <a:lnTo>
                  <a:pt x="1403" y="7938"/>
                </a:lnTo>
                <a:lnTo>
                  <a:pt x="1437" y="7881"/>
                </a:lnTo>
                <a:lnTo>
                  <a:pt x="1473" y="7826"/>
                </a:lnTo>
                <a:lnTo>
                  <a:pt x="1511" y="7774"/>
                </a:lnTo>
                <a:lnTo>
                  <a:pt x="1551" y="7725"/>
                </a:lnTo>
                <a:lnTo>
                  <a:pt x="1592" y="7678"/>
                </a:lnTo>
                <a:lnTo>
                  <a:pt x="1635" y="7634"/>
                </a:lnTo>
                <a:lnTo>
                  <a:pt x="1680" y="7591"/>
                </a:lnTo>
                <a:lnTo>
                  <a:pt x="1725" y="7552"/>
                </a:lnTo>
                <a:lnTo>
                  <a:pt x="1772" y="7514"/>
                </a:lnTo>
                <a:lnTo>
                  <a:pt x="1820" y="7478"/>
                </a:lnTo>
                <a:lnTo>
                  <a:pt x="1869" y="7444"/>
                </a:lnTo>
                <a:lnTo>
                  <a:pt x="1919" y="7413"/>
                </a:lnTo>
                <a:lnTo>
                  <a:pt x="1969" y="7383"/>
                </a:lnTo>
                <a:lnTo>
                  <a:pt x="2019" y="7355"/>
                </a:lnTo>
                <a:lnTo>
                  <a:pt x="2071" y="7329"/>
                </a:lnTo>
                <a:lnTo>
                  <a:pt x="2122" y="7304"/>
                </a:lnTo>
                <a:lnTo>
                  <a:pt x="2174" y="7281"/>
                </a:lnTo>
                <a:lnTo>
                  <a:pt x="2225" y="7258"/>
                </a:lnTo>
                <a:lnTo>
                  <a:pt x="2277" y="7238"/>
                </a:lnTo>
                <a:lnTo>
                  <a:pt x="2328" y="7219"/>
                </a:lnTo>
                <a:lnTo>
                  <a:pt x="2378" y="7202"/>
                </a:lnTo>
                <a:lnTo>
                  <a:pt x="2429" y="7184"/>
                </a:lnTo>
                <a:lnTo>
                  <a:pt x="2478" y="7168"/>
                </a:lnTo>
                <a:lnTo>
                  <a:pt x="2527" y="7154"/>
                </a:lnTo>
                <a:lnTo>
                  <a:pt x="2574" y="7140"/>
                </a:lnTo>
                <a:lnTo>
                  <a:pt x="2621" y="7127"/>
                </a:lnTo>
                <a:lnTo>
                  <a:pt x="2711" y="7103"/>
                </a:lnTo>
                <a:lnTo>
                  <a:pt x="2795" y="7082"/>
                </a:lnTo>
                <a:lnTo>
                  <a:pt x="2921" y="7049"/>
                </a:lnTo>
                <a:lnTo>
                  <a:pt x="2939" y="7044"/>
                </a:lnTo>
                <a:lnTo>
                  <a:pt x="2963" y="7037"/>
                </a:lnTo>
                <a:lnTo>
                  <a:pt x="2994" y="7029"/>
                </a:lnTo>
                <a:lnTo>
                  <a:pt x="3034" y="7020"/>
                </a:lnTo>
                <a:lnTo>
                  <a:pt x="3080" y="7010"/>
                </a:lnTo>
                <a:lnTo>
                  <a:pt x="3135" y="6999"/>
                </a:lnTo>
                <a:lnTo>
                  <a:pt x="3197" y="6988"/>
                </a:lnTo>
                <a:lnTo>
                  <a:pt x="3268" y="6976"/>
                </a:lnTo>
                <a:lnTo>
                  <a:pt x="3348" y="6964"/>
                </a:lnTo>
                <a:lnTo>
                  <a:pt x="3438" y="6952"/>
                </a:lnTo>
                <a:lnTo>
                  <a:pt x="3537" y="6940"/>
                </a:lnTo>
                <a:lnTo>
                  <a:pt x="3645" y="6927"/>
                </a:lnTo>
                <a:lnTo>
                  <a:pt x="3764" y="6915"/>
                </a:lnTo>
                <a:lnTo>
                  <a:pt x="3894" y="6904"/>
                </a:lnTo>
                <a:lnTo>
                  <a:pt x="4033" y="6893"/>
                </a:lnTo>
                <a:lnTo>
                  <a:pt x="4184" y="6883"/>
                </a:lnTo>
                <a:close/>
                <a:moveTo>
                  <a:pt x="1971" y="4834"/>
                </a:moveTo>
                <a:lnTo>
                  <a:pt x="1992" y="4835"/>
                </a:lnTo>
                <a:lnTo>
                  <a:pt x="2016" y="4836"/>
                </a:lnTo>
                <a:lnTo>
                  <a:pt x="2041" y="4839"/>
                </a:lnTo>
                <a:lnTo>
                  <a:pt x="2066" y="4843"/>
                </a:lnTo>
                <a:lnTo>
                  <a:pt x="2093" y="4848"/>
                </a:lnTo>
                <a:lnTo>
                  <a:pt x="2120" y="4854"/>
                </a:lnTo>
                <a:lnTo>
                  <a:pt x="2149" y="4861"/>
                </a:lnTo>
                <a:lnTo>
                  <a:pt x="2178" y="4870"/>
                </a:lnTo>
                <a:lnTo>
                  <a:pt x="2208" y="4879"/>
                </a:lnTo>
                <a:lnTo>
                  <a:pt x="2239" y="4888"/>
                </a:lnTo>
                <a:lnTo>
                  <a:pt x="2270" y="4898"/>
                </a:lnTo>
                <a:lnTo>
                  <a:pt x="2302" y="4909"/>
                </a:lnTo>
                <a:lnTo>
                  <a:pt x="2367" y="4932"/>
                </a:lnTo>
                <a:lnTo>
                  <a:pt x="2434" y="4959"/>
                </a:lnTo>
                <a:lnTo>
                  <a:pt x="2501" y="4986"/>
                </a:lnTo>
                <a:lnTo>
                  <a:pt x="2569" y="5015"/>
                </a:lnTo>
                <a:lnTo>
                  <a:pt x="2636" y="5045"/>
                </a:lnTo>
                <a:lnTo>
                  <a:pt x="2703" y="5075"/>
                </a:lnTo>
                <a:lnTo>
                  <a:pt x="2768" y="5105"/>
                </a:lnTo>
                <a:lnTo>
                  <a:pt x="2831" y="5136"/>
                </a:lnTo>
                <a:lnTo>
                  <a:pt x="2892" y="5165"/>
                </a:lnTo>
                <a:lnTo>
                  <a:pt x="2950" y="5193"/>
                </a:lnTo>
                <a:lnTo>
                  <a:pt x="3072" y="5252"/>
                </a:lnTo>
                <a:lnTo>
                  <a:pt x="3194" y="5310"/>
                </a:lnTo>
                <a:lnTo>
                  <a:pt x="3254" y="5339"/>
                </a:lnTo>
                <a:lnTo>
                  <a:pt x="3310" y="5369"/>
                </a:lnTo>
                <a:lnTo>
                  <a:pt x="3337" y="5385"/>
                </a:lnTo>
                <a:lnTo>
                  <a:pt x="3364" y="5401"/>
                </a:lnTo>
                <a:lnTo>
                  <a:pt x="3391" y="5416"/>
                </a:lnTo>
                <a:lnTo>
                  <a:pt x="3416" y="5432"/>
                </a:lnTo>
                <a:lnTo>
                  <a:pt x="3440" y="5448"/>
                </a:lnTo>
                <a:lnTo>
                  <a:pt x="3463" y="5465"/>
                </a:lnTo>
                <a:lnTo>
                  <a:pt x="3484" y="5483"/>
                </a:lnTo>
                <a:lnTo>
                  <a:pt x="3506" y="5500"/>
                </a:lnTo>
                <a:lnTo>
                  <a:pt x="3526" y="5518"/>
                </a:lnTo>
                <a:lnTo>
                  <a:pt x="3544" y="5536"/>
                </a:lnTo>
                <a:lnTo>
                  <a:pt x="3561" y="5555"/>
                </a:lnTo>
                <a:lnTo>
                  <a:pt x="3576" y="5575"/>
                </a:lnTo>
                <a:lnTo>
                  <a:pt x="3590" y="5594"/>
                </a:lnTo>
                <a:lnTo>
                  <a:pt x="3602" y="5615"/>
                </a:lnTo>
                <a:lnTo>
                  <a:pt x="3612" y="5635"/>
                </a:lnTo>
                <a:lnTo>
                  <a:pt x="3621" y="5658"/>
                </a:lnTo>
                <a:lnTo>
                  <a:pt x="3629" y="5680"/>
                </a:lnTo>
                <a:lnTo>
                  <a:pt x="3634" y="5703"/>
                </a:lnTo>
                <a:lnTo>
                  <a:pt x="3637" y="5727"/>
                </a:lnTo>
                <a:lnTo>
                  <a:pt x="3638" y="5751"/>
                </a:lnTo>
                <a:lnTo>
                  <a:pt x="3638" y="5774"/>
                </a:lnTo>
                <a:lnTo>
                  <a:pt x="3637" y="5795"/>
                </a:lnTo>
                <a:lnTo>
                  <a:pt x="3635" y="5817"/>
                </a:lnTo>
                <a:lnTo>
                  <a:pt x="3632" y="5837"/>
                </a:lnTo>
                <a:lnTo>
                  <a:pt x="3629" y="5857"/>
                </a:lnTo>
                <a:lnTo>
                  <a:pt x="3624" y="5875"/>
                </a:lnTo>
                <a:lnTo>
                  <a:pt x="3618" y="5893"/>
                </a:lnTo>
                <a:lnTo>
                  <a:pt x="3611" y="5911"/>
                </a:lnTo>
                <a:lnTo>
                  <a:pt x="3604" y="5928"/>
                </a:lnTo>
                <a:lnTo>
                  <a:pt x="3596" y="5943"/>
                </a:lnTo>
                <a:lnTo>
                  <a:pt x="3586" y="5958"/>
                </a:lnTo>
                <a:lnTo>
                  <a:pt x="3576" y="5972"/>
                </a:lnTo>
                <a:lnTo>
                  <a:pt x="3564" y="5986"/>
                </a:lnTo>
                <a:lnTo>
                  <a:pt x="3552" y="5999"/>
                </a:lnTo>
                <a:lnTo>
                  <a:pt x="3538" y="6011"/>
                </a:lnTo>
                <a:lnTo>
                  <a:pt x="3523" y="6022"/>
                </a:lnTo>
                <a:lnTo>
                  <a:pt x="3507" y="6033"/>
                </a:lnTo>
                <a:lnTo>
                  <a:pt x="3488" y="6043"/>
                </a:lnTo>
                <a:lnTo>
                  <a:pt x="3469" y="6052"/>
                </a:lnTo>
                <a:lnTo>
                  <a:pt x="3449" y="6060"/>
                </a:lnTo>
                <a:lnTo>
                  <a:pt x="3427" y="6068"/>
                </a:lnTo>
                <a:lnTo>
                  <a:pt x="3404" y="6076"/>
                </a:lnTo>
                <a:lnTo>
                  <a:pt x="3380" y="6082"/>
                </a:lnTo>
                <a:lnTo>
                  <a:pt x="3353" y="6088"/>
                </a:lnTo>
                <a:lnTo>
                  <a:pt x="3326" y="6093"/>
                </a:lnTo>
                <a:lnTo>
                  <a:pt x="3297" y="6097"/>
                </a:lnTo>
                <a:lnTo>
                  <a:pt x="3267" y="6101"/>
                </a:lnTo>
                <a:lnTo>
                  <a:pt x="3234" y="6104"/>
                </a:lnTo>
                <a:lnTo>
                  <a:pt x="3200" y="6106"/>
                </a:lnTo>
                <a:lnTo>
                  <a:pt x="3165" y="6108"/>
                </a:lnTo>
                <a:lnTo>
                  <a:pt x="3127" y="6109"/>
                </a:lnTo>
                <a:lnTo>
                  <a:pt x="3088" y="6109"/>
                </a:lnTo>
                <a:lnTo>
                  <a:pt x="2526" y="6109"/>
                </a:lnTo>
                <a:lnTo>
                  <a:pt x="2478" y="6109"/>
                </a:lnTo>
                <a:lnTo>
                  <a:pt x="2432" y="6109"/>
                </a:lnTo>
                <a:lnTo>
                  <a:pt x="2384" y="6107"/>
                </a:lnTo>
                <a:lnTo>
                  <a:pt x="2338" y="6106"/>
                </a:lnTo>
                <a:lnTo>
                  <a:pt x="2292" y="6103"/>
                </a:lnTo>
                <a:lnTo>
                  <a:pt x="2246" y="6100"/>
                </a:lnTo>
                <a:lnTo>
                  <a:pt x="2201" y="6097"/>
                </a:lnTo>
                <a:lnTo>
                  <a:pt x="2156" y="6093"/>
                </a:lnTo>
                <a:lnTo>
                  <a:pt x="2112" y="6088"/>
                </a:lnTo>
                <a:lnTo>
                  <a:pt x="2069" y="6082"/>
                </a:lnTo>
                <a:lnTo>
                  <a:pt x="2028" y="6075"/>
                </a:lnTo>
                <a:lnTo>
                  <a:pt x="1986" y="6067"/>
                </a:lnTo>
                <a:lnTo>
                  <a:pt x="1946" y="6059"/>
                </a:lnTo>
                <a:lnTo>
                  <a:pt x="1908" y="6050"/>
                </a:lnTo>
                <a:lnTo>
                  <a:pt x="1869" y="6039"/>
                </a:lnTo>
                <a:lnTo>
                  <a:pt x="1834" y="6028"/>
                </a:lnTo>
                <a:lnTo>
                  <a:pt x="1799" y="6016"/>
                </a:lnTo>
                <a:lnTo>
                  <a:pt x="1766" y="6003"/>
                </a:lnTo>
                <a:lnTo>
                  <a:pt x="1734" y="5989"/>
                </a:lnTo>
                <a:lnTo>
                  <a:pt x="1705" y="5973"/>
                </a:lnTo>
                <a:lnTo>
                  <a:pt x="1677" y="5956"/>
                </a:lnTo>
                <a:lnTo>
                  <a:pt x="1651" y="5938"/>
                </a:lnTo>
                <a:lnTo>
                  <a:pt x="1627" y="5919"/>
                </a:lnTo>
                <a:lnTo>
                  <a:pt x="1606" y="5899"/>
                </a:lnTo>
                <a:lnTo>
                  <a:pt x="1586" y="5877"/>
                </a:lnTo>
                <a:lnTo>
                  <a:pt x="1569" y="5854"/>
                </a:lnTo>
                <a:lnTo>
                  <a:pt x="1554" y="5829"/>
                </a:lnTo>
                <a:lnTo>
                  <a:pt x="1542" y="5803"/>
                </a:lnTo>
                <a:lnTo>
                  <a:pt x="1532" y="5776"/>
                </a:lnTo>
                <a:lnTo>
                  <a:pt x="1525" y="5747"/>
                </a:lnTo>
                <a:lnTo>
                  <a:pt x="1520" y="5716"/>
                </a:lnTo>
                <a:lnTo>
                  <a:pt x="1519" y="5684"/>
                </a:lnTo>
                <a:lnTo>
                  <a:pt x="1519" y="5259"/>
                </a:lnTo>
                <a:lnTo>
                  <a:pt x="1519" y="5222"/>
                </a:lnTo>
                <a:lnTo>
                  <a:pt x="1521" y="5186"/>
                </a:lnTo>
                <a:lnTo>
                  <a:pt x="1524" y="5154"/>
                </a:lnTo>
                <a:lnTo>
                  <a:pt x="1529" y="5122"/>
                </a:lnTo>
                <a:lnTo>
                  <a:pt x="1534" y="5094"/>
                </a:lnTo>
                <a:lnTo>
                  <a:pt x="1541" y="5067"/>
                </a:lnTo>
                <a:lnTo>
                  <a:pt x="1549" y="5043"/>
                </a:lnTo>
                <a:lnTo>
                  <a:pt x="1557" y="5019"/>
                </a:lnTo>
                <a:lnTo>
                  <a:pt x="1567" y="4998"/>
                </a:lnTo>
                <a:lnTo>
                  <a:pt x="1577" y="4979"/>
                </a:lnTo>
                <a:lnTo>
                  <a:pt x="1588" y="4961"/>
                </a:lnTo>
                <a:lnTo>
                  <a:pt x="1600" y="4944"/>
                </a:lnTo>
                <a:lnTo>
                  <a:pt x="1613" y="4929"/>
                </a:lnTo>
                <a:lnTo>
                  <a:pt x="1627" y="4915"/>
                </a:lnTo>
                <a:lnTo>
                  <a:pt x="1642" y="4903"/>
                </a:lnTo>
                <a:lnTo>
                  <a:pt x="1658" y="4893"/>
                </a:lnTo>
                <a:lnTo>
                  <a:pt x="1674" y="4883"/>
                </a:lnTo>
                <a:lnTo>
                  <a:pt x="1690" y="4875"/>
                </a:lnTo>
                <a:lnTo>
                  <a:pt x="1707" y="4867"/>
                </a:lnTo>
                <a:lnTo>
                  <a:pt x="1725" y="4860"/>
                </a:lnTo>
                <a:lnTo>
                  <a:pt x="1743" y="4854"/>
                </a:lnTo>
                <a:lnTo>
                  <a:pt x="1762" y="4849"/>
                </a:lnTo>
                <a:lnTo>
                  <a:pt x="1782" y="4845"/>
                </a:lnTo>
                <a:lnTo>
                  <a:pt x="1802" y="4842"/>
                </a:lnTo>
                <a:lnTo>
                  <a:pt x="1822" y="4840"/>
                </a:lnTo>
                <a:lnTo>
                  <a:pt x="1842" y="4838"/>
                </a:lnTo>
                <a:lnTo>
                  <a:pt x="1863" y="4836"/>
                </a:lnTo>
                <a:lnTo>
                  <a:pt x="1884" y="4835"/>
                </a:lnTo>
                <a:lnTo>
                  <a:pt x="1927" y="4834"/>
                </a:lnTo>
                <a:lnTo>
                  <a:pt x="1971" y="4834"/>
                </a:lnTo>
                <a:close/>
                <a:moveTo>
                  <a:pt x="8090" y="13637"/>
                </a:moveTo>
                <a:lnTo>
                  <a:pt x="8052" y="13637"/>
                </a:lnTo>
                <a:lnTo>
                  <a:pt x="8014" y="13636"/>
                </a:lnTo>
                <a:lnTo>
                  <a:pt x="7979" y="13634"/>
                </a:lnTo>
                <a:lnTo>
                  <a:pt x="7945" y="13632"/>
                </a:lnTo>
                <a:lnTo>
                  <a:pt x="7912" y="13629"/>
                </a:lnTo>
                <a:lnTo>
                  <a:pt x="7882" y="13625"/>
                </a:lnTo>
                <a:lnTo>
                  <a:pt x="7853" y="13621"/>
                </a:lnTo>
                <a:lnTo>
                  <a:pt x="7826" y="13615"/>
                </a:lnTo>
                <a:lnTo>
                  <a:pt x="7800" y="13610"/>
                </a:lnTo>
                <a:lnTo>
                  <a:pt x="7774" y="13603"/>
                </a:lnTo>
                <a:lnTo>
                  <a:pt x="7752" y="13596"/>
                </a:lnTo>
                <a:lnTo>
                  <a:pt x="7730" y="13588"/>
                </a:lnTo>
                <a:lnTo>
                  <a:pt x="7710" y="13580"/>
                </a:lnTo>
                <a:lnTo>
                  <a:pt x="7691" y="13571"/>
                </a:lnTo>
                <a:lnTo>
                  <a:pt x="7672" y="13560"/>
                </a:lnTo>
                <a:lnTo>
                  <a:pt x="7656" y="13549"/>
                </a:lnTo>
                <a:lnTo>
                  <a:pt x="7641" y="13538"/>
                </a:lnTo>
                <a:lnTo>
                  <a:pt x="7627" y="13526"/>
                </a:lnTo>
                <a:lnTo>
                  <a:pt x="7614" y="13513"/>
                </a:lnTo>
                <a:lnTo>
                  <a:pt x="7603" y="13500"/>
                </a:lnTo>
                <a:lnTo>
                  <a:pt x="7592" y="13485"/>
                </a:lnTo>
                <a:lnTo>
                  <a:pt x="7583" y="13470"/>
                </a:lnTo>
                <a:lnTo>
                  <a:pt x="7575" y="13454"/>
                </a:lnTo>
                <a:lnTo>
                  <a:pt x="7567" y="13438"/>
                </a:lnTo>
                <a:lnTo>
                  <a:pt x="7561" y="13420"/>
                </a:lnTo>
                <a:lnTo>
                  <a:pt x="7556" y="13402"/>
                </a:lnTo>
                <a:lnTo>
                  <a:pt x="7551" y="13383"/>
                </a:lnTo>
                <a:lnTo>
                  <a:pt x="7546" y="13363"/>
                </a:lnTo>
                <a:lnTo>
                  <a:pt x="7544" y="13343"/>
                </a:lnTo>
                <a:lnTo>
                  <a:pt x="7542" y="13323"/>
                </a:lnTo>
                <a:lnTo>
                  <a:pt x="7541" y="13300"/>
                </a:lnTo>
                <a:lnTo>
                  <a:pt x="7540" y="13277"/>
                </a:lnTo>
                <a:lnTo>
                  <a:pt x="7541" y="13253"/>
                </a:lnTo>
                <a:lnTo>
                  <a:pt x="7544" y="13230"/>
                </a:lnTo>
                <a:lnTo>
                  <a:pt x="7549" y="13206"/>
                </a:lnTo>
                <a:lnTo>
                  <a:pt x="7557" y="13184"/>
                </a:lnTo>
                <a:lnTo>
                  <a:pt x="7566" y="13162"/>
                </a:lnTo>
                <a:lnTo>
                  <a:pt x="7577" y="13141"/>
                </a:lnTo>
                <a:lnTo>
                  <a:pt x="7589" y="13120"/>
                </a:lnTo>
                <a:lnTo>
                  <a:pt x="7603" y="13100"/>
                </a:lnTo>
                <a:lnTo>
                  <a:pt x="7618" y="13081"/>
                </a:lnTo>
                <a:lnTo>
                  <a:pt x="7635" y="13062"/>
                </a:lnTo>
                <a:lnTo>
                  <a:pt x="7653" y="13043"/>
                </a:lnTo>
                <a:lnTo>
                  <a:pt x="7672" y="13026"/>
                </a:lnTo>
                <a:lnTo>
                  <a:pt x="7694" y="13008"/>
                </a:lnTo>
                <a:lnTo>
                  <a:pt x="7716" y="12991"/>
                </a:lnTo>
                <a:lnTo>
                  <a:pt x="7739" y="12975"/>
                </a:lnTo>
                <a:lnTo>
                  <a:pt x="7763" y="12958"/>
                </a:lnTo>
                <a:lnTo>
                  <a:pt x="7788" y="12942"/>
                </a:lnTo>
                <a:lnTo>
                  <a:pt x="7814" y="12926"/>
                </a:lnTo>
                <a:lnTo>
                  <a:pt x="7841" y="12911"/>
                </a:lnTo>
                <a:lnTo>
                  <a:pt x="7868" y="12896"/>
                </a:lnTo>
                <a:lnTo>
                  <a:pt x="7926" y="12865"/>
                </a:lnTo>
                <a:lnTo>
                  <a:pt x="7984" y="12836"/>
                </a:lnTo>
                <a:lnTo>
                  <a:pt x="8106" y="12777"/>
                </a:lnTo>
                <a:lnTo>
                  <a:pt x="8229" y="12719"/>
                </a:lnTo>
                <a:lnTo>
                  <a:pt x="8286" y="12691"/>
                </a:lnTo>
                <a:lnTo>
                  <a:pt x="8348" y="12662"/>
                </a:lnTo>
                <a:lnTo>
                  <a:pt x="8411" y="12632"/>
                </a:lnTo>
                <a:lnTo>
                  <a:pt x="8476" y="12601"/>
                </a:lnTo>
                <a:lnTo>
                  <a:pt x="8543" y="12571"/>
                </a:lnTo>
                <a:lnTo>
                  <a:pt x="8610" y="12542"/>
                </a:lnTo>
                <a:lnTo>
                  <a:pt x="8678" y="12512"/>
                </a:lnTo>
                <a:lnTo>
                  <a:pt x="8745" y="12485"/>
                </a:lnTo>
                <a:lnTo>
                  <a:pt x="8812" y="12460"/>
                </a:lnTo>
                <a:lnTo>
                  <a:pt x="8877" y="12435"/>
                </a:lnTo>
                <a:lnTo>
                  <a:pt x="8909" y="12424"/>
                </a:lnTo>
                <a:lnTo>
                  <a:pt x="8941" y="12414"/>
                </a:lnTo>
                <a:lnTo>
                  <a:pt x="8971" y="12405"/>
                </a:lnTo>
                <a:lnTo>
                  <a:pt x="9001" y="12396"/>
                </a:lnTo>
                <a:lnTo>
                  <a:pt x="9031" y="12388"/>
                </a:lnTo>
                <a:lnTo>
                  <a:pt x="9059" y="12381"/>
                </a:lnTo>
                <a:lnTo>
                  <a:pt x="9087" y="12375"/>
                </a:lnTo>
                <a:lnTo>
                  <a:pt x="9113" y="12370"/>
                </a:lnTo>
                <a:lnTo>
                  <a:pt x="9138" y="12366"/>
                </a:lnTo>
                <a:lnTo>
                  <a:pt x="9164" y="12364"/>
                </a:lnTo>
                <a:lnTo>
                  <a:pt x="9187" y="12362"/>
                </a:lnTo>
                <a:lnTo>
                  <a:pt x="9209" y="12361"/>
                </a:lnTo>
                <a:lnTo>
                  <a:pt x="9252" y="12361"/>
                </a:lnTo>
                <a:lnTo>
                  <a:pt x="9296" y="12363"/>
                </a:lnTo>
                <a:lnTo>
                  <a:pt x="9317" y="12364"/>
                </a:lnTo>
                <a:lnTo>
                  <a:pt x="9337" y="12365"/>
                </a:lnTo>
                <a:lnTo>
                  <a:pt x="9358" y="12367"/>
                </a:lnTo>
                <a:lnTo>
                  <a:pt x="9378" y="12370"/>
                </a:lnTo>
                <a:lnTo>
                  <a:pt x="9398" y="12373"/>
                </a:lnTo>
                <a:lnTo>
                  <a:pt x="9418" y="12377"/>
                </a:lnTo>
                <a:lnTo>
                  <a:pt x="9436" y="12382"/>
                </a:lnTo>
                <a:lnTo>
                  <a:pt x="9454" y="12387"/>
                </a:lnTo>
                <a:lnTo>
                  <a:pt x="9472" y="12394"/>
                </a:lnTo>
                <a:lnTo>
                  <a:pt x="9489" y="12401"/>
                </a:lnTo>
                <a:lnTo>
                  <a:pt x="9506" y="12410"/>
                </a:lnTo>
                <a:lnTo>
                  <a:pt x="9523" y="12419"/>
                </a:lnTo>
                <a:lnTo>
                  <a:pt x="9538" y="12430"/>
                </a:lnTo>
                <a:lnTo>
                  <a:pt x="9552" y="12443"/>
                </a:lnTo>
                <a:lnTo>
                  <a:pt x="9566" y="12456"/>
                </a:lnTo>
                <a:lnTo>
                  <a:pt x="9579" y="12471"/>
                </a:lnTo>
                <a:lnTo>
                  <a:pt x="9591" y="12487"/>
                </a:lnTo>
                <a:lnTo>
                  <a:pt x="9602" y="12505"/>
                </a:lnTo>
                <a:lnTo>
                  <a:pt x="9612" y="12525"/>
                </a:lnTo>
                <a:lnTo>
                  <a:pt x="9622" y="12547"/>
                </a:lnTo>
                <a:lnTo>
                  <a:pt x="9630" y="12569"/>
                </a:lnTo>
                <a:lnTo>
                  <a:pt x="9639" y="12594"/>
                </a:lnTo>
                <a:lnTo>
                  <a:pt x="9645" y="12621"/>
                </a:lnTo>
                <a:lnTo>
                  <a:pt x="9650" y="12650"/>
                </a:lnTo>
                <a:lnTo>
                  <a:pt x="9654" y="12680"/>
                </a:lnTo>
                <a:lnTo>
                  <a:pt x="9657" y="12714"/>
                </a:lnTo>
                <a:lnTo>
                  <a:pt x="9659" y="12748"/>
                </a:lnTo>
                <a:lnTo>
                  <a:pt x="9660" y="12785"/>
                </a:lnTo>
                <a:lnTo>
                  <a:pt x="9660" y="13211"/>
                </a:lnTo>
                <a:lnTo>
                  <a:pt x="9658" y="13244"/>
                </a:lnTo>
                <a:lnTo>
                  <a:pt x="9654" y="13274"/>
                </a:lnTo>
                <a:lnTo>
                  <a:pt x="9647" y="13302"/>
                </a:lnTo>
                <a:lnTo>
                  <a:pt x="9636" y="13331"/>
                </a:lnTo>
                <a:lnTo>
                  <a:pt x="9624" y="13356"/>
                </a:lnTo>
                <a:lnTo>
                  <a:pt x="9610" y="13381"/>
                </a:lnTo>
                <a:lnTo>
                  <a:pt x="9593" y="13404"/>
                </a:lnTo>
                <a:lnTo>
                  <a:pt x="9573" y="13426"/>
                </a:lnTo>
                <a:lnTo>
                  <a:pt x="9552" y="13446"/>
                </a:lnTo>
                <a:lnTo>
                  <a:pt x="9528" y="13465"/>
                </a:lnTo>
                <a:lnTo>
                  <a:pt x="9501" y="13484"/>
                </a:lnTo>
                <a:lnTo>
                  <a:pt x="9474" y="13501"/>
                </a:lnTo>
                <a:lnTo>
                  <a:pt x="9444" y="13516"/>
                </a:lnTo>
                <a:lnTo>
                  <a:pt x="9413" y="13530"/>
                </a:lnTo>
                <a:lnTo>
                  <a:pt x="9379" y="13543"/>
                </a:lnTo>
                <a:lnTo>
                  <a:pt x="9345" y="13556"/>
                </a:lnTo>
                <a:lnTo>
                  <a:pt x="9309" y="13568"/>
                </a:lnTo>
                <a:lnTo>
                  <a:pt x="9272" y="13578"/>
                </a:lnTo>
                <a:lnTo>
                  <a:pt x="9233" y="13587"/>
                </a:lnTo>
                <a:lnTo>
                  <a:pt x="9193" y="13595"/>
                </a:lnTo>
                <a:lnTo>
                  <a:pt x="9152" y="13603"/>
                </a:lnTo>
                <a:lnTo>
                  <a:pt x="9110" y="13609"/>
                </a:lnTo>
                <a:lnTo>
                  <a:pt x="9067" y="13615"/>
                </a:lnTo>
                <a:lnTo>
                  <a:pt x="9022" y="13620"/>
                </a:lnTo>
                <a:lnTo>
                  <a:pt x="8978" y="13624"/>
                </a:lnTo>
                <a:lnTo>
                  <a:pt x="8933" y="13628"/>
                </a:lnTo>
                <a:lnTo>
                  <a:pt x="8887" y="13631"/>
                </a:lnTo>
                <a:lnTo>
                  <a:pt x="8841" y="13633"/>
                </a:lnTo>
                <a:lnTo>
                  <a:pt x="8795" y="13635"/>
                </a:lnTo>
                <a:lnTo>
                  <a:pt x="8748" y="13636"/>
                </a:lnTo>
                <a:lnTo>
                  <a:pt x="8701" y="13637"/>
                </a:lnTo>
                <a:lnTo>
                  <a:pt x="8653" y="13637"/>
                </a:lnTo>
                <a:lnTo>
                  <a:pt x="8090" y="13637"/>
                </a:lnTo>
                <a:close/>
                <a:moveTo>
                  <a:pt x="5591" y="11084"/>
                </a:moveTo>
                <a:lnTo>
                  <a:pt x="5364" y="11083"/>
                </a:lnTo>
                <a:lnTo>
                  <a:pt x="5144" y="11080"/>
                </a:lnTo>
                <a:lnTo>
                  <a:pt x="4932" y="11075"/>
                </a:lnTo>
                <a:lnTo>
                  <a:pt x="4728" y="11067"/>
                </a:lnTo>
                <a:lnTo>
                  <a:pt x="4530" y="11057"/>
                </a:lnTo>
                <a:lnTo>
                  <a:pt x="4340" y="11047"/>
                </a:lnTo>
                <a:lnTo>
                  <a:pt x="4157" y="11035"/>
                </a:lnTo>
                <a:lnTo>
                  <a:pt x="3981" y="11022"/>
                </a:lnTo>
                <a:lnTo>
                  <a:pt x="3813" y="11008"/>
                </a:lnTo>
                <a:lnTo>
                  <a:pt x="3652" y="10992"/>
                </a:lnTo>
                <a:lnTo>
                  <a:pt x="3497" y="10975"/>
                </a:lnTo>
                <a:lnTo>
                  <a:pt x="3350" y="10958"/>
                </a:lnTo>
                <a:lnTo>
                  <a:pt x="3211" y="10941"/>
                </a:lnTo>
                <a:lnTo>
                  <a:pt x="3078" y="10923"/>
                </a:lnTo>
                <a:lnTo>
                  <a:pt x="2953" y="10905"/>
                </a:lnTo>
                <a:lnTo>
                  <a:pt x="2835" y="10886"/>
                </a:lnTo>
                <a:lnTo>
                  <a:pt x="2724" y="10867"/>
                </a:lnTo>
                <a:lnTo>
                  <a:pt x="2620" y="10849"/>
                </a:lnTo>
                <a:lnTo>
                  <a:pt x="2525" y="10831"/>
                </a:lnTo>
                <a:lnTo>
                  <a:pt x="2435" y="10814"/>
                </a:lnTo>
                <a:lnTo>
                  <a:pt x="2353" y="10796"/>
                </a:lnTo>
                <a:lnTo>
                  <a:pt x="2278" y="10780"/>
                </a:lnTo>
                <a:lnTo>
                  <a:pt x="2210" y="10764"/>
                </a:lnTo>
                <a:lnTo>
                  <a:pt x="2150" y="10750"/>
                </a:lnTo>
                <a:lnTo>
                  <a:pt x="2050" y="10725"/>
                </a:lnTo>
                <a:lnTo>
                  <a:pt x="1978" y="10705"/>
                </a:lnTo>
                <a:lnTo>
                  <a:pt x="1936" y="10692"/>
                </a:lnTo>
                <a:lnTo>
                  <a:pt x="1922" y="10688"/>
                </a:lnTo>
                <a:lnTo>
                  <a:pt x="1948" y="10587"/>
                </a:lnTo>
                <a:lnTo>
                  <a:pt x="1975" y="10490"/>
                </a:lnTo>
                <a:lnTo>
                  <a:pt x="2002" y="10396"/>
                </a:lnTo>
                <a:lnTo>
                  <a:pt x="2030" y="10304"/>
                </a:lnTo>
                <a:lnTo>
                  <a:pt x="2057" y="10216"/>
                </a:lnTo>
                <a:lnTo>
                  <a:pt x="2085" y="10131"/>
                </a:lnTo>
                <a:lnTo>
                  <a:pt x="2112" y="10048"/>
                </a:lnTo>
                <a:lnTo>
                  <a:pt x="2140" y="9969"/>
                </a:lnTo>
                <a:lnTo>
                  <a:pt x="2168" y="9892"/>
                </a:lnTo>
                <a:lnTo>
                  <a:pt x="2196" y="9818"/>
                </a:lnTo>
                <a:lnTo>
                  <a:pt x="2223" y="9747"/>
                </a:lnTo>
                <a:lnTo>
                  <a:pt x="2250" y="9678"/>
                </a:lnTo>
                <a:lnTo>
                  <a:pt x="2277" y="9613"/>
                </a:lnTo>
                <a:lnTo>
                  <a:pt x="2303" y="9550"/>
                </a:lnTo>
                <a:lnTo>
                  <a:pt x="2329" y="9489"/>
                </a:lnTo>
                <a:lnTo>
                  <a:pt x="2354" y="9432"/>
                </a:lnTo>
                <a:lnTo>
                  <a:pt x="2404" y="9322"/>
                </a:lnTo>
                <a:lnTo>
                  <a:pt x="2450" y="9223"/>
                </a:lnTo>
                <a:lnTo>
                  <a:pt x="2493" y="9132"/>
                </a:lnTo>
                <a:lnTo>
                  <a:pt x="2533" y="9051"/>
                </a:lnTo>
                <a:lnTo>
                  <a:pt x="2568" y="8977"/>
                </a:lnTo>
                <a:lnTo>
                  <a:pt x="2598" y="8911"/>
                </a:lnTo>
                <a:lnTo>
                  <a:pt x="2611" y="8882"/>
                </a:lnTo>
                <a:lnTo>
                  <a:pt x="2623" y="8854"/>
                </a:lnTo>
                <a:lnTo>
                  <a:pt x="2633" y="8828"/>
                </a:lnTo>
                <a:lnTo>
                  <a:pt x="2643" y="8802"/>
                </a:lnTo>
                <a:lnTo>
                  <a:pt x="2646" y="8796"/>
                </a:lnTo>
                <a:lnTo>
                  <a:pt x="2654" y="8780"/>
                </a:lnTo>
                <a:lnTo>
                  <a:pt x="2662" y="8769"/>
                </a:lnTo>
                <a:lnTo>
                  <a:pt x="2672" y="8756"/>
                </a:lnTo>
                <a:lnTo>
                  <a:pt x="2685" y="8741"/>
                </a:lnTo>
                <a:lnTo>
                  <a:pt x="2703" y="8724"/>
                </a:lnTo>
                <a:lnTo>
                  <a:pt x="2724" y="8707"/>
                </a:lnTo>
                <a:lnTo>
                  <a:pt x="2751" y="8688"/>
                </a:lnTo>
                <a:lnTo>
                  <a:pt x="2784" y="8668"/>
                </a:lnTo>
                <a:lnTo>
                  <a:pt x="2821" y="8646"/>
                </a:lnTo>
                <a:lnTo>
                  <a:pt x="2865" y="8625"/>
                </a:lnTo>
                <a:lnTo>
                  <a:pt x="2917" y="8603"/>
                </a:lnTo>
                <a:lnTo>
                  <a:pt x="2975" y="8581"/>
                </a:lnTo>
                <a:lnTo>
                  <a:pt x="3042" y="8558"/>
                </a:lnTo>
                <a:lnTo>
                  <a:pt x="3117" y="8536"/>
                </a:lnTo>
                <a:lnTo>
                  <a:pt x="3201" y="8514"/>
                </a:lnTo>
                <a:lnTo>
                  <a:pt x="3294" y="8492"/>
                </a:lnTo>
                <a:lnTo>
                  <a:pt x="3398" y="8470"/>
                </a:lnTo>
                <a:lnTo>
                  <a:pt x="3511" y="8449"/>
                </a:lnTo>
                <a:lnTo>
                  <a:pt x="3636" y="8429"/>
                </a:lnTo>
                <a:lnTo>
                  <a:pt x="3771" y="8411"/>
                </a:lnTo>
                <a:lnTo>
                  <a:pt x="3919" y="8393"/>
                </a:lnTo>
                <a:lnTo>
                  <a:pt x="4079" y="8377"/>
                </a:lnTo>
                <a:lnTo>
                  <a:pt x="4253" y="8362"/>
                </a:lnTo>
                <a:lnTo>
                  <a:pt x="4439" y="8350"/>
                </a:lnTo>
                <a:lnTo>
                  <a:pt x="4639" y="8339"/>
                </a:lnTo>
                <a:lnTo>
                  <a:pt x="4854" y="8330"/>
                </a:lnTo>
                <a:lnTo>
                  <a:pt x="5083" y="8324"/>
                </a:lnTo>
                <a:lnTo>
                  <a:pt x="5329" y="8320"/>
                </a:lnTo>
                <a:lnTo>
                  <a:pt x="5591" y="8319"/>
                </a:lnTo>
                <a:lnTo>
                  <a:pt x="5851" y="8320"/>
                </a:lnTo>
                <a:lnTo>
                  <a:pt x="6097" y="8323"/>
                </a:lnTo>
                <a:lnTo>
                  <a:pt x="6326" y="8329"/>
                </a:lnTo>
                <a:lnTo>
                  <a:pt x="6540" y="8337"/>
                </a:lnTo>
                <a:lnTo>
                  <a:pt x="6741" y="8346"/>
                </a:lnTo>
                <a:lnTo>
                  <a:pt x="6926" y="8358"/>
                </a:lnTo>
                <a:lnTo>
                  <a:pt x="7100" y="8371"/>
                </a:lnTo>
                <a:lnTo>
                  <a:pt x="7260" y="8385"/>
                </a:lnTo>
                <a:lnTo>
                  <a:pt x="7407" y="8402"/>
                </a:lnTo>
                <a:lnTo>
                  <a:pt x="7543" y="8420"/>
                </a:lnTo>
                <a:lnTo>
                  <a:pt x="7667" y="8438"/>
                </a:lnTo>
                <a:lnTo>
                  <a:pt x="7781" y="8458"/>
                </a:lnTo>
                <a:lnTo>
                  <a:pt x="7884" y="8478"/>
                </a:lnTo>
                <a:lnTo>
                  <a:pt x="7978" y="8500"/>
                </a:lnTo>
                <a:lnTo>
                  <a:pt x="8063" y="8522"/>
                </a:lnTo>
                <a:lnTo>
                  <a:pt x="8137" y="8544"/>
                </a:lnTo>
                <a:lnTo>
                  <a:pt x="8205" y="8567"/>
                </a:lnTo>
                <a:lnTo>
                  <a:pt x="8264" y="8591"/>
                </a:lnTo>
                <a:lnTo>
                  <a:pt x="8317" y="8614"/>
                </a:lnTo>
                <a:lnTo>
                  <a:pt x="8362" y="8637"/>
                </a:lnTo>
                <a:lnTo>
                  <a:pt x="8401" y="8661"/>
                </a:lnTo>
                <a:lnTo>
                  <a:pt x="8436" y="8684"/>
                </a:lnTo>
                <a:lnTo>
                  <a:pt x="8464" y="8707"/>
                </a:lnTo>
                <a:lnTo>
                  <a:pt x="8488" y="8728"/>
                </a:lnTo>
                <a:lnTo>
                  <a:pt x="8507" y="8751"/>
                </a:lnTo>
                <a:lnTo>
                  <a:pt x="8523" y="8771"/>
                </a:lnTo>
                <a:lnTo>
                  <a:pt x="8537" y="8791"/>
                </a:lnTo>
                <a:lnTo>
                  <a:pt x="8548" y="8810"/>
                </a:lnTo>
                <a:lnTo>
                  <a:pt x="8563" y="8845"/>
                </a:lnTo>
                <a:lnTo>
                  <a:pt x="8575" y="8873"/>
                </a:lnTo>
                <a:lnTo>
                  <a:pt x="8582" y="8891"/>
                </a:lnTo>
                <a:lnTo>
                  <a:pt x="8591" y="8911"/>
                </a:lnTo>
                <a:lnTo>
                  <a:pt x="8601" y="8933"/>
                </a:lnTo>
                <a:lnTo>
                  <a:pt x="8612" y="8956"/>
                </a:lnTo>
                <a:lnTo>
                  <a:pt x="8639" y="9009"/>
                </a:lnTo>
                <a:lnTo>
                  <a:pt x="8671" y="9068"/>
                </a:lnTo>
                <a:lnTo>
                  <a:pt x="8706" y="9138"/>
                </a:lnTo>
                <a:lnTo>
                  <a:pt x="8746" y="9217"/>
                </a:lnTo>
                <a:lnTo>
                  <a:pt x="8790" y="9306"/>
                </a:lnTo>
                <a:lnTo>
                  <a:pt x="8835" y="9406"/>
                </a:lnTo>
                <a:lnTo>
                  <a:pt x="8859" y="9461"/>
                </a:lnTo>
                <a:lnTo>
                  <a:pt x="8884" y="9519"/>
                </a:lnTo>
                <a:lnTo>
                  <a:pt x="8910" y="9578"/>
                </a:lnTo>
                <a:lnTo>
                  <a:pt x="8936" y="9642"/>
                </a:lnTo>
                <a:lnTo>
                  <a:pt x="8962" y="9710"/>
                </a:lnTo>
                <a:lnTo>
                  <a:pt x="8988" y="9780"/>
                </a:lnTo>
                <a:lnTo>
                  <a:pt x="9015" y="9853"/>
                </a:lnTo>
                <a:lnTo>
                  <a:pt x="9043" y="9931"/>
                </a:lnTo>
                <a:lnTo>
                  <a:pt x="9070" y="10012"/>
                </a:lnTo>
                <a:lnTo>
                  <a:pt x="9098" y="10097"/>
                </a:lnTo>
                <a:lnTo>
                  <a:pt x="9126" y="10185"/>
                </a:lnTo>
                <a:lnTo>
                  <a:pt x="9155" y="10277"/>
                </a:lnTo>
                <a:lnTo>
                  <a:pt x="9183" y="10374"/>
                </a:lnTo>
                <a:lnTo>
                  <a:pt x="9210" y="10475"/>
                </a:lnTo>
                <a:lnTo>
                  <a:pt x="9238" y="10579"/>
                </a:lnTo>
                <a:lnTo>
                  <a:pt x="9266" y="10688"/>
                </a:lnTo>
                <a:lnTo>
                  <a:pt x="9252" y="10692"/>
                </a:lnTo>
                <a:lnTo>
                  <a:pt x="9209" y="10705"/>
                </a:lnTo>
                <a:lnTo>
                  <a:pt x="9137" y="10725"/>
                </a:lnTo>
                <a:lnTo>
                  <a:pt x="9038" y="10750"/>
                </a:lnTo>
                <a:lnTo>
                  <a:pt x="8976" y="10764"/>
                </a:lnTo>
                <a:lnTo>
                  <a:pt x="8909" y="10780"/>
                </a:lnTo>
                <a:lnTo>
                  <a:pt x="8833" y="10796"/>
                </a:lnTo>
                <a:lnTo>
                  <a:pt x="8750" y="10814"/>
                </a:lnTo>
                <a:lnTo>
                  <a:pt x="8661" y="10831"/>
                </a:lnTo>
                <a:lnTo>
                  <a:pt x="8564" y="10849"/>
                </a:lnTo>
                <a:lnTo>
                  <a:pt x="8460" y="10867"/>
                </a:lnTo>
                <a:lnTo>
                  <a:pt x="8349" y="10886"/>
                </a:lnTo>
                <a:lnTo>
                  <a:pt x="8230" y="10905"/>
                </a:lnTo>
                <a:lnTo>
                  <a:pt x="8105" y="10923"/>
                </a:lnTo>
                <a:lnTo>
                  <a:pt x="7972" y="10941"/>
                </a:lnTo>
                <a:lnTo>
                  <a:pt x="7832" y="10958"/>
                </a:lnTo>
                <a:lnTo>
                  <a:pt x="7685" y="10975"/>
                </a:lnTo>
                <a:lnTo>
                  <a:pt x="7530" y="10992"/>
                </a:lnTo>
                <a:lnTo>
                  <a:pt x="7369" y="11008"/>
                </a:lnTo>
                <a:lnTo>
                  <a:pt x="7200" y="11022"/>
                </a:lnTo>
                <a:lnTo>
                  <a:pt x="7024" y="11035"/>
                </a:lnTo>
                <a:lnTo>
                  <a:pt x="6841" y="11047"/>
                </a:lnTo>
                <a:lnTo>
                  <a:pt x="6650" y="11057"/>
                </a:lnTo>
                <a:lnTo>
                  <a:pt x="6453" y="11067"/>
                </a:lnTo>
                <a:lnTo>
                  <a:pt x="6248" y="11075"/>
                </a:lnTo>
                <a:lnTo>
                  <a:pt x="6036" y="11080"/>
                </a:lnTo>
                <a:lnTo>
                  <a:pt x="5816" y="11083"/>
                </a:lnTo>
                <a:lnTo>
                  <a:pt x="5591" y="11084"/>
                </a:lnTo>
                <a:close/>
                <a:moveTo>
                  <a:pt x="1971" y="12362"/>
                </a:moveTo>
                <a:lnTo>
                  <a:pt x="1992" y="12362"/>
                </a:lnTo>
                <a:lnTo>
                  <a:pt x="2016" y="12364"/>
                </a:lnTo>
                <a:lnTo>
                  <a:pt x="2041" y="12367"/>
                </a:lnTo>
                <a:lnTo>
                  <a:pt x="2066" y="12371"/>
                </a:lnTo>
                <a:lnTo>
                  <a:pt x="2093" y="12376"/>
                </a:lnTo>
                <a:lnTo>
                  <a:pt x="2120" y="12382"/>
                </a:lnTo>
                <a:lnTo>
                  <a:pt x="2149" y="12389"/>
                </a:lnTo>
                <a:lnTo>
                  <a:pt x="2178" y="12397"/>
                </a:lnTo>
                <a:lnTo>
                  <a:pt x="2208" y="12405"/>
                </a:lnTo>
                <a:lnTo>
                  <a:pt x="2239" y="12415"/>
                </a:lnTo>
                <a:lnTo>
                  <a:pt x="2270" y="12425"/>
                </a:lnTo>
                <a:lnTo>
                  <a:pt x="2302" y="12436"/>
                </a:lnTo>
                <a:lnTo>
                  <a:pt x="2367" y="12460"/>
                </a:lnTo>
                <a:lnTo>
                  <a:pt x="2434" y="12485"/>
                </a:lnTo>
                <a:lnTo>
                  <a:pt x="2501" y="12513"/>
                </a:lnTo>
                <a:lnTo>
                  <a:pt x="2569" y="12542"/>
                </a:lnTo>
                <a:lnTo>
                  <a:pt x="2636" y="12571"/>
                </a:lnTo>
                <a:lnTo>
                  <a:pt x="2703" y="12601"/>
                </a:lnTo>
                <a:lnTo>
                  <a:pt x="2768" y="12632"/>
                </a:lnTo>
                <a:lnTo>
                  <a:pt x="2831" y="12662"/>
                </a:lnTo>
                <a:lnTo>
                  <a:pt x="2892" y="12691"/>
                </a:lnTo>
                <a:lnTo>
                  <a:pt x="2950" y="12719"/>
                </a:lnTo>
                <a:lnTo>
                  <a:pt x="3073" y="12778"/>
                </a:lnTo>
                <a:lnTo>
                  <a:pt x="3194" y="12836"/>
                </a:lnTo>
                <a:lnTo>
                  <a:pt x="3254" y="12866"/>
                </a:lnTo>
                <a:lnTo>
                  <a:pt x="3310" y="12896"/>
                </a:lnTo>
                <a:lnTo>
                  <a:pt x="3338" y="12911"/>
                </a:lnTo>
                <a:lnTo>
                  <a:pt x="3364" y="12927"/>
                </a:lnTo>
                <a:lnTo>
                  <a:pt x="3391" y="12942"/>
                </a:lnTo>
                <a:lnTo>
                  <a:pt x="3416" y="12958"/>
                </a:lnTo>
                <a:lnTo>
                  <a:pt x="3440" y="12975"/>
                </a:lnTo>
                <a:lnTo>
                  <a:pt x="3463" y="12992"/>
                </a:lnTo>
                <a:lnTo>
                  <a:pt x="3485" y="13009"/>
                </a:lnTo>
                <a:lnTo>
                  <a:pt x="3506" y="13026"/>
                </a:lnTo>
                <a:lnTo>
                  <a:pt x="3526" y="13044"/>
                </a:lnTo>
                <a:lnTo>
                  <a:pt x="3544" y="13063"/>
                </a:lnTo>
                <a:lnTo>
                  <a:pt x="3561" y="13082"/>
                </a:lnTo>
                <a:lnTo>
                  <a:pt x="3576" y="13101"/>
                </a:lnTo>
                <a:lnTo>
                  <a:pt x="3590" y="13120"/>
                </a:lnTo>
                <a:lnTo>
                  <a:pt x="3602" y="13142"/>
                </a:lnTo>
                <a:lnTo>
                  <a:pt x="3612" y="13162"/>
                </a:lnTo>
                <a:lnTo>
                  <a:pt x="3621" y="13184"/>
                </a:lnTo>
                <a:lnTo>
                  <a:pt x="3629" y="13206"/>
                </a:lnTo>
                <a:lnTo>
                  <a:pt x="3634" y="13230"/>
                </a:lnTo>
                <a:lnTo>
                  <a:pt x="3637" y="13253"/>
                </a:lnTo>
                <a:lnTo>
                  <a:pt x="3638" y="13277"/>
                </a:lnTo>
                <a:lnTo>
                  <a:pt x="3638" y="13300"/>
                </a:lnTo>
                <a:lnTo>
                  <a:pt x="3637" y="13323"/>
                </a:lnTo>
                <a:lnTo>
                  <a:pt x="3635" y="13343"/>
                </a:lnTo>
                <a:lnTo>
                  <a:pt x="3632" y="13363"/>
                </a:lnTo>
                <a:lnTo>
                  <a:pt x="3629" y="13383"/>
                </a:lnTo>
                <a:lnTo>
                  <a:pt x="3624" y="13402"/>
                </a:lnTo>
                <a:lnTo>
                  <a:pt x="3618" y="13420"/>
                </a:lnTo>
                <a:lnTo>
                  <a:pt x="3611" y="13437"/>
                </a:lnTo>
                <a:lnTo>
                  <a:pt x="3604" y="13454"/>
                </a:lnTo>
                <a:lnTo>
                  <a:pt x="3596" y="13469"/>
                </a:lnTo>
                <a:lnTo>
                  <a:pt x="3586" y="13485"/>
                </a:lnTo>
                <a:lnTo>
                  <a:pt x="3576" y="13499"/>
                </a:lnTo>
                <a:lnTo>
                  <a:pt x="3564" y="13513"/>
                </a:lnTo>
                <a:lnTo>
                  <a:pt x="3552" y="13526"/>
                </a:lnTo>
                <a:lnTo>
                  <a:pt x="3538" y="13538"/>
                </a:lnTo>
                <a:lnTo>
                  <a:pt x="3523" y="13549"/>
                </a:lnTo>
                <a:lnTo>
                  <a:pt x="3507" y="13559"/>
                </a:lnTo>
                <a:lnTo>
                  <a:pt x="3488" y="13570"/>
                </a:lnTo>
                <a:lnTo>
                  <a:pt x="3469" y="13579"/>
                </a:lnTo>
                <a:lnTo>
                  <a:pt x="3449" y="13588"/>
                </a:lnTo>
                <a:lnTo>
                  <a:pt x="3427" y="13596"/>
                </a:lnTo>
                <a:lnTo>
                  <a:pt x="3404" y="13603"/>
                </a:lnTo>
                <a:lnTo>
                  <a:pt x="3380" y="13609"/>
                </a:lnTo>
                <a:lnTo>
                  <a:pt x="3353" y="13615"/>
                </a:lnTo>
                <a:lnTo>
                  <a:pt x="3326" y="13620"/>
                </a:lnTo>
                <a:lnTo>
                  <a:pt x="3297" y="13624"/>
                </a:lnTo>
                <a:lnTo>
                  <a:pt x="3267" y="13628"/>
                </a:lnTo>
                <a:lnTo>
                  <a:pt x="3234" y="13631"/>
                </a:lnTo>
                <a:lnTo>
                  <a:pt x="3200" y="13633"/>
                </a:lnTo>
                <a:lnTo>
                  <a:pt x="3165" y="13635"/>
                </a:lnTo>
                <a:lnTo>
                  <a:pt x="3127" y="13636"/>
                </a:lnTo>
                <a:lnTo>
                  <a:pt x="3088" y="13636"/>
                </a:lnTo>
                <a:lnTo>
                  <a:pt x="2526" y="13636"/>
                </a:lnTo>
                <a:lnTo>
                  <a:pt x="2478" y="13636"/>
                </a:lnTo>
                <a:lnTo>
                  <a:pt x="2432" y="13635"/>
                </a:lnTo>
                <a:lnTo>
                  <a:pt x="2384" y="13634"/>
                </a:lnTo>
                <a:lnTo>
                  <a:pt x="2338" y="13632"/>
                </a:lnTo>
                <a:lnTo>
                  <a:pt x="2292" y="13630"/>
                </a:lnTo>
                <a:lnTo>
                  <a:pt x="2246" y="13627"/>
                </a:lnTo>
                <a:lnTo>
                  <a:pt x="2201" y="13623"/>
                </a:lnTo>
                <a:lnTo>
                  <a:pt x="2156" y="13619"/>
                </a:lnTo>
                <a:lnTo>
                  <a:pt x="2112" y="13614"/>
                </a:lnTo>
                <a:lnTo>
                  <a:pt x="2069" y="13608"/>
                </a:lnTo>
                <a:lnTo>
                  <a:pt x="2028" y="13602"/>
                </a:lnTo>
                <a:lnTo>
                  <a:pt x="1986" y="13594"/>
                </a:lnTo>
                <a:lnTo>
                  <a:pt x="1946" y="13586"/>
                </a:lnTo>
                <a:lnTo>
                  <a:pt x="1908" y="13577"/>
                </a:lnTo>
                <a:lnTo>
                  <a:pt x="1869" y="13567"/>
                </a:lnTo>
                <a:lnTo>
                  <a:pt x="1834" y="13555"/>
                </a:lnTo>
                <a:lnTo>
                  <a:pt x="1799" y="13543"/>
                </a:lnTo>
                <a:lnTo>
                  <a:pt x="1766" y="13530"/>
                </a:lnTo>
                <a:lnTo>
                  <a:pt x="1734" y="13516"/>
                </a:lnTo>
                <a:lnTo>
                  <a:pt x="1705" y="13500"/>
                </a:lnTo>
                <a:lnTo>
                  <a:pt x="1677" y="13484"/>
                </a:lnTo>
                <a:lnTo>
                  <a:pt x="1651" y="13465"/>
                </a:lnTo>
                <a:lnTo>
                  <a:pt x="1627" y="13446"/>
                </a:lnTo>
                <a:lnTo>
                  <a:pt x="1606" y="13426"/>
                </a:lnTo>
                <a:lnTo>
                  <a:pt x="1586" y="13404"/>
                </a:lnTo>
                <a:lnTo>
                  <a:pt x="1569" y="13380"/>
                </a:lnTo>
                <a:lnTo>
                  <a:pt x="1554" y="13356"/>
                </a:lnTo>
                <a:lnTo>
                  <a:pt x="1542" y="13330"/>
                </a:lnTo>
                <a:lnTo>
                  <a:pt x="1532" y="13302"/>
                </a:lnTo>
                <a:lnTo>
                  <a:pt x="1525" y="13274"/>
                </a:lnTo>
                <a:lnTo>
                  <a:pt x="1520" y="13244"/>
                </a:lnTo>
                <a:lnTo>
                  <a:pt x="1519" y="13211"/>
                </a:lnTo>
                <a:lnTo>
                  <a:pt x="1519" y="12786"/>
                </a:lnTo>
                <a:lnTo>
                  <a:pt x="1519" y="12749"/>
                </a:lnTo>
                <a:lnTo>
                  <a:pt x="1521" y="12714"/>
                </a:lnTo>
                <a:lnTo>
                  <a:pt x="1524" y="12681"/>
                </a:lnTo>
                <a:lnTo>
                  <a:pt x="1529" y="12651"/>
                </a:lnTo>
                <a:lnTo>
                  <a:pt x="1534" y="12622"/>
                </a:lnTo>
                <a:lnTo>
                  <a:pt x="1541" y="12595"/>
                </a:lnTo>
                <a:lnTo>
                  <a:pt x="1549" y="12570"/>
                </a:lnTo>
                <a:lnTo>
                  <a:pt x="1557" y="12547"/>
                </a:lnTo>
                <a:lnTo>
                  <a:pt x="1567" y="12525"/>
                </a:lnTo>
                <a:lnTo>
                  <a:pt x="1577" y="12506"/>
                </a:lnTo>
                <a:lnTo>
                  <a:pt x="1588" y="12488"/>
                </a:lnTo>
                <a:lnTo>
                  <a:pt x="1600" y="12472"/>
                </a:lnTo>
                <a:lnTo>
                  <a:pt x="1613" y="12457"/>
                </a:lnTo>
                <a:lnTo>
                  <a:pt x="1627" y="12444"/>
                </a:lnTo>
                <a:lnTo>
                  <a:pt x="1642" y="12431"/>
                </a:lnTo>
                <a:lnTo>
                  <a:pt x="1658" y="12420"/>
                </a:lnTo>
                <a:lnTo>
                  <a:pt x="1674" y="12410"/>
                </a:lnTo>
                <a:lnTo>
                  <a:pt x="1690" y="12402"/>
                </a:lnTo>
                <a:lnTo>
                  <a:pt x="1707" y="12394"/>
                </a:lnTo>
                <a:lnTo>
                  <a:pt x="1725" y="12388"/>
                </a:lnTo>
                <a:lnTo>
                  <a:pt x="1743" y="12382"/>
                </a:lnTo>
                <a:lnTo>
                  <a:pt x="1762" y="12378"/>
                </a:lnTo>
                <a:lnTo>
                  <a:pt x="1782" y="12374"/>
                </a:lnTo>
                <a:lnTo>
                  <a:pt x="1802" y="12370"/>
                </a:lnTo>
                <a:lnTo>
                  <a:pt x="1822" y="12368"/>
                </a:lnTo>
                <a:lnTo>
                  <a:pt x="1842" y="12366"/>
                </a:lnTo>
                <a:lnTo>
                  <a:pt x="1863" y="12364"/>
                </a:lnTo>
                <a:lnTo>
                  <a:pt x="1884" y="12363"/>
                </a:lnTo>
                <a:lnTo>
                  <a:pt x="1927" y="12362"/>
                </a:lnTo>
                <a:lnTo>
                  <a:pt x="1971" y="12362"/>
                </a:lnTo>
                <a:close/>
              </a:path>
            </a:pathLst>
          </a:custGeom>
          <a:solidFill>
            <a:schemeClr val="accent4">
              <a:lumMod val="9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reg_budjet"/>
          <p:cNvSpPr>
            <a:spLocks noEditPoints="1"/>
          </p:cNvSpPr>
          <p:nvPr/>
        </p:nvSpPr>
        <p:spPr bwMode="auto">
          <a:xfrm>
            <a:off x="338389" y="3392996"/>
            <a:ext cx="360486" cy="329915"/>
          </a:xfrm>
          <a:custGeom>
            <a:avLst/>
            <a:gdLst>
              <a:gd name="T0" fmla="*/ 5358 w 15504"/>
              <a:gd name="T1" fmla="*/ 5367 h 16131"/>
              <a:gd name="T2" fmla="*/ 5358 w 15504"/>
              <a:gd name="T3" fmla="*/ 7425 h 16131"/>
              <a:gd name="T4" fmla="*/ 11370 w 15504"/>
              <a:gd name="T5" fmla="*/ 7425 h 16131"/>
              <a:gd name="T6" fmla="*/ 8077 w 15504"/>
              <a:gd name="T7" fmla="*/ 5367 h 16131"/>
              <a:gd name="T8" fmla="*/ 9783 w 15504"/>
              <a:gd name="T9" fmla="*/ 5248 h 16131"/>
              <a:gd name="T10" fmla="*/ 10637 w 15504"/>
              <a:gd name="T11" fmla="*/ 4831 h 16131"/>
              <a:gd name="T12" fmla="*/ 11331 w 15504"/>
              <a:gd name="T13" fmla="*/ 3980 h 16131"/>
              <a:gd name="T14" fmla="*/ 11609 w 15504"/>
              <a:gd name="T15" fmla="*/ 2654 h 16131"/>
              <a:gd name="T16" fmla="*/ 11489 w 15504"/>
              <a:gd name="T17" fmla="*/ 1703 h 16131"/>
              <a:gd name="T18" fmla="*/ 11133 w 15504"/>
              <a:gd name="T19" fmla="*/ 970 h 16131"/>
              <a:gd name="T20" fmla="*/ 10617 w 15504"/>
              <a:gd name="T21" fmla="*/ 436 h 16131"/>
              <a:gd name="T22" fmla="*/ 9962 w 15504"/>
              <a:gd name="T23" fmla="*/ 119 h 16131"/>
              <a:gd name="T24" fmla="*/ 7997 w 15504"/>
              <a:gd name="T25" fmla="*/ 0 h 16131"/>
              <a:gd name="T26" fmla="*/ 2805 w 15504"/>
              <a:gd name="T27" fmla="*/ 5044 h 16131"/>
              <a:gd name="T28" fmla="*/ 2262 w 15504"/>
              <a:gd name="T29" fmla="*/ 6944 h 16131"/>
              <a:gd name="T30" fmla="*/ 2013 w 15504"/>
              <a:gd name="T31" fmla="*/ 7495 h 16131"/>
              <a:gd name="T32" fmla="*/ 1157 w 15504"/>
              <a:gd name="T33" fmla="*/ 7098 h 16131"/>
              <a:gd name="T34" fmla="*/ 0 w 15504"/>
              <a:gd name="T35" fmla="*/ 7759 h 16131"/>
              <a:gd name="T36" fmla="*/ 782 w 15504"/>
              <a:gd name="T37" fmla="*/ 8812 h 16131"/>
              <a:gd name="T38" fmla="*/ 955 w 15504"/>
              <a:gd name="T39" fmla="*/ 9727 h 16131"/>
              <a:gd name="T40" fmla="*/ 289 w 15504"/>
              <a:gd name="T41" fmla="*/ 10170 h 16131"/>
              <a:gd name="T42" fmla="*/ 467 w 15504"/>
              <a:gd name="T43" fmla="*/ 11375 h 16131"/>
              <a:gd name="T44" fmla="*/ 408 w 15504"/>
              <a:gd name="T45" fmla="*/ 12239 h 16131"/>
              <a:gd name="T46" fmla="*/ 1575 w 15504"/>
              <a:gd name="T47" fmla="*/ 14804 h 16131"/>
              <a:gd name="T48" fmla="*/ 2126 w 15504"/>
              <a:gd name="T49" fmla="*/ 15929 h 16131"/>
              <a:gd name="T50" fmla="*/ 2740 w 15504"/>
              <a:gd name="T51" fmla="*/ 15924 h 16131"/>
              <a:gd name="T52" fmla="*/ 3700 w 15504"/>
              <a:gd name="T53" fmla="*/ 15317 h 16131"/>
              <a:gd name="T54" fmla="*/ 4523 w 15504"/>
              <a:gd name="T55" fmla="*/ 15274 h 16131"/>
              <a:gd name="T56" fmla="*/ 5221 w 15504"/>
              <a:gd name="T57" fmla="*/ 15859 h 16131"/>
              <a:gd name="T58" fmla="*/ 5812 w 15504"/>
              <a:gd name="T59" fmla="*/ 15138 h 16131"/>
              <a:gd name="T60" fmla="*/ 6762 w 15504"/>
              <a:gd name="T61" fmla="*/ 13867 h 16131"/>
              <a:gd name="T62" fmla="*/ 6850 w 15504"/>
              <a:gd name="T63" fmla="*/ 13378 h 16131"/>
              <a:gd name="T64" fmla="*/ 7691 w 15504"/>
              <a:gd name="T65" fmla="*/ 12984 h 16131"/>
              <a:gd name="T66" fmla="*/ 8690 w 15504"/>
              <a:gd name="T67" fmla="*/ 12159 h 16131"/>
              <a:gd name="T68" fmla="*/ 8971 w 15504"/>
              <a:gd name="T69" fmla="*/ 11250 h 16131"/>
              <a:gd name="T70" fmla="*/ 10195 w 15504"/>
              <a:gd name="T71" fmla="*/ 10846 h 16131"/>
              <a:gd name="T72" fmla="*/ 10617 w 15504"/>
              <a:gd name="T73" fmla="*/ 10557 h 16131"/>
              <a:gd name="T74" fmla="*/ 11035 w 15504"/>
              <a:gd name="T75" fmla="*/ 10536 h 16131"/>
              <a:gd name="T76" fmla="*/ 12611 w 15504"/>
              <a:gd name="T77" fmla="*/ 10537 h 16131"/>
              <a:gd name="T78" fmla="*/ 13138 w 15504"/>
              <a:gd name="T79" fmla="*/ 10449 h 16131"/>
              <a:gd name="T80" fmla="*/ 13568 w 15504"/>
              <a:gd name="T81" fmla="*/ 10889 h 16131"/>
              <a:gd name="T82" fmla="*/ 14249 w 15504"/>
              <a:gd name="T83" fmla="*/ 10732 h 16131"/>
              <a:gd name="T84" fmla="*/ 15300 w 15504"/>
              <a:gd name="T85" fmla="*/ 10107 h 16131"/>
              <a:gd name="T86" fmla="*/ 15283 w 15504"/>
              <a:gd name="T87" fmla="*/ 9653 h 16131"/>
              <a:gd name="T88" fmla="*/ 13922 w 15504"/>
              <a:gd name="T89" fmla="*/ 9313 h 16131"/>
              <a:gd name="T90" fmla="*/ 12693 w 15504"/>
              <a:gd name="T91" fmla="*/ 7965 h 16131"/>
              <a:gd name="T92" fmla="*/ 7573 w 15504"/>
              <a:gd name="T93" fmla="*/ 7974 h 16131"/>
              <a:gd name="T94" fmla="*/ 5364 w 15504"/>
              <a:gd name="T95" fmla="*/ 9162 h 16131"/>
              <a:gd name="T96" fmla="*/ 3895 w 15504"/>
              <a:gd name="T97" fmla="*/ 7974 h 16131"/>
              <a:gd name="T98" fmla="*/ 3334 w 15504"/>
              <a:gd name="T99" fmla="*/ 5915 h 16131"/>
              <a:gd name="T100" fmla="*/ 8374 w 15504"/>
              <a:gd name="T101" fmla="*/ 3882 h 16131"/>
              <a:gd name="T102" fmla="*/ 7799 w 15504"/>
              <a:gd name="T103" fmla="*/ 1446 h 16131"/>
              <a:gd name="T104" fmla="*/ 9168 w 15504"/>
              <a:gd name="T105" fmla="*/ 1565 h 16131"/>
              <a:gd name="T106" fmla="*/ 9763 w 15504"/>
              <a:gd name="T107" fmla="*/ 2060 h 16131"/>
              <a:gd name="T108" fmla="*/ 9902 w 15504"/>
              <a:gd name="T109" fmla="*/ 2851 h 16131"/>
              <a:gd name="T110" fmla="*/ 9624 w 15504"/>
              <a:gd name="T111" fmla="*/ 3485 h 16131"/>
              <a:gd name="T112" fmla="*/ 9009 w 15504"/>
              <a:gd name="T113" fmla="*/ 3822 h 161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504" h="16131">
                <a:moveTo>
                  <a:pt x="5358" y="3901"/>
                </a:moveTo>
                <a:lnTo>
                  <a:pt x="3890" y="3901"/>
                </a:lnTo>
                <a:lnTo>
                  <a:pt x="3890" y="5367"/>
                </a:lnTo>
                <a:lnTo>
                  <a:pt x="5358" y="5367"/>
                </a:lnTo>
                <a:lnTo>
                  <a:pt x="5358" y="6139"/>
                </a:lnTo>
                <a:lnTo>
                  <a:pt x="3890" y="6139"/>
                </a:lnTo>
                <a:lnTo>
                  <a:pt x="3890" y="7425"/>
                </a:lnTo>
                <a:lnTo>
                  <a:pt x="5358" y="7425"/>
                </a:lnTo>
                <a:lnTo>
                  <a:pt x="5358" y="8614"/>
                </a:lnTo>
                <a:lnTo>
                  <a:pt x="7005" y="8614"/>
                </a:lnTo>
                <a:lnTo>
                  <a:pt x="7005" y="7425"/>
                </a:lnTo>
                <a:lnTo>
                  <a:pt x="11370" y="7425"/>
                </a:lnTo>
                <a:lnTo>
                  <a:pt x="11370" y="6139"/>
                </a:lnTo>
                <a:lnTo>
                  <a:pt x="7005" y="6139"/>
                </a:lnTo>
                <a:lnTo>
                  <a:pt x="7005" y="5367"/>
                </a:lnTo>
                <a:lnTo>
                  <a:pt x="8077" y="5367"/>
                </a:lnTo>
                <a:lnTo>
                  <a:pt x="8612" y="5367"/>
                </a:lnTo>
                <a:lnTo>
                  <a:pt x="9069" y="5326"/>
                </a:lnTo>
                <a:lnTo>
                  <a:pt x="9466" y="5287"/>
                </a:lnTo>
                <a:lnTo>
                  <a:pt x="9783" y="5248"/>
                </a:lnTo>
                <a:lnTo>
                  <a:pt x="10001" y="5188"/>
                </a:lnTo>
                <a:lnTo>
                  <a:pt x="10219" y="5089"/>
                </a:lnTo>
                <a:lnTo>
                  <a:pt x="10438" y="4970"/>
                </a:lnTo>
                <a:lnTo>
                  <a:pt x="10637" y="4831"/>
                </a:lnTo>
                <a:lnTo>
                  <a:pt x="10854" y="4673"/>
                </a:lnTo>
                <a:lnTo>
                  <a:pt x="11033" y="4475"/>
                </a:lnTo>
                <a:lnTo>
                  <a:pt x="11191" y="4237"/>
                </a:lnTo>
                <a:lnTo>
                  <a:pt x="11331" y="3980"/>
                </a:lnTo>
                <a:lnTo>
                  <a:pt x="11450" y="3703"/>
                </a:lnTo>
                <a:lnTo>
                  <a:pt x="11549" y="3387"/>
                </a:lnTo>
                <a:lnTo>
                  <a:pt x="11588" y="3030"/>
                </a:lnTo>
                <a:lnTo>
                  <a:pt x="11609" y="2654"/>
                </a:lnTo>
                <a:lnTo>
                  <a:pt x="11609" y="2395"/>
                </a:lnTo>
                <a:lnTo>
                  <a:pt x="11588" y="2159"/>
                </a:lnTo>
                <a:lnTo>
                  <a:pt x="11549" y="1921"/>
                </a:lnTo>
                <a:lnTo>
                  <a:pt x="11489" y="1703"/>
                </a:lnTo>
                <a:lnTo>
                  <a:pt x="11430" y="1505"/>
                </a:lnTo>
                <a:lnTo>
                  <a:pt x="11350" y="1307"/>
                </a:lnTo>
                <a:lnTo>
                  <a:pt x="11251" y="1129"/>
                </a:lnTo>
                <a:lnTo>
                  <a:pt x="11133" y="970"/>
                </a:lnTo>
                <a:lnTo>
                  <a:pt x="11014" y="812"/>
                </a:lnTo>
                <a:lnTo>
                  <a:pt x="10894" y="673"/>
                </a:lnTo>
                <a:lnTo>
                  <a:pt x="10755" y="534"/>
                </a:lnTo>
                <a:lnTo>
                  <a:pt x="10617" y="436"/>
                </a:lnTo>
                <a:lnTo>
                  <a:pt x="10458" y="337"/>
                </a:lnTo>
                <a:lnTo>
                  <a:pt x="10298" y="238"/>
                </a:lnTo>
                <a:lnTo>
                  <a:pt x="10140" y="178"/>
                </a:lnTo>
                <a:lnTo>
                  <a:pt x="9962" y="119"/>
                </a:lnTo>
                <a:lnTo>
                  <a:pt x="9664" y="59"/>
                </a:lnTo>
                <a:lnTo>
                  <a:pt x="9248" y="19"/>
                </a:lnTo>
                <a:lnTo>
                  <a:pt x="8692" y="0"/>
                </a:lnTo>
                <a:lnTo>
                  <a:pt x="7997" y="0"/>
                </a:lnTo>
                <a:lnTo>
                  <a:pt x="5358" y="0"/>
                </a:lnTo>
                <a:lnTo>
                  <a:pt x="5358" y="3901"/>
                </a:lnTo>
                <a:close/>
                <a:moveTo>
                  <a:pt x="3334" y="4740"/>
                </a:moveTo>
                <a:lnTo>
                  <a:pt x="2805" y="5044"/>
                </a:lnTo>
                <a:lnTo>
                  <a:pt x="2516" y="5503"/>
                </a:lnTo>
                <a:lnTo>
                  <a:pt x="2210" y="6130"/>
                </a:lnTo>
                <a:lnTo>
                  <a:pt x="2177" y="6639"/>
                </a:lnTo>
                <a:lnTo>
                  <a:pt x="2262" y="6944"/>
                </a:lnTo>
                <a:lnTo>
                  <a:pt x="2041" y="7217"/>
                </a:lnTo>
                <a:lnTo>
                  <a:pt x="2025" y="7495"/>
                </a:lnTo>
                <a:lnTo>
                  <a:pt x="2022" y="7495"/>
                </a:lnTo>
                <a:lnTo>
                  <a:pt x="2013" y="7495"/>
                </a:lnTo>
                <a:lnTo>
                  <a:pt x="2005" y="7489"/>
                </a:lnTo>
                <a:lnTo>
                  <a:pt x="1964" y="7459"/>
                </a:lnTo>
                <a:lnTo>
                  <a:pt x="1496" y="7420"/>
                </a:lnTo>
                <a:lnTo>
                  <a:pt x="1157" y="7098"/>
                </a:lnTo>
                <a:lnTo>
                  <a:pt x="1190" y="6792"/>
                </a:lnTo>
                <a:lnTo>
                  <a:pt x="867" y="6725"/>
                </a:lnTo>
                <a:lnTo>
                  <a:pt x="680" y="7182"/>
                </a:lnTo>
                <a:lnTo>
                  <a:pt x="0" y="7759"/>
                </a:lnTo>
                <a:lnTo>
                  <a:pt x="51" y="8133"/>
                </a:lnTo>
                <a:lnTo>
                  <a:pt x="408" y="8116"/>
                </a:lnTo>
                <a:lnTo>
                  <a:pt x="680" y="8337"/>
                </a:lnTo>
                <a:lnTo>
                  <a:pt x="782" y="8812"/>
                </a:lnTo>
                <a:lnTo>
                  <a:pt x="1088" y="8777"/>
                </a:lnTo>
                <a:lnTo>
                  <a:pt x="1446" y="8845"/>
                </a:lnTo>
                <a:lnTo>
                  <a:pt x="1446" y="9083"/>
                </a:lnTo>
                <a:lnTo>
                  <a:pt x="955" y="9727"/>
                </a:lnTo>
                <a:lnTo>
                  <a:pt x="910" y="9726"/>
                </a:lnTo>
                <a:lnTo>
                  <a:pt x="629" y="9847"/>
                </a:lnTo>
                <a:lnTo>
                  <a:pt x="493" y="10118"/>
                </a:lnTo>
                <a:lnTo>
                  <a:pt x="289" y="10170"/>
                </a:lnTo>
                <a:lnTo>
                  <a:pt x="272" y="10508"/>
                </a:lnTo>
                <a:lnTo>
                  <a:pt x="562" y="10679"/>
                </a:lnTo>
                <a:lnTo>
                  <a:pt x="486" y="11392"/>
                </a:lnTo>
                <a:lnTo>
                  <a:pt x="467" y="11375"/>
                </a:lnTo>
                <a:lnTo>
                  <a:pt x="221" y="11679"/>
                </a:lnTo>
                <a:lnTo>
                  <a:pt x="102" y="11865"/>
                </a:lnTo>
                <a:lnTo>
                  <a:pt x="154" y="12120"/>
                </a:lnTo>
                <a:lnTo>
                  <a:pt x="408" y="12239"/>
                </a:lnTo>
                <a:lnTo>
                  <a:pt x="374" y="12630"/>
                </a:lnTo>
                <a:lnTo>
                  <a:pt x="1020" y="13037"/>
                </a:lnTo>
                <a:lnTo>
                  <a:pt x="1038" y="13783"/>
                </a:lnTo>
                <a:lnTo>
                  <a:pt x="1575" y="14804"/>
                </a:lnTo>
                <a:lnTo>
                  <a:pt x="1664" y="14971"/>
                </a:lnTo>
                <a:lnTo>
                  <a:pt x="1717" y="15073"/>
                </a:lnTo>
                <a:lnTo>
                  <a:pt x="1693" y="15698"/>
                </a:lnTo>
                <a:lnTo>
                  <a:pt x="2126" y="15929"/>
                </a:lnTo>
                <a:lnTo>
                  <a:pt x="2128" y="15930"/>
                </a:lnTo>
                <a:lnTo>
                  <a:pt x="2441" y="16131"/>
                </a:lnTo>
                <a:lnTo>
                  <a:pt x="2731" y="15930"/>
                </a:lnTo>
                <a:lnTo>
                  <a:pt x="2740" y="15924"/>
                </a:lnTo>
                <a:lnTo>
                  <a:pt x="2750" y="15925"/>
                </a:lnTo>
                <a:lnTo>
                  <a:pt x="3189" y="15949"/>
                </a:lnTo>
                <a:lnTo>
                  <a:pt x="3650" y="15667"/>
                </a:lnTo>
                <a:lnTo>
                  <a:pt x="3700" y="15317"/>
                </a:lnTo>
                <a:lnTo>
                  <a:pt x="3705" y="15287"/>
                </a:lnTo>
                <a:lnTo>
                  <a:pt x="3736" y="15291"/>
                </a:lnTo>
                <a:lnTo>
                  <a:pt x="4250" y="15360"/>
                </a:lnTo>
                <a:lnTo>
                  <a:pt x="4523" y="15274"/>
                </a:lnTo>
                <a:lnTo>
                  <a:pt x="4548" y="15267"/>
                </a:lnTo>
                <a:lnTo>
                  <a:pt x="4560" y="15290"/>
                </a:lnTo>
                <a:lnTo>
                  <a:pt x="4763" y="15696"/>
                </a:lnTo>
                <a:lnTo>
                  <a:pt x="5221" y="15859"/>
                </a:lnTo>
                <a:lnTo>
                  <a:pt x="5322" y="15769"/>
                </a:lnTo>
                <a:lnTo>
                  <a:pt x="5356" y="15182"/>
                </a:lnTo>
                <a:lnTo>
                  <a:pt x="5394" y="15211"/>
                </a:lnTo>
                <a:lnTo>
                  <a:pt x="5812" y="15138"/>
                </a:lnTo>
                <a:lnTo>
                  <a:pt x="6648" y="14707"/>
                </a:lnTo>
                <a:lnTo>
                  <a:pt x="6753" y="14562"/>
                </a:lnTo>
                <a:lnTo>
                  <a:pt x="6762" y="13869"/>
                </a:lnTo>
                <a:lnTo>
                  <a:pt x="6762" y="13867"/>
                </a:lnTo>
                <a:lnTo>
                  <a:pt x="6762" y="13865"/>
                </a:lnTo>
                <a:lnTo>
                  <a:pt x="6843" y="13393"/>
                </a:lnTo>
                <a:lnTo>
                  <a:pt x="6844" y="13385"/>
                </a:lnTo>
                <a:lnTo>
                  <a:pt x="6850" y="13378"/>
                </a:lnTo>
                <a:lnTo>
                  <a:pt x="7216" y="12945"/>
                </a:lnTo>
                <a:lnTo>
                  <a:pt x="7276" y="12917"/>
                </a:lnTo>
                <a:lnTo>
                  <a:pt x="7494" y="12993"/>
                </a:lnTo>
                <a:lnTo>
                  <a:pt x="7691" y="12984"/>
                </a:lnTo>
                <a:lnTo>
                  <a:pt x="8341" y="12405"/>
                </a:lnTo>
                <a:lnTo>
                  <a:pt x="8343" y="12404"/>
                </a:lnTo>
                <a:lnTo>
                  <a:pt x="8344" y="12402"/>
                </a:lnTo>
                <a:lnTo>
                  <a:pt x="8690" y="12159"/>
                </a:lnTo>
                <a:lnTo>
                  <a:pt x="8610" y="11941"/>
                </a:lnTo>
                <a:lnTo>
                  <a:pt x="8477" y="11579"/>
                </a:lnTo>
                <a:lnTo>
                  <a:pt x="8454" y="11540"/>
                </a:lnTo>
                <a:lnTo>
                  <a:pt x="8971" y="11250"/>
                </a:lnTo>
                <a:lnTo>
                  <a:pt x="8978" y="11246"/>
                </a:lnTo>
                <a:lnTo>
                  <a:pt x="8986" y="11246"/>
                </a:lnTo>
                <a:lnTo>
                  <a:pt x="9562" y="11227"/>
                </a:lnTo>
                <a:lnTo>
                  <a:pt x="10195" y="10846"/>
                </a:lnTo>
                <a:lnTo>
                  <a:pt x="10187" y="10824"/>
                </a:lnTo>
                <a:lnTo>
                  <a:pt x="10459" y="10783"/>
                </a:lnTo>
                <a:lnTo>
                  <a:pt x="10607" y="10570"/>
                </a:lnTo>
                <a:lnTo>
                  <a:pt x="10617" y="10557"/>
                </a:lnTo>
                <a:lnTo>
                  <a:pt x="10632" y="10556"/>
                </a:lnTo>
                <a:lnTo>
                  <a:pt x="11012" y="10526"/>
                </a:lnTo>
                <a:lnTo>
                  <a:pt x="11025" y="10525"/>
                </a:lnTo>
                <a:lnTo>
                  <a:pt x="11035" y="10536"/>
                </a:lnTo>
                <a:lnTo>
                  <a:pt x="11183" y="10675"/>
                </a:lnTo>
                <a:lnTo>
                  <a:pt x="11422" y="10539"/>
                </a:lnTo>
                <a:lnTo>
                  <a:pt x="11423" y="10529"/>
                </a:lnTo>
                <a:lnTo>
                  <a:pt x="12611" y="10537"/>
                </a:lnTo>
                <a:lnTo>
                  <a:pt x="12749" y="10445"/>
                </a:lnTo>
                <a:lnTo>
                  <a:pt x="12758" y="10439"/>
                </a:lnTo>
                <a:lnTo>
                  <a:pt x="12767" y="10440"/>
                </a:lnTo>
                <a:lnTo>
                  <a:pt x="13138" y="10449"/>
                </a:lnTo>
                <a:lnTo>
                  <a:pt x="13159" y="10450"/>
                </a:lnTo>
                <a:lnTo>
                  <a:pt x="13167" y="10470"/>
                </a:lnTo>
                <a:lnTo>
                  <a:pt x="13269" y="10758"/>
                </a:lnTo>
                <a:lnTo>
                  <a:pt x="13568" y="10889"/>
                </a:lnTo>
                <a:lnTo>
                  <a:pt x="13574" y="10891"/>
                </a:lnTo>
                <a:lnTo>
                  <a:pt x="13579" y="10895"/>
                </a:lnTo>
                <a:lnTo>
                  <a:pt x="13834" y="11155"/>
                </a:lnTo>
                <a:lnTo>
                  <a:pt x="14249" y="10732"/>
                </a:lnTo>
                <a:lnTo>
                  <a:pt x="14259" y="10723"/>
                </a:lnTo>
                <a:lnTo>
                  <a:pt x="14273" y="10723"/>
                </a:lnTo>
                <a:lnTo>
                  <a:pt x="15282" y="10742"/>
                </a:lnTo>
                <a:lnTo>
                  <a:pt x="15300" y="10107"/>
                </a:lnTo>
                <a:lnTo>
                  <a:pt x="15301" y="10096"/>
                </a:lnTo>
                <a:lnTo>
                  <a:pt x="15308" y="10087"/>
                </a:lnTo>
                <a:lnTo>
                  <a:pt x="15504" y="9874"/>
                </a:lnTo>
                <a:lnTo>
                  <a:pt x="15283" y="9653"/>
                </a:lnTo>
                <a:lnTo>
                  <a:pt x="14750" y="9786"/>
                </a:lnTo>
                <a:lnTo>
                  <a:pt x="14738" y="9790"/>
                </a:lnTo>
                <a:lnTo>
                  <a:pt x="14727" y="9782"/>
                </a:lnTo>
                <a:lnTo>
                  <a:pt x="13922" y="9313"/>
                </a:lnTo>
                <a:lnTo>
                  <a:pt x="13915" y="9308"/>
                </a:lnTo>
                <a:lnTo>
                  <a:pt x="13911" y="9301"/>
                </a:lnTo>
                <a:lnTo>
                  <a:pt x="13424" y="8407"/>
                </a:lnTo>
                <a:lnTo>
                  <a:pt x="12693" y="7965"/>
                </a:lnTo>
                <a:lnTo>
                  <a:pt x="11938" y="7926"/>
                </a:lnTo>
                <a:lnTo>
                  <a:pt x="11938" y="7974"/>
                </a:lnTo>
                <a:lnTo>
                  <a:pt x="11376" y="7974"/>
                </a:lnTo>
                <a:lnTo>
                  <a:pt x="7573" y="7974"/>
                </a:lnTo>
                <a:lnTo>
                  <a:pt x="7573" y="8602"/>
                </a:lnTo>
                <a:lnTo>
                  <a:pt x="7573" y="9162"/>
                </a:lnTo>
                <a:lnTo>
                  <a:pt x="7011" y="9162"/>
                </a:lnTo>
                <a:lnTo>
                  <a:pt x="5364" y="9162"/>
                </a:lnTo>
                <a:lnTo>
                  <a:pt x="4803" y="9162"/>
                </a:lnTo>
                <a:lnTo>
                  <a:pt x="4803" y="8602"/>
                </a:lnTo>
                <a:lnTo>
                  <a:pt x="4803" y="7974"/>
                </a:lnTo>
                <a:lnTo>
                  <a:pt x="3895" y="7974"/>
                </a:lnTo>
                <a:lnTo>
                  <a:pt x="3334" y="7974"/>
                </a:lnTo>
                <a:lnTo>
                  <a:pt x="3334" y="7413"/>
                </a:lnTo>
                <a:lnTo>
                  <a:pt x="3334" y="6127"/>
                </a:lnTo>
                <a:lnTo>
                  <a:pt x="3334" y="5915"/>
                </a:lnTo>
                <a:lnTo>
                  <a:pt x="3334" y="5566"/>
                </a:lnTo>
                <a:lnTo>
                  <a:pt x="3334" y="5354"/>
                </a:lnTo>
                <a:lnTo>
                  <a:pt x="3334" y="4740"/>
                </a:lnTo>
                <a:close/>
                <a:moveTo>
                  <a:pt x="8374" y="3882"/>
                </a:moveTo>
                <a:lnTo>
                  <a:pt x="7937" y="3901"/>
                </a:lnTo>
                <a:lnTo>
                  <a:pt x="7005" y="3901"/>
                </a:lnTo>
                <a:lnTo>
                  <a:pt x="7005" y="1446"/>
                </a:lnTo>
                <a:lnTo>
                  <a:pt x="7799" y="1446"/>
                </a:lnTo>
                <a:lnTo>
                  <a:pt x="8533" y="1465"/>
                </a:lnTo>
                <a:lnTo>
                  <a:pt x="8791" y="1485"/>
                </a:lnTo>
                <a:lnTo>
                  <a:pt x="8989" y="1505"/>
                </a:lnTo>
                <a:lnTo>
                  <a:pt x="9168" y="1565"/>
                </a:lnTo>
                <a:lnTo>
                  <a:pt x="9347" y="1643"/>
                </a:lnTo>
                <a:lnTo>
                  <a:pt x="9505" y="1762"/>
                </a:lnTo>
                <a:lnTo>
                  <a:pt x="9644" y="1900"/>
                </a:lnTo>
                <a:lnTo>
                  <a:pt x="9763" y="2060"/>
                </a:lnTo>
                <a:lnTo>
                  <a:pt x="9843" y="2237"/>
                </a:lnTo>
                <a:lnTo>
                  <a:pt x="9902" y="2436"/>
                </a:lnTo>
                <a:lnTo>
                  <a:pt x="9902" y="2673"/>
                </a:lnTo>
                <a:lnTo>
                  <a:pt x="9902" y="2851"/>
                </a:lnTo>
                <a:lnTo>
                  <a:pt x="9862" y="3030"/>
                </a:lnTo>
                <a:lnTo>
                  <a:pt x="9802" y="3188"/>
                </a:lnTo>
                <a:lnTo>
                  <a:pt x="9723" y="3346"/>
                </a:lnTo>
                <a:lnTo>
                  <a:pt x="9624" y="3485"/>
                </a:lnTo>
                <a:lnTo>
                  <a:pt x="9505" y="3584"/>
                </a:lnTo>
                <a:lnTo>
                  <a:pt x="9366" y="3683"/>
                </a:lnTo>
                <a:lnTo>
                  <a:pt x="9207" y="3763"/>
                </a:lnTo>
                <a:lnTo>
                  <a:pt x="9009" y="3822"/>
                </a:lnTo>
                <a:lnTo>
                  <a:pt x="8731" y="3861"/>
                </a:lnTo>
                <a:lnTo>
                  <a:pt x="8374" y="3882"/>
                </a:lnTo>
                <a:close/>
              </a:path>
            </a:pathLst>
          </a:custGeom>
          <a:solidFill>
            <a:schemeClr val="accent4">
              <a:lumMod val="90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2029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0094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sz="2000" dirty="0">
                <a:solidFill>
                  <a:srgbClr val="004077"/>
                </a:solidFill>
              </a:rPr>
              <a:t>В 2014 году на МНПЗ запущено производство высококачественного вяжущего ПМБ </a:t>
            </a:r>
            <a:r>
              <a:rPr lang="en-US" sz="2000" dirty="0">
                <a:solidFill>
                  <a:srgbClr val="004077"/>
                </a:solidFill>
              </a:rPr>
              <a:t>G-WAY</a:t>
            </a:r>
            <a:r>
              <a:rPr lang="ru-RU" sz="2000" dirty="0">
                <a:solidFill>
                  <a:srgbClr val="004077"/>
                </a:solidFill>
              </a:rPr>
              <a:t> </a:t>
            </a:r>
            <a:r>
              <a:rPr lang="en-US" sz="2000" dirty="0">
                <a:solidFill>
                  <a:srgbClr val="004077"/>
                </a:solidFill>
              </a:rPr>
              <a:t>STYRELF</a:t>
            </a:r>
            <a:r>
              <a:rPr lang="ru-RU" sz="2000" dirty="0">
                <a:solidFill>
                  <a:srgbClr val="004077"/>
                </a:solidFill>
              </a:rPr>
              <a:t> в рамках СП с</a:t>
            </a:r>
            <a:r>
              <a:rPr lang="en-US" sz="2000" dirty="0">
                <a:solidFill>
                  <a:srgbClr val="004077"/>
                </a:solidFill>
              </a:rPr>
              <a:t> Total</a:t>
            </a:r>
            <a:endParaRPr lang="ru-RU" sz="2000" dirty="0"/>
          </a:p>
        </p:txBody>
      </p:sp>
      <p:sp>
        <p:nvSpPr>
          <p:cNvPr id="4" name="Bar3_1_solid"/>
          <p:cNvSpPr/>
          <p:nvPr>
            <p:custDataLst>
              <p:tags r:id="rId4"/>
            </p:custDataLst>
          </p:nvPr>
        </p:nvSpPr>
        <p:spPr bwMode="auto">
          <a:xfrm>
            <a:off x="287338" y="1232316"/>
            <a:ext cx="5005387" cy="648512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/>
            <a:tailEnd/>
          </a:ln>
          <a:effectLst/>
        </p:spPr>
        <p:txBody>
          <a:bodyPr wrap="square" lIns="90000" tIns="46800" rIns="90000" bIns="46800" rtlCol="0" anchor="ctr">
            <a:spAutoFit/>
          </a:bodyPr>
          <a:lstStyle/>
          <a:p>
            <a:r>
              <a:rPr lang="en-US" sz="1200" b="1" dirty="0" err="1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yrelf</a:t>
            </a:r>
            <a:r>
              <a:rPr lang="en-US" sz="12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b="1" baseline="30000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ru-RU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запатентованная технология </a:t>
            </a:r>
            <a:r>
              <a:rPr lang="ru-RU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оизводства                               и продуктовой </a:t>
            </a:r>
            <a:r>
              <a:rPr lang="ru-RU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линейки в </a:t>
            </a:r>
            <a:r>
              <a:rPr lang="ru-RU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ассортименте </a:t>
            </a:r>
            <a:r>
              <a:rPr lang="ru-RU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МБ компании </a:t>
            </a:r>
            <a:r>
              <a:rPr lang="en-US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TOTAL</a:t>
            </a:r>
            <a:r>
              <a:rPr lang="ru-RU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. Мировой опыт </a:t>
            </a:r>
            <a:r>
              <a:rPr lang="ru-RU" sz="12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именения </a:t>
            </a:r>
            <a:r>
              <a:rPr lang="ru-RU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родуктов </a:t>
            </a:r>
            <a:r>
              <a:rPr lang="en-US" sz="1200" dirty="0" err="1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Styrelf</a:t>
            </a:r>
            <a:r>
              <a:rPr lang="ru-RU" sz="12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200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200" kern="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более 30 </a:t>
            </a:r>
            <a:r>
              <a:rPr lang="ru-RU" sz="1200" kern="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лет.</a:t>
            </a:r>
            <a:endParaRPr lang="ru-RU" sz="1200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287337" y="2204864"/>
            <a:ext cx="5150713" cy="1672518"/>
          </a:xfrm>
          <a:prstGeom prst="rect">
            <a:avLst/>
          </a:prstGeom>
          <a:noFill/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ru-RU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сновные модификации </a:t>
            </a:r>
            <a:r>
              <a:rPr lang="ru-RU" sz="1600" b="1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ПМБ </a:t>
            </a:r>
            <a:r>
              <a:rPr lang="en-US" sz="16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-Way </a:t>
            </a:r>
            <a:r>
              <a:rPr lang="en-US" sz="1600" b="1" dirty="0" err="1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yrelf</a:t>
            </a:r>
            <a:r>
              <a:rPr lang="ru-RU" sz="16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285750" indent="-1968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Стандарт</a:t>
            </a:r>
            <a:r>
              <a:rPr lang="ru-RU" sz="1600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– превосходит ряд нормативных требований и </a:t>
            </a:r>
            <a:r>
              <a:rPr lang="ru-RU" sz="1400" b="1" dirty="0" smtClean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полностью соответствует  требованиям  российских и европейских стандартов</a:t>
            </a:r>
          </a:p>
          <a:p>
            <a:pPr marL="285750" indent="-1968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6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Премиум</a:t>
            </a:r>
            <a:r>
              <a:rPr lang="ru-RU" sz="1600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бладают значительным запасом </a:t>
            </a:r>
            <a:r>
              <a:rPr lang="ru-RU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              по </a:t>
            </a:r>
            <a:r>
              <a:rPr lang="ru-RU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качеству </a:t>
            </a:r>
            <a:r>
              <a:rPr lang="ru-RU" sz="1400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и позволяет </a:t>
            </a:r>
            <a:r>
              <a:rPr lang="ru-RU" sz="1400" dirty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обеспечить </a:t>
            </a:r>
            <a:r>
              <a:rPr lang="ru-RU" sz="1400" b="1" dirty="0">
                <a:solidFill>
                  <a:schemeClr val="accent3"/>
                </a:solidFill>
                <a:latin typeface="Arial" pitchFamily="34" charset="0"/>
                <a:cs typeface="Arial" pitchFamily="34" charset="0"/>
              </a:rPr>
              <a:t>высочайшие эксплуатационные характеристики</a:t>
            </a:r>
            <a:endParaRPr lang="ru-RU" sz="1400" b="1" dirty="0" smtClean="0">
              <a:solidFill>
                <a:schemeClr val="accent3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6"/>
            </p:custDataLst>
          </p:nvPr>
        </p:nvSpPr>
        <p:spPr>
          <a:xfrm>
            <a:off x="287337" y="4153439"/>
            <a:ext cx="5148760" cy="2194021"/>
          </a:xfrm>
          <a:prstGeom prst="rect">
            <a:avLst/>
          </a:prstGeom>
          <a:noFill/>
          <a:ln w="158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300"/>
              </a:spcBef>
            </a:pPr>
            <a:r>
              <a:rPr lang="ru-RU" sz="1600" b="1" dirty="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rPr>
              <a:t>Исключительные преимущества                                     ПМБ </a:t>
            </a:r>
            <a:r>
              <a:rPr lang="en-US" sz="16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-Way </a:t>
            </a:r>
            <a:r>
              <a:rPr lang="en-US" sz="1600" b="1" dirty="0" err="1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yrelf</a:t>
            </a:r>
            <a:r>
              <a:rPr lang="ru-RU" sz="1600" b="1" dirty="0" smtClean="0">
                <a:solidFill>
                  <a:srgbClr val="3C3C3C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 marL="285750" indent="-1968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яет качественные 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ктеристики </a:t>
            </a: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</a:t>
            </a:r>
            <a:r>
              <a:rPr lang="ru-RU" sz="14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цессе транспортировки  и длительного хранения</a:t>
            </a:r>
          </a:p>
          <a:p>
            <a:pPr marL="285750" indent="-1968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применяются  пластификаторы</a:t>
            </a:r>
          </a:p>
          <a:p>
            <a:pPr marL="285750" indent="-1968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ая 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держка</a:t>
            </a:r>
          </a:p>
          <a:p>
            <a:pPr marL="285750" indent="-1968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ка рецептур велась в 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Ц TOTAL</a:t>
            </a:r>
          </a:p>
          <a:p>
            <a:pPr marL="285750" indent="-1968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а доставка продукции до места использования                                                                                                                  в </a:t>
            </a:r>
            <a:r>
              <a:rPr lang="ru-RU" sz="1400" b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рендированном</a:t>
            </a:r>
            <a:r>
              <a:rPr lang="ru-RU" sz="14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ранспорте </a:t>
            </a:r>
            <a:r>
              <a:rPr lang="ru-RU" sz="1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гарантия качества)</a:t>
            </a:r>
          </a:p>
        </p:txBody>
      </p:sp>
      <p:pic>
        <p:nvPicPr>
          <p:cNvPr id="31768" name="Picture 24" descr="\\gazprom-neft.local\dfs\Газпром нефть\Папки пользователей\Личные папки\Biryulin.DL\My Documents\My Pictures\254.pn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998" y="1232756"/>
            <a:ext cx="3401478" cy="51147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>
            <p:custDataLst>
              <p:tags r:id="rId8"/>
            </p:custDataLst>
          </p:nvPr>
        </p:nvSpPr>
        <p:spPr>
          <a:xfrm>
            <a:off x="5454997" y="5698993"/>
            <a:ext cx="3382483" cy="646331"/>
          </a:xfrm>
          <a:prstGeom prst="rect">
            <a:avLst/>
          </a:prstGeom>
          <a:solidFill>
            <a:schemeClr val="accent1">
              <a:alpha val="65000"/>
            </a:schemeClr>
          </a:solidFill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G-Way </a:t>
            </a:r>
            <a:r>
              <a:rPr lang="en-US" sz="1200" b="1" dirty="0" err="1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tyrelf</a:t>
            </a:r>
            <a:r>
              <a:rPr lang="ru-RU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</a:t>
            </a:r>
            <a:endParaRPr lang="ru-RU" sz="12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85725"/>
            <a:r>
              <a:rPr lang="ru-RU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014 г. согласовано СТО в ГК </a:t>
            </a:r>
            <a:r>
              <a:rPr lang="ru-RU" sz="1200" b="1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втодор</a:t>
            </a:r>
            <a:endParaRPr lang="ru-RU" sz="12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85725"/>
            <a:r>
              <a:rPr lang="ru-RU" sz="12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</a:t>
            </a:r>
            <a:r>
              <a:rPr lang="ru-RU" sz="12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2015 г. согласовано СТО в ФДА 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>
            <p:custDataLst>
              <p:tags r:id="rId9"/>
            </p:custDataLst>
          </p:nvPr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4997" y="1052736"/>
            <a:ext cx="3401666" cy="1181628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5454998" y="2221704"/>
            <a:ext cx="3382482" cy="523220"/>
          </a:xfrm>
          <a:prstGeom prst="rect">
            <a:avLst/>
          </a:prstGeom>
          <a:solidFill>
            <a:schemeClr val="accent6">
              <a:alpha val="66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Высший рейтинг по американской системе оценки </a:t>
            </a:r>
            <a:r>
              <a:rPr lang="en-US" sz="14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uperpave</a:t>
            </a:r>
            <a:r>
              <a:rPr lang="ru-RU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11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5840479" y="4234505"/>
            <a:ext cx="2295917" cy="670659"/>
          </a:xfrm>
          <a:prstGeom prst="rect">
            <a:avLst/>
          </a:prstGeom>
        </p:spPr>
      </p:pic>
      <p:sp>
        <p:nvSpPr>
          <p:cNvPr id="5" name="arrow10_2_solid"/>
          <p:cNvSpPr/>
          <p:nvPr>
            <p:custDataLst>
              <p:tags r:id="rId2"/>
            </p:custDataLst>
          </p:nvPr>
        </p:nvSpPr>
        <p:spPr bwMode="auto">
          <a:xfrm>
            <a:off x="276268" y="1196752"/>
            <a:ext cx="4054776" cy="707886"/>
          </a:xfrm>
          <a:prstGeom prst="rightArrow">
            <a:avLst>
              <a:gd name="adj1" fmla="val 100000"/>
              <a:gd name="adj2" fmla="val 46602"/>
            </a:avLst>
          </a:prstGeom>
          <a:solidFill>
            <a:schemeClr val="accent4">
              <a:lumMod val="90000"/>
            </a:schemeClr>
          </a:solidFill>
          <a:ln w="12700">
            <a:noFill/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rgbClr val="00559B"/>
                </a:solidFill>
                <a:cs typeface="Arial" charset="0"/>
              </a:rPr>
              <a:t> </a:t>
            </a:r>
            <a:endParaRPr lang="ru-RU" sz="1400" dirty="0">
              <a:solidFill>
                <a:srgbClr val="00559B"/>
              </a:solidFill>
              <a:cs typeface="Arial" charset="0"/>
            </a:endParaRPr>
          </a:p>
        </p:txBody>
      </p:sp>
      <p:sp>
        <p:nvSpPr>
          <p:cNvPr id="6" name="TextBox 5"/>
          <p:cNvSpPr txBox="1"/>
          <p:nvPr>
            <p:custDataLst>
              <p:tags r:id="rId3"/>
            </p:custDataLst>
          </p:nvPr>
        </p:nvSpPr>
        <p:spPr>
          <a:xfrm>
            <a:off x="276267" y="1306118"/>
            <a:ext cx="4011356" cy="50270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ru-RU"/>
            </a:defPPr>
            <a:lvl1pPr algn="ctr">
              <a:lnSpc>
                <a:spcPts val="1600"/>
              </a:lnSpc>
              <a:defRPr sz="1600" b="1"/>
            </a:lvl1pPr>
          </a:lstStyle>
          <a:p>
            <a:r>
              <a:rPr lang="ru-RU" sz="1400" dirty="0">
                <a:solidFill>
                  <a:schemeClr val="bg1"/>
                </a:solidFill>
              </a:rPr>
              <a:t>Научно-исследовательская поддержка производства </a:t>
            </a:r>
            <a:r>
              <a:rPr lang="ru-RU" sz="1400" dirty="0" smtClean="0">
                <a:solidFill>
                  <a:schemeClr val="accent2"/>
                </a:solidFill>
              </a:rPr>
              <a:t>битумных материалов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7" name="TextBox 6"/>
          <p:cNvSpPr txBox="1"/>
          <p:nvPr>
            <p:custDataLst>
              <p:tags r:id="rId4"/>
            </p:custDataLst>
          </p:nvPr>
        </p:nvSpPr>
        <p:spPr>
          <a:xfrm>
            <a:off x="4348184" y="1196752"/>
            <a:ext cx="4508480" cy="707886"/>
          </a:xfrm>
          <a:prstGeom prst="rect">
            <a:avLst/>
          </a:prstGeom>
          <a:solidFill>
            <a:schemeClr val="accent4"/>
          </a:solidFill>
        </p:spPr>
        <p:txBody>
          <a:bodyPr wrap="square" lIns="0" r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400" b="1" dirty="0" smtClean="0">
                <a:solidFill>
                  <a:schemeClr val="bg1"/>
                </a:solidFill>
              </a:rPr>
              <a:t>Научно-техническое сопровождение    применения и эксплуатации </a:t>
            </a:r>
            <a:r>
              <a:rPr lang="ru-RU" sz="1400" b="1" dirty="0" smtClean="0">
                <a:solidFill>
                  <a:schemeClr val="accent2"/>
                </a:solidFill>
              </a:rPr>
              <a:t>битумных материалов в составе асфальтобетона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6160750"/>
              </p:ext>
            </p:extLst>
          </p:nvPr>
        </p:nvGraphicFramePr>
        <p:xfrm>
          <a:off x="287524" y="2492896"/>
          <a:ext cx="3564395" cy="2164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0198"/>
                <a:gridCol w="1004077"/>
                <a:gridCol w="1080120"/>
              </a:tblGrid>
              <a:tr h="336148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2"/>
                          </a:solidFill>
                        </a:rPr>
                        <a:t>Показатель</a:t>
                      </a:r>
                      <a:endParaRPr lang="ru-RU" sz="1400" dirty="0">
                        <a:solidFill>
                          <a:schemeClr val="bg2"/>
                        </a:solidFill>
                      </a:endParaRP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bg2"/>
                          </a:solidFill>
                        </a:rPr>
                        <a:t>ПБВ</a:t>
                      </a:r>
                    </a:p>
                    <a:p>
                      <a:pPr algn="ctr"/>
                      <a:r>
                        <a:rPr lang="ru-RU" sz="1200" b="0" dirty="0" smtClean="0">
                          <a:solidFill>
                            <a:schemeClr val="bg2"/>
                          </a:solidFill>
                        </a:rPr>
                        <a:t>(по ГОСТ)</a:t>
                      </a:r>
                      <a:endParaRPr lang="ru-RU" sz="1200" b="0" dirty="0">
                        <a:solidFill>
                          <a:schemeClr val="bg2"/>
                        </a:solidFill>
                      </a:endParaRP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</a:rPr>
                        <a:t>G-WAY STYRELF 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b">
                    <a:solidFill>
                      <a:schemeClr val="accent6"/>
                    </a:solidFill>
                  </a:tcPr>
                </a:tc>
              </a:tr>
              <a:tr h="2464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accent1"/>
                          </a:solidFill>
                        </a:rPr>
                        <a:t>Максимальное усилие при растяжении</a:t>
                      </a:r>
                      <a:r>
                        <a:rPr lang="ru-RU" sz="1200" dirty="0" smtClean="0"/>
                        <a:t>             (при </a:t>
                      </a:r>
                      <a:r>
                        <a:rPr lang="ru-RU" sz="1200" b="0" dirty="0" smtClean="0">
                          <a:solidFill>
                            <a:srgbClr val="C00000"/>
                          </a:solidFill>
                        </a:rPr>
                        <a:t>0</a:t>
                      </a:r>
                      <a:r>
                        <a:rPr lang="ru-RU" sz="1200" b="0" baseline="30000" dirty="0" smtClean="0">
                          <a:solidFill>
                            <a:srgbClr val="C00000"/>
                          </a:solidFill>
                        </a:rPr>
                        <a:t>0</a:t>
                      </a:r>
                      <a:r>
                        <a:rPr lang="ru-RU" sz="1200" b="0" dirty="0" smtClean="0">
                          <a:solidFill>
                            <a:srgbClr val="C00000"/>
                          </a:solidFill>
                        </a:rPr>
                        <a:t>С</a:t>
                      </a:r>
                      <a:r>
                        <a:rPr lang="ru-RU" sz="1200" dirty="0" smtClean="0"/>
                        <a:t>), Н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54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120</a:t>
                      </a: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1734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solidFill>
                            <a:schemeClr val="accent1"/>
                          </a:solidFill>
                        </a:rPr>
                        <a:t>Максимальное усилие при растяжении</a:t>
                      </a:r>
                      <a:endParaRPr lang="ru-RU" sz="1200" dirty="0" smtClean="0"/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(при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25</a:t>
                      </a:r>
                      <a:r>
                        <a:rPr lang="ru-RU" sz="1200" baseline="30000" dirty="0" smtClean="0">
                          <a:solidFill>
                            <a:srgbClr val="C00000"/>
                          </a:solidFill>
                        </a:rPr>
                        <a:t>0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С</a:t>
                      </a:r>
                      <a:r>
                        <a:rPr lang="ru-RU" sz="1200" dirty="0" smtClean="0"/>
                        <a:t>), Н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,8</a:t>
                      </a:r>
                      <a:endParaRPr lang="ru-RU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2,8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3939031"/>
              </p:ext>
            </p:extLst>
          </p:nvPr>
        </p:nvGraphicFramePr>
        <p:xfrm>
          <a:off x="5286856" y="2497636"/>
          <a:ext cx="3568258" cy="161544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661408"/>
                <a:gridCol w="900100"/>
                <a:gridCol w="1006750"/>
              </a:tblGrid>
              <a:tr h="42004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bg2"/>
                          </a:solidFill>
                        </a:rPr>
                        <a:t>Показатель</a:t>
                      </a: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bg2"/>
                          </a:solidFill>
                        </a:rPr>
                        <a:t>ПБВ</a:t>
                      </a:r>
                    </a:p>
                    <a:p>
                      <a:pPr algn="ctr"/>
                      <a:r>
                        <a:rPr lang="ru-RU" sz="1200" b="0" dirty="0" smtClean="0">
                          <a:solidFill>
                            <a:schemeClr val="bg2"/>
                          </a:solidFill>
                        </a:rPr>
                        <a:t>(по ГОСТ)</a:t>
                      </a:r>
                      <a:endParaRPr lang="ru-RU" sz="1200" b="0" dirty="0">
                        <a:solidFill>
                          <a:schemeClr val="bg2"/>
                        </a:solidFill>
                      </a:endParaRPr>
                    </a:p>
                  </a:txBody>
                  <a:tcPr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G-WAY STYRELF </a:t>
                      </a:r>
                      <a:endParaRPr lang="ru-RU" sz="1400" dirty="0" smtClean="0"/>
                    </a:p>
                  </a:txBody>
                  <a:tcPr anchor="b">
                    <a:solidFill>
                      <a:schemeClr val="accent6"/>
                    </a:solidFill>
                  </a:tcPr>
                </a:tc>
              </a:tr>
              <a:tr h="420047">
                <a:tc>
                  <a:txBody>
                    <a:bodyPr/>
                    <a:lstStyle/>
                    <a:p>
                      <a:r>
                        <a:rPr lang="ru-RU" sz="1200" b="1" dirty="0" err="1" smtClean="0">
                          <a:solidFill>
                            <a:schemeClr val="tx2"/>
                          </a:solidFill>
                        </a:rPr>
                        <a:t>Трещиностойкость</a:t>
                      </a:r>
                      <a:r>
                        <a:rPr lang="ru-RU" sz="1200" dirty="0" smtClean="0">
                          <a:solidFill>
                            <a:schemeClr val="tx2"/>
                          </a:solidFill>
                        </a:rPr>
                        <a:t> (</a:t>
                      </a:r>
                      <a:r>
                        <a:rPr lang="ru-RU" sz="1200" dirty="0" smtClean="0"/>
                        <a:t>при 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0°С)</a:t>
                      </a:r>
                      <a:r>
                        <a:rPr lang="ru-RU" sz="1200" dirty="0" smtClean="0"/>
                        <a:t>, Мпа</a:t>
                      </a:r>
                      <a:endParaRPr lang="ru-RU" sz="12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3,9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4,6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420047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solidFill>
                            <a:schemeClr val="tx2"/>
                          </a:solidFill>
                        </a:rPr>
                        <a:t>Значение колеи </a:t>
                      </a:r>
                      <a:r>
                        <a:rPr lang="ru-RU" sz="1200" dirty="0" smtClean="0"/>
                        <a:t>(после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</a:rPr>
                        <a:t>2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0 000</a:t>
                      </a:r>
                      <a:r>
                        <a:rPr lang="ru-RU" sz="1200" dirty="0" smtClean="0"/>
                        <a:t> проходов), мм</a:t>
                      </a:r>
                      <a:endParaRPr lang="ru-RU" sz="1200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,3</a:t>
                      </a:r>
                      <a:endParaRPr lang="ru-RU" sz="1600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bg1"/>
                          </a:solidFill>
                        </a:rPr>
                        <a:t>1,7</a:t>
                      </a:r>
                      <a:endParaRPr lang="ru-RU" sz="16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0" name="trian14_3_solid"/>
          <p:cNvSpPr/>
          <p:nvPr/>
        </p:nvSpPr>
        <p:spPr>
          <a:xfrm>
            <a:off x="4191123" y="2996952"/>
            <a:ext cx="761754" cy="877250"/>
          </a:xfrm>
          <a:prstGeom prst="homePlate">
            <a:avLst>
              <a:gd name="adj" fmla="val 96563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11" name="Picture96"/>
          <p:cNvSpPr>
            <a:spLocks noEditPoints="1"/>
          </p:cNvSpPr>
          <p:nvPr/>
        </p:nvSpPr>
        <p:spPr bwMode="auto">
          <a:xfrm>
            <a:off x="293628" y="2096852"/>
            <a:ext cx="250050" cy="345434"/>
          </a:xfrm>
          <a:custGeom>
            <a:avLst/>
            <a:gdLst>
              <a:gd name="T0" fmla="*/ 455 w 609"/>
              <a:gd name="T1" fmla="*/ 261 h 912"/>
              <a:gd name="T2" fmla="*/ 385 w 609"/>
              <a:gd name="T3" fmla="*/ 152 h 912"/>
              <a:gd name="T4" fmla="*/ 305 w 609"/>
              <a:gd name="T5" fmla="*/ 0 h 912"/>
              <a:gd name="T6" fmla="*/ 244 w 609"/>
              <a:gd name="T7" fmla="*/ 118 h 912"/>
              <a:gd name="T8" fmla="*/ 180 w 609"/>
              <a:gd name="T9" fmla="*/ 222 h 912"/>
              <a:gd name="T10" fmla="*/ 122 w 609"/>
              <a:gd name="T11" fmla="*/ 305 h 912"/>
              <a:gd name="T12" fmla="*/ 77 w 609"/>
              <a:gd name="T13" fmla="*/ 370 h 912"/>
              <a:gd name="T14" fmla="*/ 43 w 609"/>
              <a:gd name="T15" fmla="*/ 430 h 912"/>
              <a:gd name="T16" fmla="*/ 20 w 609"/>
              <a:gd name="T17" fmla="*/ 486 h 912"/>
              <a:gd name="T18" fmla="*/ 6 w 609"/>
              <a:gd name="T19" fmla="*/ 540 h 912"/>
              <a:gd name="T20" fmla="*/ 1 w 609"/>
              <a:gd name="T21" fmla="*/ 591 h 912"/>
              <a:gd name="T22" fmla="*/ 1 w 609"/>
              <a:gd name="T23" fmla="*/ 624 h 912"/>
              <a:gd name="T24" fmla="*/ 6 w 609"/>
              <a:gd name="T25" fmla="*/ 670 h 912"/>
              <a:gd name="T26" fmla="*/ 18 w 609"/>
              <a:gd name="T27" fmla="*/ 712 h 912"/>
              <a:gd name="T28" fmla="*/ 37 w 609"/>
              <a:gd name="T29" fmla="*/ 753 h 912"/>
              <a:gd name="T30" fmla="*/ 60 w 609"/>
              <a:gd name="T31" fmla="*/ 791 h 912"/>
              <a:gd name="T32" fmla="*/ 89 w 609"/>
              <a:gd name="T33" fmla="*/ 823 h 912"/>
              <a:gd name="T34" fmla="*/ 122 w 609"/>
              <a:gd name="T35" fmla="*/ 852 h 912"/>
              <a:gd name="T36" fmla="*/ 160 w 609"/>
              <a:gd name="T37" fmla="*/ 876 h 912"/>
              <a:gd name="T38" fmla="*/ 200 w 609"/>
              <a:gd name="T39" fmla="*/ 894 h 912"/>
              <a:gd name="T40" fmla="*/ 244 w 609"/>
              <a:gd name="T41" fmla="*/ 907 h 912"/>
              <a:gd name="T42" fmla="*/ 289 w 609"/>
              <a:gd name="T43" fmla="*/ 912 h 912"/>
              <a:gd name="T44" fmla="*/ 320 w 609"/>
              <a:gd name="T45" fmla="*/ 912 h 912"/>
              <a:gd name="T46" fmla="*/ 366 w 609"/>
              <a:gd name="T47" fmla="*/ 907 h 912"/>
              <a:gd name="T48" fmla="*/ 409 w 609"/>
              <a:gd name="T49" fmla="*/ 894 h 912"/>
              <a:gd name="T50" fmla="*/ 450 w 609"/>
              <a:gd name="T51" fmla="*/ 876 h 912"/>
              <a:gd name="T52" fmla="*/ 487 w 609"/>
              <a:gd name="T53" fmla="*/ 852 h 912"/>
              <a:gd name="T54" fmla="*/ 520 w 609"/>
              <a:gd name="T55" fmla="*/ 823 h 912"/>
              <a:gd name="T56" fmla="*/ 549 w 609"/>
              <a:gd name="T57" fmla="*/ 791 h 912"/>
              <a:gd name="T58" fmla="*/ 572 w 609"/>
              <a:gd name="T59" fmla="*/ 753 h 912"/>
              <a:gd name="T60" fmla="*/ 591 w 609"/>
              <a:gd name="T61" fmla="*/ 712 h 912"/>
              <a:gd name="T62" fmla="*/ 603 w 609"/>
              <a:gd name="T63" fmla="*/ 670 h 912"/>
              <a:gd name="T64" fmla="*/ 609 w 609"/>
              <a:gd name="T65" fmla="*/ 624 h 912"/>
              <a:gd name="T66" fmla="*/ 609 w 609"/>
              <a:gd name="T67" fmla="*/ 591 h 912"/>
              <a:gd name="T68" fmla="*/ 603 w 609"/>
              <a:gd name="T69" fmla="*/ 540 h 912"/>
              <a:gd name="T70" fmla="*/ 589 w 609"/>
              <a:gd name="T71" fmla="*/ 486 h 912"/>
              <a:gd name="T72" fmla="*/ 566 w 609"/>
              <a:gd name="T73" fmla="*/ 430 h 912"/>
              <a:gd name="T74" fmla="*/ 533 w 609"/>
              <a:gd name="T75" fmla="*/ 370 h 912"/>
              <a:gd name="T76" fmla="*/ 488 w 609"/>
              <a:gd name="T77" fmla="*/ 305 h 912"/>
              <a:gd name="T78" fmla="*/ 305 w 609"/>
              <a:gd name="T79" fmla="*/ 882 h 912"/>
              <a:gd name="T80" fmla="*/ 321 w 609"/>
              <a:gd name="T81" fmla="*/ 838 h 912"/>
              <a:gd name="T82" fmla="*/ 371 w 609"/>
              <a:gd name="T83" fmla="*/ 827 h 912"/>
              <a:gd name="T84" fmla="*/ 416 w 609"/>
              <a:gd name="T85" fmla="*/ 807 h 912"/>
              <a:gd name="T86" fmla="*/ 456 w 609"/>
              <a:gd name="T87" fmla="*/ 777 h 912"/>
              <a:gd name="T88" fmla="*/ 492 w 609"/>
              <a:gd name="T89" fmla="*/ 738 h 912"/>
              <a:gd name="T90" fmla="*/ 521 w 609"/>
              <a:gd name="T91" fmla="*/ 692 h 912"/>
              <a:gd name="T92" fmla="*/ 554 w 609"/>
              <a:gd name="T93" fmla="*/ 721 h 912"/>
              <a:gd name="T94" fmla="*/ 522 w 609"/>
              <a:gd name="T95" fmla="*/ 775 h 912"/>
              <a:gd name="T96" fmla="*/ 480 w 609"/>
              <a:gd name="T97" fmla="*/ 819 h 912"/>
              <a:gd name="T98" fmla="*/ 429 w 609"/>
              <a:gd name="T99" fmla="*/ 853 h 912"/>
              <a:gd name="T100" fmla="*/ 369 w 609"/>
              <a:gd name="T101" fmla="*/ 874 h 912"/>
              <a:gd name="T102" fmla="*/ 305 w 609"/>
              <a:gd name="T103" fmla="*/ 882 h 912"/>
              <a:gd name="T104" fmla="*/ 532 w 609"/>
              <a:gd name="T105" fmla="*/ 652 h 912"/>
              <a:gd name="T106" fmla="*/ 535 w 609"/>
              <a:gd name="T107" fmla="*/ 608 h 912"/>
              <a:gd name="T108" fmla="*/ 579 w 609"/>
              <a:gd name="T109" fmla="*/ 608 h 912"/>
              <a:gd name="T110" fmla="*/ 575 w 609"/>
              <a:gd name="T111" fmla="*/ 658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09" h="912">
                <a:moveTo>
                  <a:pt x="488" y="305"/>
                </a:moveTo>
                <a:lnTo>
                  <a:pt x="488" y="305"/>
                </a:lnTo>
                <a:lnTo>
                  <a:pt x="455" y="261"/>
                </a:lnTo>
                <a:lnTo>
                  <a:pt x="429" y="222"/>
                </a:lnTo>
                <a:lnTo>
                  <a:pt x="405" y="187"/>
                </a:lnTo>
                <a:lnTo>
                  <a:pt x="385" y="152"/>
                </a:lnTo>
                <a:lnTo>
                  <a:pt x="365" y="118"/>
                </a:lnTo>
                <a:lnTo>
                  <a:pt x="346" y="82"/>
                </a:lnTo>
                <a:lnTo>
                  <a:pt x="305" y="0"/>
                </a:lnTo>
                <a:lnTo>
                  <a:pt x="305" y="0"/>
                </a:lnTo>
                <a:lnTo>
                  <a:pt x="263" y="82"/>
                </a:lnTo>
                <a:lnTo>
                  <a:pt x="244" y="118"/>
                </a:lnTo>
                <a:lnTo>
                  <a:pt x="224" y="152"/>
                </a:lnTo>
                <a:lnTo>
                  <a:pt x="204" y="187"/>
                </a:lnTo>
                <a:lnTo>
                  <a:pt x="180" y="222"/>
                </a:lnTo>
                <a:lnTo>
                  <a:pt x="154" y="261"/>
                </a:lnTo>
                <a:lnTo>
                  <a:pt x="122" y="305"/>
                </a:lnTo>
                <a:lnTo>
                  <a:pt x="122" y="305"/>
                </a:lnTo>
                <a:lnTo>
                  <a:pt x="105" y="327"/>
                </a:lnTo>
                <a:lnTo>
                  <a:pt x="90" y="349"/>
                </a:lnTo>
                <a:lnTo>
                  <a:pt x="77" y="370"/>
                </a:lnTo>
                <a:lnTo>
                  <a:pt x="64" y="391"/>
                </a:lnTo>
                <a:lnTo>
                  <a:pt x="54" y="410"/>
                </a:lnTo>
                <a:lnTo>
                  <a:pt x="43" y="430"/>
                </a:lnTo>
                <a:lnTo>
                  <a:pt x="34" y="448"/>
                </a:lnTo>
                <a:lnTo>
                  <a:pt x="27" y="468"/>
                </a:lnTo>
                <a:lnTo>
                  <a:pt x="20" y="486"/>
                </a:lnTo>
                <a:lnTo>
                  <a:pt x="15" y="504"/>
                </a:lnTo>
                <a:lnTo>
                  <a:pt x="10" y="521"/>
                </a:lnTo>
                <a:lnTo>
                  <a:pt x="6" y="540"/>
                </a:lnTo>
                <a:lnTo>
                  <a:pt x="3" y="557"/>
                </a:lnTo>
                <a:lnTo>
                  <a:pt x="2" y="574"/>
                </a:lnTo>
                <a:lnTo>
                  <a:pt x="1" y="591"/>
                </a:lnTo>
                <a:lnTo>
                  <a:pt x="0" y="608"/>
                </a:lnTo>
                <a:lnTo>
                  <a:pt x="0" y="608"/>
                </a:lnTo>
                <a:lnTo>
                  <a:pt x="1" y="624"/>
                </a:lnTo>
                <a:lnTo>
                  <a:pt x="2" y="639"/>
                </a:lnTo>
                <a:lnTo>
                  <a:pt x="3" y="654"/>
                </a:lnTo>
                <a:lnTo>
                  <a:pt x="6" y="670"/>
                </a:lnTo>
                <a:lnTo>
                  <a:pt x="10" y="685"/>
                </a:lnTo>
                <a:lnTo>
                  <a:pt x="14" y="698"/>
                </a:lnTo>
                <a:lnTo>
                  <a:pt x="18" y="712"/>
                </a:lnTo>
                <a:lnTo>
                  <a:pt x="24" y="726"/>
                </a:lnTo>
                <a:lnTo>
                  <a:pt x="30" y="740"/>
                </a:lnTo>
                <a:lnTo>
                  <a:pt x="37" y="753"/>
                </a:lnTo>
                <a:lnTo>
                  <a:pt x="44" y="766"/>
                </a:lnTo>
                <a:lnTo>
                  <a:pt x="53" y="779"/>
                </a:lnTo>
                <a:lnTo>
                  <a:pt x="60" y="791"/>
                </a:lnTo>
                <a:lnTo>
                  <a:pt x="70" y="801"/>
                </a:lnTo>
                <a:lnTo>
                  <a:pt x="79" y="813"/>
                </a:lnTo>
                <a:lnTo>
                  <a:pt x="89" y="823"/>
                </a:lnTo>
                <a:lnTo>
                  <a:pt x="100" y="834"/>
                </a:lnTo>
                <a:lnTo>
                  <a:pt x="111" y="843"/>
                </a:lnTo>
                <a:lnTo>
                  <a:pt x="122" y="852"/>
                </a:lnTo>
                <a:lnTo>
                  <a:pt x="134" y="860"/>
                </a:lnTo>
                <a:lnTo>
                  <a:pt x="147" y="868"/>
                </a:lnTo>
                <a:lnTo>
                  <a:pt x="160" y="876"/>
                </a:lnTo>
                <a:lnTo>
                  <a:pt x="173" y="883"/>
                </a:lnTo>
                <a:lnTo>
                  <a:pt x="186" y="888"/>
                </a:lnTo>
                <a:lnTo>
                  <a:pt x="200" y="894"/>
                </a:lnTo>
                <a:lnTo>
                  <a:pt x="214" y="899"/>
                </a:lnTo>
                <a:lnTo>
                  <a:pt x="229" y="903"/>
                </a:lnTo>
                <a:lnTo>
                  <a:pt x="244" y="907"/>
                </a:lnTo>
                <a:lnTo>
                  <a:pt x="258" y="909"/>
                </a:lnTo>
                <a:lnTo>
                  <a:pt x="274" y="911"/>
                </a:lnTo>
                <a:lnTo>
                  <a:pt x="289" y="912"/>
                </a:lnTo>
                <a:lnTo>
                  <a:pt x="305" y="912"/>
                </a:lnTo>
                <a:lnTo>
                  <a:pt x="305" y="912"/>
                </a:lnTo>
                <a:lnTo>
                  <a:pt x="320" y="912"/>
                </a:lnTo>
                <a:lnTo>
                  <a:pt x="336" y="911"/>
                </a:lnTo>
                <a:lnTo>
                  <a:pt x="351" y="909"/>
                </a:lnTo>
                <a:lnTo>
                  <a:pt x="366" y="907"/>
                </a:lnTo>
                <a:lnTo>
                  <a:pt x="380" y="903"/>
                </a:lnTo>
                <a:lnTo>
                  <a:pt x="395" y="899"/>
                </a:lnTo>
                <a:lnTo>
                  <a:pt x="409" y="894"/>
                </a:lnTo>
                <a:lnTo>
                  <a:pt x="423" y="888"/>
                </a:lnTo>
                <a:lnTo>
                  <a:pt x="437" y="883"/>
                </a:lnTo>
                <a:lnTo>
                  <a:pt x="450" y="876"/>
                </a:lnTo>
                <a:lnTo>
                  <a:pt x="463" y="868"/>
                </a:lnTo>
                <a:lnTo>
                  <a:pt x="475" y="860"/>
                </a:lnTo>
                <a:lnTo>
                  <a:pt x="487" y="852"/>
                </a:lnTo>
                <a:lnTo>
                  <a:pt x="498" y="843"/>
                </a:lnTo>
                <a:lnTo>
                  <a:pt x="509" y="834"/>
                </a:lnTo>
                <a:lnTo>
                  <a:pt x="520" y="823"/>
                </a:lnTo>
                <a:lnTo>
                  <a:pt x="530" y="813"/>
                </a:lnTo>
                <a:lnTo>
                  <a:pt x="539" y="801"/>
                </a:lnTo>
                <a:lnTo>
                  <a:pt x="549" y="791"/>
                </a:lnTo>
                <a:lnTo>
                  <a:pt x="557" y="779"/>
                </a:lnTo>
                <a:lnTo>
                  <a:pt x="565" y="766"/>
                </a:lnTo>
                <a:lnTo>
                  <a:pt x="572" y="753"/>
                </a:lnTo>
                <a:lnTo>
                  <a:pt x="579" y="740"/>
                </a:lnTo>
                <a:lnTo>
                  <a:pt x="585" y="726"/>
                </a:lnTo>
                <a:lnTo>
                  <a:pt x="591" y="712"/>
                </a:lnTo>
                <a:lnTo>
                  <a:pt x="595" y="698"/>
                </a:lnTo>
                <a:lnTo>
                  <a:pt x="599" y="685"/>
                </a:lnTo>
                <a:lnTo>
                  <a:pt x="603" y="670"/>
                </a:lnTo>
                <a:lnTo>
                  <a:pt x="606" y="654"/>
                </a:lnTo>
                <a:lnTo>
                  <a:pt x="608" y="639"/>
                </a:lnTo>
                <a:lnTo>
                  <a:pt x="609" y="624"/>
                </a:lnTo>
                <a:lnTo>
                  <a:pt x="609" y="608"/>
                </a:lnTo>
                <a:lnTo>
                  <a:pt x="609" y="608"/>
                </a:lnTo>
                <a:lnTo>
                  <a:pt x="609" y="591"/>
                </a:lnTo>
                <a:lnTo>
                  <a:pt x="608" y="574"/>
                </a:lnTo>
                <a:lnTo>
                  <a:pt x="606" y="557"/>
                </a:lnTo>
                <a:lnTo>
                  <a:pt x="603" y="540"/>
                </a:lnTo>
                <a:lnTo>
                  <a:pt x="599" y="521"/>
                </a:lnTo>
                <a:lnTo>
                  <a:pt x="595" y="504"/>
                </a:lnTo>
                <a:lnTo>
                  <a:pt x="589" y="486"/>
                </a:lnTo>
                <a:lnTo>
                  <a:pt x="582" y="468"/>
                </a:lnTo>
                <a:lnTo>
                  <a:pt x="575" y="448"/>
                </a:lnTo>
                <a:lnTo>
                  <a:pt x="566" y="430"/>
                </a:lnTo>
                <a:lnTo>
                  <a:pt x="556" y="410"/>
                </a:lnTo>
                <a:lnTo>
                  <a:pt x="545" y="391"/>
                </a:lnTo>
                <a:lnTo>
                  <a:pt x="533" y="370"/>
                </a:lnTo>
                <a:lnTo>
                  <a:pt x="519" y="349"/>
                </a:lnTo>
                <a:lnTo>
                  <a:pt x="504" y="326"/>
                </a:lnTo>
                <a:lnTo>
                  <a:pt x="488" y="305"/>
                </a:lnTo>
                <a:lnTo>
                  <a:pt x="488" y="305"/>
                </a:lnTo>
                <a:close/>
                <a:moveTo>
                  <a:pt x="305" y="882"/>
                </a:moveTo>
                <a:lnTo>
                  <a:pt x="305" y="882"/>
                </a:lnTo>
                <a:lnTo>
                  <a:pt x="305" y="839"/>
                </a:lnTo>
                <a:lnTo>
                  <a:pt x="305" y="839"/>
                </a:lnTo>
                <a:lnTo>
                  <a:pt x="321" y="838"/>
                </a:lnTo>
                <a:lnTo>
                  <a:pt x="338" y="836"/>
                </a:lnTo>
                <a:lnTo>
                  <a:pt x="354" y="833"/>
                </a:lnTo>
                <a:lnTo>
                  <a:pt x="371" y="827"/>
                </a:lnTo>
                <a:lnTo>
                  <a:pt x="386" y="822"/>
                </a:lnTo>
                <a:lnTo>
                  <a:pt x="401" y="815"/>
                </a:lnTo>
                <a:lnTo>
                  <a:pt x="416" y="807"/>
                </a:lnTo>
                <a:lnTo>
                  <a:pt x="430" y="798"/>
                </a:lnTo>
                <a:lnTo>
                  <a:pt x="444" y="789"/>
                </a:lnTo>
                <a:lnTo>
                  <a:pt x="456" y="777"/>
                </a:lnTo>
                <a:lnTo>
                  <a:pt x="469" y="765"/>
                </a:lnTo>
                <a:lnTo>
                  <a:pt x="481" y="752"/>
                </a:lnTo>
                <a:lnTo>
                  <a:pt x="492" y="738"/>
                </a:lnTo>
                <a:lnTo>
                  <a:pt x="503" y="723"/>
                </a:lnTo>
                <a:lnTo>
                  <a:pt x="512" y="708"/>
                </a:lnTo>
                <a:lnTo>
                  <a:pt x="521" y="692"/>
                </a:lnTo>
                <a:lnTo>
                  <a:pt x="562" y="702"/>
                </a:lnTo>
                <a:lnTo>
                  <a:pt x="562" y="702"/>
                </a:lnTo>
                <a:lnTo>
                  <a:pt x="554" y="721"/>
                </a:lnTo>
                <a:lnTo>
                  <a:pt x="545" y="740"/>
                </a:lnTo>
                <a:lnTo>
                  <a:pt x="535" y="757"/>
                </a:lnTo>
                <a:lnTo>
                  <a:pt x="522" y="775"/>
                </a:lnTo>
                <a:lnTo>
                  <a:pt x="509" y="791"/>
                </a:lnTo>
                <a:lnTo>
                  <a:pt x="495" y="805"/>
                </a:lnTo>
                <a:lnTo>
                  <a:pt x="480" y="819"/>
                </a:lnTo>
                <a:lnTo>
                  <a:pt x="464" y="832"/>
                </a:lnTo>
                <a:lnTo>
                  <a:pt x="446" y="842"/>
                </a:lnTo>
                <a:lnTo>
                  <a:pt x="429" y="853"/>
                </a:lnTo>
                <a:lnTo>
                  <a:pt x="409" y="862"/>
                </a:lnTo>
                <a:lnTo>
                  <a:pt x="390" y="869"/>
                </a:lnTo>
                <a:lnTo>
                  <a:pt x="369" y="874"/>
                </a:lnTo>
                <a:lnTo>
                  <a:pt x="348" y="879"/>
                </a:lnTo>
                <a:lnTo>
                  <a:pt x="327" y="881"/>
                </a:lnTo>
                <a:lnTo>
                  <a:pt x="305" y="882"/>
                </a:lnTo>
                <a:lnTo>
                  <a:pt x="305" y="882"/>
                </a:lnTo>
                <a:close/>
                <a:moveTo>
                  <a:pt x="575" y="658"/>
                </a:moveTo>
                <a:lnTo>
                  <a:pt x="532" y="652"/>
                </a:lnTo>
                <a:lnTo>
                  <a:pt x="532" y="652"/>
                </a:lnTo>
                <a:lnTo>
                  <a:pt x="534" y="631"/>
                </a:lnTo>
                <a:lnTo>
                  <a:pt x="535" y="608"/>
                </a:lnTo>
                <a:lnTo>
                  <a:pt x="579" y="608"/>
                </a:lnTo>
                <a:lnTo>
                  <a:pt x="579" y="608"/>
                </a:lnTo>
                <a:lnTo>
                  <a:pt x="579" y="608"/>
                </a:lnTo>
                <a:lnTo>
                  <a:pt x="578" y="633"/>
                </a:lnTo>
                <a:lnTo>
                  <a:pt x="575" y="658"/>
                </a:lnTo>
                <a:lnTo>
                  <a:pt x="575" y="65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dor_pirog"/>
          <p:cNvSpPr>
            <a:spLocks noEditPoints="1"/>
          </p:cNvSpPr>
          <p:nvPr/>
        </p:nvSpPr>
        <p:spPr bwMode="auto">
          <a:xfrm>
            <a:off x="5292725" y="2103702"/>
            <a:ext cx="395399" cy="322708"/>
          </a:xfrm>
          <a:custGeom>
            <a:avLst/>
            <a:gdLst>
              <a:gd name="T0" fmla="*/ 11847 w 16050"/>
              <a:gd name="T1" fmla="*/ 7473 h 14200"/>
              <a:gd name="T2" fmla="*/ 15985 w 16050"/>
              <a:gd name="T3" fmla="*/ 7418 h 14200"/>
              <a:gd name="T4" fmla="*/ 15985 w 16050"/>
              <a:gd name="T5" fmla="*/ 8849 h 14200"/>
              <a:gd name="T6" fmla="*/ 13846 w 16050"/>
              <a:gd name="T7" fmla="*/ 7418 h 14200"/>
              <a:gd name="T8" fmla="*/ 13422 w 16050"/>
              <a:gd name="T9" fmla="*/ 7473 h 14200"/>
              <a:gd name="T10" fmla="*/ 10445 w 16050"/>
              <a:gd name="T11" fmla="*/ 8849 h 14200"/>
              <a:gd name="T12" fmla="*/ 7550 w 16050"/>
              <a:gd name="T13" fmla="*/ 7418 h 14200"/>
              <a:gd name="T14" fmla="*/ 8754 w 16050"/>
              <a:gd name="T15" fmla="*/ 7418 h 14200"/>
              <a:gd name="T16" fmla="*/ 8500 w 16050"/>
              <a:gd name="T17" fmla="*/ 8849 h 14200"/>
              <a:gd name="T18" fmla="*/ 5777 w 16050"/>
              <a:gd name="T19" fmla="*/ 8793 h 14200"/>
              <a:gd name="T20" fmla="*/ 4401 w 16050"/>
              <a:gd name="T21" fmla="*/ 7418 h 14200"/>
              <a:gd name="T22" fmla="*/ 3975 w 16050"/>
              <a:gd name="T23" fmla="*/ 7473 h 14200"/>
              <a:gd name="T24" fmla="*/ 65 w 16050"/>
              <a:gd name="T25" fmla="*/ 8849 h 14200"/>
              <a:gd name="T26" fmla="*/ 65 w 16050"/>
              <a:gd name="T27" fmla="*/ 7418 h 14200"/>
              <a:gd name="T28" fmla="*/ 2203 w 16050"/>
              <a:gd name="T29" fmla="*/ 8849 h 14200"/>
              <a:gd name="T30" fmla="*/ 1252 w 16050"/>
              <a:gd name="T31" fmla="*/ 7418 h 14200"/>
              <a:gd name="T32" fmla="*/ 15985 w 16050"/>
              <a:gd name="T33" fmla="*/ 9202 h 14200"/>
              <a:gd name="T34" fmla="*/ 2962 w 16050"/>
              <a:gd name="T35" fmla="*/ 10985 h 14200"/>
              <a:gd name="T36" fmla="*/ 3913 w 16050"/>
              <a:gd name="T37" fmla="*/ 12416 h 14200"/>
              <a:gd name="T38" fmla="*/ 4202 w 16050"/>
              <a:gd name="T39" fmla="*/ 12225 h 14200"/>
              <a:gd name="T40" fmla="*/ 4966 w 16050"/>
              <a:gd name="T41" fmla="*/ 11461 h 14200"/>
              <a:gd name="T42" fmla="*/ 5731 w 16050"/>
              <a:gd name="T43" fmla="*/ 11177 h 14200"/>
              <a:gd name="T44" fmla="*/ 6971 w 16050"/>
              <a:gd name="T45" fmla="*/ 10985 h 14200"/>
              <a:gd name="T46" fmla="*/ 6021 w 16050"/>
              <a:gd name="T47" fmla="*/ 12416 h 14200"/>
              <a:gd name="T48" fmla="*/ 6736 w 16050"/>
              <a:gd name="T49" fmla="*/ 11700 h 14200"/>
              <a:gd name="T50" fmla="*/ 8500 w 16050"/>
              <a:gd name="T51" fmla="*/ 12416 h 14200"/>
              <a:gd name="T52" fmla="*/ 8789 w 16050"/>
              <a:gd name="T53" fmla="*/ 11177 h 14200"/>
              <a:gd name="T54" fmla="*/ 9554 w 16050"/>
              <a:gd name="T55" fmla="*/ 11461 h 14200"/>
              <a:gd name="T56" fmla="*/ 9554 w 16050"/>
              <a:gd name="T57" fmla="*/ 11941 h 14200"/>
              <a:gd name="T58" fmla="*/ 10319 w 16050"/>
              <a:gd name="T59" fmla="*/ 11177 h 14200"/>
              <a:gd name="T60" fmla="*/ 10608 w 16050"/>
              <a:gd name="T61" fmla="*/ 12416 h 14200"/>
              <a:gd name="T62" fmla="*/ 11084 w 16050"/>
              <a:gd name="T63" fmla="*/ 11461 h 14200"/>
              <a:gd name="T64" fmla="*/ 12373 w 16050"/>
              <a:gd name="T65" fmla="*/ 11700 h 14200"/>
              <a:gd name="T66" fmla="*/ 13088 w 16050"/>
              <a:gd name="T67" fmla="*/ 12416 h 14200"/>
              <a:gd name="T68" fmla="*/ 13901 w 16050"/>
              <a:gd name="T69" fmla="*/ 11700 h 14200"/>
              <a:gd name="T70" fmla="*/ 13667 w 16050"/>
              <a:gd name="T71" fmla="*/ 12416 h 14200"/>
              <a:gd name="T72" fmla="*/ 13667 w 16050"/>
              <a:gd name="T73" fmla="*/ 10985 h 14200"/>
              <a:gd name="T74" fmla="*/ 14906 w 16050"/>
              <a:gd name="T75" fmla="*/ 12225 h 14200"/>
              <a:gd name="T76" fmla="*/ 15985 w 16050"/>
              <a:gd name="T77" fmla="*/ 11257 h 14200"/>
              <a:gd name="T78" fmla="*/ 15985 w 16050"/>
              <a:gd name="T79" fmla="*/ 12416 h 14200"/>
              <a:gd name="T80" fmla="*/ 65 w 16050"/>
              <a:gd name="T81" fmla="*/ 12769 h 14200"/>
              <a:gd name="T82" fmla="*/ 1432 w 16050"/>
              <a:gd name="T83" fmla="*/ 12416 h 14200"/>
              <a:gd name="T84" fmla="*/ 120 w 16050"/>
              <a:gd name="T85" fmla="*/ 12200 h 14200"/>
              <a:gd name="T86" fmla="*/ 619 w 16050"/>
              <a:gd name="T87" fmla="*/ 11700 h 14200"/>
              <a:gd name="T88" fmla="*/ 855 w 16050"/>
              <a:gd name="T89" fmla="*/ 10985 h 14200"/>
              <a:gd name="T90" fmla="*/ 1908 w 16050"/>
              <a:gd name="T91" fmla="*/ 11461 h 14200"/>
              <a:gd name="T92" fmla="*/ 2149 w 16050"/>
              <a:gd name="T93" fmla="*/ 11700 h 14200"/>
              <a:gd name="T94" fmla="*/ 16050 w 16050"/>
              <a:gd name="T95" fmla="*/ 6813 h 14200"/>
              <a:gd name="T96" fmla="*/ 7347 w 16050"/>
              <a:gd name="T97" fmla="*/ 1982 h 14200"/>
              <a:gd name="T98" fmla="*/ 6087 w 16050"/>
              <a:gd name="T99" fmla="*/ 6813 h 14200"/>
              <a:gd name="T100" fmla="*/ 9963 w 16050"/>
              <a:gd name="T101" fmla="*/ 6813 h 14200"/>
              <a:gd name="T102" fmla="*/ 8947 w 16050"/>
              <a:gd name="T103" fmla="*/ 5033 h 14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6050" h="14200">
                <a:moveTo>
                  <a:pt x="10698" y="7418"/>
                </a:moveTo>
                <a:lnTo>
                  <a:pt x="12075" y="8793"/>
                </a:lnTo>
                <a:lnTo>
                  <a:pt x="12018" y="8849"/>
                </a:lnTo>
                <a:lnTo>
                  <a:pt x="13223" y="8849"/>
                </a:lnTo>
                <a:lnTo>
                  <a:pt x="11847" y="7473"/>
                </a:lnTo>
                <a:lnTo>
                  <a:pt x="11903" y="7418"/>
                </a:lnTo>
                <a:lnTo>
                  <a:pt x="10698" y="7418"/>
                </a:lnTo>
                <a:close/>
                <a:moveTo>
                  <a:pt x="15421" y="7418"/>
                </a:moveTo>
                <a:lnTo>
                  <a:pt x="15985" y="7981"/>
                </a:lnTo>
                <a:lnTo>
                  <a:pt x="15985" y="7418"/>
                </a:lnTo>
                <a:lnTo>
                  <a:pt x="15421" y="7418"/>
                </a:lnTo>
                <a:close/>
                <a:moveTo>
                  <a:pt x="13846" y="7418"/>
                </a:moveTo>
                <a:lnTo>
                  <a:pt x="15222" y="8793"/>
                </a:lnTo>
                <a:lnTo>
                  <a:pt x="15167" y="8849"/>
                </a:lnTo>
                <a:lnTo>
                  <a:pt x="15985" y="8849"/>
                </a:lnTo>
                <a:lnTo>
                  <a:pt x="15985" y="8351"/>
                </a:lnTo>
                <a:lnTo>
                  <a:pt x="15930" y="8406"/>
                </a:lnTo>
                <a:lnTo>
                  <a:pt x="14996" y="7473"/>
                </a:lnTo>
                <a:lnTo>
                  <a:pt x="15051" y="7418"/>
                </a:lnTo>
                <a:lnTo>
                  <a:pt x="13846" y="7418"/>
                </a:lnTo>
                <a:close/>
                <a:moveTo>
                  <a:pt x="12272" y="7418"/>
                </a:moveTo>
                <a:lnTo>
                  <a:pt x="13649" y="8793"/>
                </a:lnTo>
                <a:lnTo>
                  <a:pt x="13593" y="8849"/>
                </a:lnTo>
                <a:lnTo>
                  <a:pt x="14798" y="8849"/>
                </a:lnTo>
                <a:lnTo>
                  <a:pt x="13422" y="7473"/>
                </a:lnTo>
                <a:lnTo>
                  <a:pt x="13477" y="7418"/>
                </a:lnTo>
                <a:lnTo>
                  <a:pt x="12272" y="7418"/>
                </a:lnTo>
                <a:close/>
                <a:moveTo>
                  <a:pt x="9123" y="7418"/>
                </a:moveTo>
                <a:lnTo>
                  <a:pt x="10500" y="8793"/>
                </a:lnTo>
                <a:lnTo>
                  <a:pt x="10445" y="8849"/>
                </a:lnTo>
                <a:lnTo>
                  <a:pt x="11649" y="8849"/>
                </a:lnTo>
                <a:lnTo>
                  <a:pt x="10273" y="7473"/>
                </a:lnTo>
                <a:lnTo>
                  <a:pt x="10328" y="7418"/>
                </a:lnTo>
                <a:lnTo>
                  <a:pt x="9123" y="7418"/>
                </a:lnTo>
                <a:close/>
                <a:moveTo>
                  <a:pt x="7550" y="7418"/>
                </a:moveTo>
                <a:lnTo>
                  <a:pt x="8926" y="8793"/>
                </a:lnTo>
                <a:lnTo>
                  <a:pt x="8871" y="8849"/>
                </a:lnTo>
                <a:lnTo>
                  <a:pt x="10074" y="8849"/>
                </a:lnTo>
                <a:lnTo>
                  <a:pt x="8698" y="7473"/>
                </a:lnTo>
                <a:lnTo>
                  <a:pt x="8754" y="7418"/>
                </a:lnTo>
                <a:lnTo>
                  <a:pt x="7550" y="7418"/>
                </a:lnTo>
                <a:close/>
                <a:moveTo>
                  <a:pt x="5975" y="7418"/>
                </a:moveTo>
                <a:lnTo>
                  <a:pt x="7351" y="8793"/>
                </a:lnTo>
                <a:lnTo>
                  <a:pt x="7296" y="8849"/>
                </a:lnTo>
                <a:lnTo>
                  <a:pt x="8500" y="8849"/>
                </a:lnTo>
                <a:lnTo>
                  <a:pt x="7124" y="7473"/>
                </a:lnTo>
                <a:lnTo>
                  <a:pt x="7179" y="7418"/>
                </a:lnTo>
                <a:lnTo>
                  <a:pt x="5975" y="7418"/>
                </a:lnTo>
                <a:close/>
                <a:moveTo>
                  <a:pt x="4401" y="7418"/>
                </a:moveTo>
                <a:lnTo>
                  <a:pt x="5777" y="8793"/>
                </a:lnTo>
                <a:lnTo>
                  <a:pt x="5722" y="8849"/>
                </a:lnTo>
                <a:lnTo>
                  <a:pt x="6927" y="8849"/>
                </a:lnTo>
                <a:lnTo>
                  <a:pt x="5550" y="7473"/>
                </a:lnTo>
                <a:lnTo>
                  <a:pt x="5605" y="7418"/>
                </a:lnTo>
                <a:lnTo>
                  <a:pt x="4401" y="7418"/>
                </a:lnTo>
                <a:close/>
                <a:moveTo>
                  <a:pt x="2827" y="7418"/>
                </a:moveTo>
                <a:lnTo>
                  <a:pt x="4203" y="8793"/>
                </a:lnTo>
                <a:lnTo>
                  <a:pt x="4147" y="8849"/>
                </a:lnTo>
                <a:lnTo>
                  <a:pt x="5352" y="8849"/>
                </a:lnTo>
                <a:lnTo>
                  <a:pt x="3975" y="7473"/>
                </a:lnTo>
                <a:lnTo>
                  <a:pt x="4031" y="7418"/>
                </a:lnTo>
                <a:lnTo>
                  <a:pt x="2827" y="7418"/>
                </a:lnTo>
                <a:close/>
                <a:moveTo>
                  <a:pt x="629" y="8849"/>
                </a:moveTo>
                <a:lnTo>
                  <a:pt x="65" y="8284"/>
                </a:lnTo>
                <a:lnTo>
                  <a:pt x="65" y="8849"/>
                </a:lnTo>
                <a:lnTo>
                  <a:pt x="629" y="8849"/>
                </a:lnTo>
                <a:close/>
                <a:moveTo>
                  <a:pt x="2203" y="8849"/>
                </a:moveTo>
                <a:lnTo>
                  <a:pt x="827" y="7473"/>
                </a:lnTo>
                <a:lnTo>
                  <a:pt x="883" y="7418"/>
                </a:lnTo>
                <a:lnTo>
                  <a:pt x="65" y="7418"/>
                </a:lnTo>
                <a:lnTo>
                  <a:pt x="65" y="7915"/>
                </a:lnTo>
                <a:lnTo>
                  <a:pt x="120" y="7860"/>
                </a:lnTo>
                <a:lnTo>
                  <a:pt x="1054" y="8793"/>
                </a:lnTo>
                <a:lnTo>
                  <a:pt x="999" y="8849"/>
                </a:lnTo>
                <a:lnTo>
                  <a:pt x="2203" y="8849"/>
                </a:lnTo>
                <a:close/>
                <a:moveTo>
                  <a:pt x="2573" y="8849"/>
                </a:moveTo>
                <a:lnTo>
                  <a:pt x="3778" y="8849"/>
                </a:lnTo>
                <a:lnTo>
                  <a:pt x="2401" y="7473"/>
                </a:lnTo>
                <a:lnTo>
                  <a:pt x="2457" y="7418"/>
                </a:lnTo>
                <a:lnTo>
                  <a:pt x="1252" y="7418"/>
                </a:lnTo>
                <a:lnTo>
                  <a:pt x="2628" y="8793"/>
                </a:lnTo>
                <a:lnTo>
                  <a:pt x="2573" y="8849"/>
                </a:lnTo>
                <a:close/>
                <a:moveTo>
                  <a:pt x="65" y="10632"/>
                </a:moveTo>
                <a:lnTo>
                  <a:pt x="15985" y="10632"/>
                </a:lnTo>
                <a:lnTo>
                  <a:pt x="15985" y="9202"/>
                </a:lnTo>
                <a:lnTo>
                  <a:pt x="65" y="9202"/>
                </a:lnTo>
                <a:lnTo>
                  <a:pt x="65" y="10632"/>
                </a:lnTo>
                <a:close/>
                <a:moveTo>
                  <a:pt x="3438" y="11461"/>
                </a:moveTo>
                <a:lnTo>
                  <a:pt x="3912" y="10985"/>
                </a:lnTo>
                <a:lnTo>
                  <a:pt x="2962" y="10985"/>
                </a:lnTo>
                <a:lnTo>
                  <a:pt x="3438" y="11461"/>
                </a:lnTo>
                <a:close/>
                <a:moveTo>
                  <a:pt x="3913" y="12416"/>
                </a:moveTo>
                <a:lnTo>
                  <a:pt x="3438" y="11941"/>
                </a:lnTo>
                <a:lnTo>
                  <a:pt x="2962" y="12416"/>
                </a:lnTo>
                <a:lnTo>
                  <a:pt x="3913" y="12416"/>
                </a:lnTo>
                <a:close/>
                <a:moveTo>
                  <a:pt x="4202" y="12225"/>
                </a:moveTo>
                <a:lnTo>
                  <a:pt x="4727" y="11700"/>
                </a:lnTo>
                <a:lnTo>
                  <a:pt x="4202" y="11177"/>
                </a:lnTo>
                <a:lnTo>
                  <a:pt x="3677" y="11700"/>
                </a:lnTo>
                <a:lnTo>
                  <a:pt x="4202" y="12225"/>
                </a:lnTo>
                <a:close/>
                <a:moveTo>
                  <a:pt x="5442" y="12416"/>
                </a:moveTo>
                <a:lnTo>
                  <a:pt x="4966" y="11941"/>
                </a:lnTo>
                <a:lnTo>
                  <a:pt x="4491" y="12416"/>
                </a:lnTo>
                <a:lnTo>
                  <a:pt x="5442" y="12416"/>
                </a:lnTo>
                <a:close/>
                <a:moveTo>
                  <a:pt x="4966" y="11461"/>
                </a:moveTo>
                <a:lnTo>
                  <a:pt x="5442" y="10985"/>
                </a:lnTo>
                <a:lnTo>
                  <a:pt x="4491" y="10985"/>
                </a:lnTo>
                <a:lnTo>
                  <a:pt x="4966" y="11461"/>
                </a:lnTo>
                <a:close/>
                <a:moveTo>
                  <a:pt x="6255" y="11700"/>
                </a:moveTo>
                <a:lnTo>
                  <a:pt x="5731" y="11177"/>
                </a:lnTo>
                <a:lnTo>
                  <a:pt x="5207" y="11700"/>
                </a:lnTo>
                <a:lnTo>
                  <a:pt x="5731" y="12225"/>
                </a:lnTo>
                <a:lnTo>
                  <a:pt x="6255" y="11700"/>
                </a:lnTo>
                <a:close/>
                <a:moveTo>
                  <a:pt x="6496" y="11461"/>
                </a:moveTo>
                <a:lnTo>
                  <a:pt x="6971" y="10985"/>
                </a:lnTo>
                <a:lnTo>
                  <a:pt x="6021" y="10985"/>
                </a:lnTo>
                <a:lnTo>
                  <a:pt x="6496" y="11461"/>
                </a:lnTo>
                <a:close/>
                <a:moveTo>
                  <a:pt x="6972" y="12416"/>
                </a:moveTo>
                <a:lnTo>
                  <a:pt x="6496" y="11941"/>
                </a:lnTo>
                <a:lnTo>
                  <a:pt x="6021" y="12416"/>
                </a:lnTo>
                <a:lnTo>
                  <a:pt x="6972" y="12416"/>
                </a:lnTo>
                <a:close/>
                <a:moveTo>
                  <a:pt x="7261" y="12225"/>
                </a:moveTo>
                <a:lnTo>
                  <a:pt x="7784" y="11700"/>
                </a:lnTo>
                <a:lnTo>
                  <a:pt x="7261" y="11177"/>
                </a:lnTo>
                <a:lnTo>
                  <a:pt x="6736" y="11700"/>
                </a:lnTo>
                <a:lnTo>
                  <a:pt x="7261" y="12225"/>
                </a:lnTo>
                <a:close/>
                <a:moveTo>
                  <a:pt x="8500" y="12416"/>
                </a:moveTo>
                <a:lnTo>
                  <a:pt x="8025" y="11941"/>
                </a:lnTo>
                <a:lnTo>
                  <a:pt x="7550" y="12416"/>
                </a:lnTo>
                <a:lnTo>
                  <a:pt x="8500" y="12416"/>
                </a:lnTo>
                <a:close/>
                <a:moveTo>
                  <a:pt x="8789" y="11177"/>
                </a:moveTo>
                <a:lnTo>
                  <a:pt x="8266" y="11700"/>
                </a:lnTo>
                <a:lnTo>
                  <a:pt x="8789" y="12225"/>
                </a:lnTo>
                <a:lnTo>
                  <a:pt x="9314" y="11700"/>
                </a:lnTo>
                <a:lnTo>
                  <a:pt x="8789" y="11177"/>
                </a:lnTo>
                <a:close/>
                <a:moveTo>
                  <a:pt x="8025" y="11461"/>
                </a:moveTo>
                <a:lnTo>
                  <a:pt x="8500" y="10985"/>
                </a:lnTo>
                <a:lnTo>
                  <a:pt x="7550" y="10985"/>
                </a:lnTo>
                <a:lnTo>
                  <a:pt x="8025" y="11461"/>
                </a:lnTo>
                <a:close/>
                <a:moveTo>
                  <a:pt x="9554" y="11461"/>
                </a:moveTo>
                <a:lnTo>
                  <a:pt x="10029" y="10985"/>
                </a:lnTo>
                <a:lnTo>
                  <a:pt x="9079" y="10985"/>
                </a:lnTo>
                <a:lnTo>
                  <a:pt x="9554" y="11461"/>
                </a:lnTo>
                <a:close/>
                <a:moveTo>
                  <a:pt x="10029" y="12416"/>
                </a:moveTo>
                <a:lnTo>
                  <a:pt x="9554" y="11941"/>
                </a:lnTo>
                <a:lnTo>
                  <a:pt x="9078" y="12416"/>
                </a:lnTo>
                <a:lnTo>
                  <a:pt x="10029" y="12416"/>
                </a:lnTo>
                <a:close/>
                <a:moveTo>
                  <a:pt x="10319" y="12225"/>
                </a:moveTo>
                <a:lnTo>
                  <a:pt x="10843" y="11700"/>
                </a:lnTo>
                <a:lnTo>
                  <a:pt x="10319" y="11177"/>
                </a:lnTo>
                <a:lnTo>
                  <a:pt x="9795" y="11700"/>
                </a:lnTo>
                <a:lnTo>
                  <a:pt x="10319" y="12225"/>
                </a:lnTo>
                <a:close/>
                <a:moveTo>
                  <a:pt x="11559" y="12416"/>
                </a:moveTo>
                <a:lnTo>
                  <a:pt x="11084" y="11941"/>
                </a:lnTo>
                <a:lnTo>
                  <a:pt x="10608" y="12416"/>
                </a:lnTo>
                <a:lnTo>
                  <a:pt x="11559" y="12416"/>
                </a:lnTo>
                <a:close/>
                <a:moveTo>
                  <a:pt x="11084" y="11461"/>
                </a:moveTo>
                <a:lnTo>
                  <a:pt x="11559" y="10985"/>
                </a:lnTo>
                <a:lnTo>
                  <a:pt x="10608" y="10985"/>
                </a:lnTo>
                <a:lnTo>
                  <a:pt x="11084" y="11461"/>
                </a:lnTo>
                <a:close/>
                <a:moveTo>
                  <a:pt x="12373" y="11700"/>
                </a:moveTo>
                <a:lnTo>
                  <a:pt x="11848" y="11177"/>
                </a:lnTo>
                <a:lnTo>
                  <a:pt x="11323" y="11700"/>
                </a:lnTo>
                <a:lnTo>
                  <a:pt x="11848" y="12225"/>
                </a:lnTo>
                <a:lnTo>
                  <a:pt x="12373" y="11700"/>
                </a:lnTo>
                <a:close/>
                <a:moveTo>
                  <a:pt x="12612" y="11461"/>
                </a:moveTo>
                <a:lnTo>
                  <a:pt x="13088" y="10985"/>
                </a:lnTo>
                <a:lnTo>
                  <a:pt x="12138" y="10985"/>
                </a:lnTo>
                <a:lnTo>
                  <a:pt x="12612" y="11461"/>
                </a:lnTo>
                <a:close/>
                <a:moveTo>
                  <a:pt x="13088" y="12416"/>
                </a:moveTo>
                <a:lnTo>
                  <a:pt x="12612" y="11941"/>
                </a:lnTo>
                <a:lnTo>
                  <a:pt x="12137" y="12416"/>
                </a:lnTo>
                <a:lnTo>
                  <a:pt x="13088" y="12416"/>
                </a:lnTo>
                <a:close/>
                <a:moveTo>
                  <a:pt x="13377" y="12225"/>
                </a:moveTo>
                <a:lnTo>
                  <a:pt x="13901" y="11700"/>
                </a:lnTo>
                <a:lnTo>
                  <a:pt x="13377" y="11177"/>
                </a:lnTo>
                <a:lnTo>
                  <a:pt x="12853" y="11700"/>
                </a:lnTo>
                <a:lnTo>
                  <a:pt x="13377" y="12225"/>
                </a:lnTo>
                <a:close/>
                <a:moveTo>
                  <a:pt x="14142" y="11941"/>
                </a:moveTo>
                <a:lnTo>
                  <a:pt x="13667" y="12416"/>
                </a:lnTo>
                <a:lnTo>
                  <a:pt x="14618" y="12416"/>
                </a:lnTo>
                <a:lnTo>
                  <a:pt x="14142" y="11941"/>
                </a:lnTo>
                <a:close/>
                <a:moveTo>
                  <a:pt x="14142" y="11461"/>
                </a:moveTo>
                <a:lnTo>
                  <a:pt x="14618" y="10985"/>
                </a:lnTo>
                <a:lnTo>
                  <a:pt x="13667" y="10985"/>
                </a:lnTo>
                <a:lnTo>
                  <a:pt x="14142" y="11461"/>
                </a:lnTo>
                <a:close/>
                <a:moveTo>
                  <a:pt x="15431" y="11700"/>
                </a:moveTo>
                <a:lnTo>
                  <a:pt x="14906" y="11177"/>
                </a:lnTo>
                <a:lnTo>
                  <a:pt x="14382" y="11700"/>
                </a:lnTo>
                <a:lnTo>
                  <a:pt x="14906" y="12225"/>
                </a:lnTo>
                <a:lnTo>
                  <a:pt x="15431" y="11700"/>
                </a:lnTo>
                <a:close/>
                <a:moveTo>
                  <a:pt x="15195" y="10985"/>
                </a:moveTo>
                <a:lnTo>
                  <a:pt x="15671" y="11461"/>
                </a:lnTo>
                <a:lnTo>
                  <a:pt x="15930" y="11202"/>
                </a:lnTo>
                <a:lnTo>
                  <a:pt x="15985" y="11257"/>
                </a:lnTo>
                <a:lnTo>
                  <a:pt x="15985" y="10985"/>
                </a:lnTo>
                <a:lnTo>
                  <a:pt x="15195" y="10985"/>
                </a:lnTo>
                <a:close/>
                <a:moveTo>
                  <a:pt x="15671" y="11941"/>
                </a:moveTo>
                <a:lnTo>
                  <a:pt x="15195" y="12416"/>
                </a:lnTo>
                <a:lnTo>
                  <a:pt x="15985" y="12416"/>
                </a:lnTo>
                <a:lnTo>
                  <a:pt x="15985" y="12144"/>
                </a:lnTo>
                <a:lnTo>
                  <a:pt x="15930" y="12200"/>
                </a:lnTo>
                <a:lnTo>
                  <a:pt x="15671" y="11941"/>
                </a:lnTo>
                <a:close/>
                <a:moveTo>
                  <a:pt x="15985" y="12769"/>
                </a:moveTo>
                <a:lnTo>
                  <a:pt x="65" y="12769"/>
                </a:lnTo>
                <a:lnTo>
                  <a:pt x="65" y="14200"/>
                </a:lnTo>
                <a:lnTo>
                  <a:pt x="15985" y="14200"/>
                </a:lnTo>
                <a:lnTo>
                  <a:pt x="15985" y="12769"/>
                </a:lnTo>
                <a:close/>
                <a:moveTo>
                  <a:pt x="1908" y="11941"/>
                </a:moveTo>
                <a:lnTo>
                  <a:pt x="1432" y="12416"/>
                </a:lnTo>
                <a:lnTo>
                  <a:pt x="2383" y="12416"/>
                </a:lnTo>
                <a:lnTo>
                  <a:pt x="1908" y="11941"/>
                </a:lnTo>
                <a:close/>
                <a:moveTo>
                  <a:pt x="855" y="12416"/>
                </a:moveTo>
                <a:lnTo>
                  <a:pt x="379" y="11941"/>
                </a:lnTo>
                <a:lnTo>
                  <a:pt x="120" y="12200"/>
                </a:lnTo>
                <a:lnTo>
                  <a:pt x="65" y="12144"/>
                </a:lnTo>
                <a:lnTo>
                  <a:pt x="65" y="12416"/>
                </a:lnTo>
                <a:lnTo>
                  <a:pt x="855" y="12416"/>
                </a:lnTo>
                <a:close/>
                <a:moveTo>
                  <a:pt x="1144" y="11177"/>
                </a:moveTo>
                <a:lnTo>
                  <a:pt x="619" y="11700"/>
                </a:lnTo>
                <a:lnTo>
                  <a:pt x="1144" y="12225"/>
                </a:lnTo>
                <a:lnTo>
                  <a:pt x="1668" y="11700"/>
                </a:lnTo>
                <a:lnTo>
                  <a:pt x="1144" y="11177"/>
                </a:lnTo>
                <a:close/>
                <a:moveTo>
                  <a:pt x="379" y="11461"/>
                </a:moveTo>
                <a:lnTo>
                  <a:pt x="855" y="10985"/>
                </a:lnTo>
                <a:lnTo>
                  <a:pt x="65" y="10985"/>
                </a:lnTo>
                <a:lnTo>
                  <a:pt x="65" y="11257"/>
                </a:lnTo>
                <a:lnTo>
                  <a:pt x="120" y="11202"/>
                </a:lnTo>
                <a:lnTo>
                  <a:pt x="379" y="11461"/>
                </a:lnTo>
                <a:close/>
                <a:moveTo>
                  <a:pt x="1908" y="11461"/>
                </a:moveTo>
                <a:lnTo>
                  <a:pt x="2383" y="10985"/>
                </a:lnTo>
                <a:lnTo>
                  <a:pt x="1432" y="10985"/>
                </a:lnTo>
                <a:lnTo>
                  <a:pt x="1908" y="11461"/>
                </a:lnTo>
                <a:close/>
                <a:moveTo>
                  <a:pt x="2672" y="11177"/>
                </a:moveTo>
                <a:lnTo>
                  <a:pt x="2149" y="11700"/>
                </a:lnTo>
                <a:lnTo>
                  <a:pt x="2672" y="12225"/>
                </a:lnTo>
                <a:lnTo>
                  <a:pt x="3197" y="11700"/>
                </a:lnTo>
                <a:lnTo>
                  <a:pt x="2672" y="11177"/>
                </a:lnTo>
                <a:close/>
                <a:moveTo>
                  <a:pt x="9963" y="6813"/>
                </a:moveTo>
                <a:lnTo>
                  <a:pt x="16050" y="6813"/>
                </a:lnTo>
                <a:lnTo>
                  <a:pt x="11546" y="0"/>
                </a:lnTo>
                <a:lnTo>
                  <a:pt x="8875" y="0"/>
                </a:lnTo>
                <a:lnTo>
                  <a:pt x="8558" y="0"/>
                </a:lnTo>
                <a:lnTo>
                  <a:pt x="8711" y="1982"/>
                </a:lnTo>
                <a:lnTo>
                  <a:pt x="7347" y="1982"/>
                </a:lnTo>
                <a:lnTo>
                  <a:pt x="7500" y="0"/>
                </a:lnTo>
                <a:lnTo>
                  <a:pt x="7174" y="0"/>
                </a:lnTo>
                <a:lnTo>
                  <a:pt x="4503" y="0"/>
                </a:lnTo>
                <a:lnTo>
                  <a:pt x="0" y="6813"/>
                </a:lnTo>
                <a:lnTo>
                  <a:pt x="6087" y="6813"/>
                </a:lnTo>
                <a:lnTo>
                  <a:pt x="6973" y="6813"/>
                </a:lnTo>
                <a:lnTo>
                  <a:pt x="7028" y="6100"/>
                </a:lnTo>
                <a:lnTo>
                  <a:pt x="9030" y="6100"/>
                </a:lnTo>
                <a:lnTo>
                  <a:pt x="9085" y="6813"/>
                </a:lnTo>
                <a:lnTo>
                  <a:pt x="9963" y="6813"/>
                </a:lnTo>
                <a:close/>
                <a:moveTo>
                  <a:pt x="8947" y="5033"/>
                </a:moveTo>
                <a:lnTo>
                  <a:pt x="7110" y="5033"/>
                </a:lnTo>
                <a:lnTo>
                  <a:pt x="7264" y="3050"/>
                </a:lnTo>
                <a:lnTo>
                  <a:pt x="8793" y="3050"/>
                </a:lnTo>
                <a:lnTo>
                  <a:pt x="8947" y="5033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635102" y="2060848"/>
            <a:ext cx="2748766" cy="4001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>
            <a:defPPr>
              <a:defRPr lang="ru-RU"/>
            </a:defPPr>
            <a:lvl1pPr>
              <a:spcBef>
                <a:spcPts val="800"/>
              </a:spcBef>
              <a:defRPr sz="2000" b="1"/>
            </a:lvl1pPr>
          </a:lstStyle>
          <a:p>
            <a:r>
              <a:rPr lang="ru-RU" dirty="0"/>
              <a:t>Испытания вяжущего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760132" y="2060848"/>
            <a:ext cx="2532745" cy="4001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800"/>
              </a:spcBef>
            </a:pPr>
            <a:r>
              <a:rPr lang="ru-RU" sz="2000" b="1" dirty="0" smtClean="0"/>
              <a:t>Испытания ЩМА-20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716464" y="5016078"/>
            <a:ext cx="410400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Применение </a:t>
            </a:r>
            <a:r>
              <a:rPr lang="en-US" sz="1600" b="1" dirty="0">
                <a:solidFill>
                  <a:schemeClr val="accent6"/>
                </a:solidFill>
              </a:rPr>
              <a:t>G-Way </a:t>
            </a:r>
            <a:r>
              <a:rPr lang="en-US" sz="1600" b="1" dirty="0" err="1">
                <a:solidFill>
                  <a:schemeClr val="accent6"/>
                </a:solidFill>
              </a:rPr>
              <a:t>Styrelf</a:t>
            </a:r>
            <a:r>
              <a:rPr lang="ru-RU" sz="1600" b="1" dirty="0">
                <a:solidFill>
                  <a:schemeClr val="accent6"/>
                </a:solidFill>
              </a:rPr>
              <a:t> </a:t>
            </a:r>
            <a:r>
              <a:rPr lang="ru-RU" sz="1600" b="1" dirty="0">
                <a:solidFill>
                  <a:schemeClr val="tx2"/>
                </a:solidFill>
              </a:rPr>
              <a:t>в асфальтобетонных смесях позволяет:</a:t>
            </a:r>
          </a:p>
          <a:p>
            <a:pPr marL="358775" indent="-203200"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600" dirty="0">
                <a:solidFill>
                  <a:schemeClr val="tx2"/>
                </a:solidFill>
              </a:rPr>
              <a:t>снизить </a:t>
            </a:r>
            <a:r>
              <a:rPr lang="ru-RU" sz="1600" dirty="0" err="1">
                <a:solidFill>
                  <a:schemeClr val="tx2"/>
                </a:solidFill>
              </a:rPr>
              <a:t>колееобразование</a:t>
            </a:r>
            <a:r>
              <a:rPr lang="ru-RU" sz="1600" dirty="0">
                <a:solidFill>
                  <a:schemeClr val="tx2"/>
                </a:solidFill>
              </a:rPr>
              <a:t>  на </a:t>
            </a:r>
            <a:r>
              <a:rPr lang="ru-RU" sz="1600" b="1" dirty="0">
                <a:solidFill>
                  <a:schemeClr val="accent2"/>
                </a:solidFill>
              </a:rPr>
              <a:t>30</a:t>
            </a:r>
            <a:r>
              <a:rPr lang="ru-RU" sz="1600" b="1" dirty="0" smtClean="0">
                <a:solidFill>
                  <a:schemeClr val="accent2"/>
                </a:solidFill>
              </a:rPr>
              <a:t>%</a:t>
            </a:r>
            <a:r>
              <a:rPr lang="ru-RU" sz="1600" dirty="0" smtClean="0">
                <a:solidFill>
                  <a:schemeClr val="tx2"/>
                </a:solidFill>
              </a:rPr>
              <a:t>;</a:t>
            </a:r>
            <a:endParaRPr lang="ru-RU" sz="1600" dirty="0">
              <a:solidFill>
                <a:schemeClr val="tx2"/>
              </a:solidFill>
            </a:endParaRPr>
          </a:p>
          <a:p>
            <a:pPr marL="358775" indent="-203200"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600" dirty="0">
                <a:solidFill>
                  <a:schemeClr val="tx2"/>
                </a:solidFill>
              </a:rPr>
              <a:t>повысить </a:t>
            </a:r>
            <a:r>
              <a:rPr lang="ru-RU" sz="1600" dirty="0" err="1">
                <a:solidFill>
                  <a:schemeClr val="tx2"/>
                </a:solidFill>
              </a:rPr>
              <a:t>трещиностойкость</a:t>
            </a:r>
            <a:r>
              <a:rPr lang="ru-RU" sz="1600" dirty="0">
                <a:solidFill>
                  <a:schemeClr val="tx2"/>
                </a:solidFill>
              </a:rPr>
              <a:t> на </a:t>
            </a:r>
            <a:r>
              <a:rPr lang="ru-RU" sz="1600" b="1" dirty="0">
                <a:solidFill>
                  <a:schemeClr val="accent2"/>
                </a:solidFill>
              </a:rPr>
              <a:t>15</a:t>
            </a:r>
            <a:r>
              <a:rPr lang="ru-RU" sz="1600" b="1" dirty="0" smtClean="0">
                <a:solidFill>
                  <a:schemeClr val="accent2"/>
                </a:solidFill>
              </a:rPr>
              <a:t>%.</a:t>
            </a:r>
            <a:endParaRPr lang="ru-RU" sz="1600" b="1" dirty="0">
              <a:solidFill>
                <a:schemeClr val="accent2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287524" y="5021885"/>
            <a:ext cx="417652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2"/>
                </a:solidFill>
              </a:rPr>
              <a:t>ПМБ </a:t>
            </a:r>
            <a:r>
              <a:rPr lang="ru-RU" sz="1600" b="1" dirty="0">
                <a:solidFill>
                  <a:schemeClr val="accent6"/>
                </a:solidFill>
              </a:rPr>
              <a:t>G-</a:t>
            </a:r>
            <a:r>
              <a:rPr lang="ru-RU" sz="1600" b="1" dirty="0" err="1">
                <a:solidFill>
                  <a:schemeClr val="accent6"/>
                </a:solidFill>
              </a:rPr>
              <a:t>Way</a:t>
            </a:r>
            <a:r>
              <a:rPr lang="ru-RU" sz="1600" b="1" dirty="0">
                <a:solidFill>
                  <a:schemeClr val="accent6"/>
                </a:solidFill>
              </a:rPr>
              <a:t> </a:t>
            </a:r>
            <a:r>
              <a:rPr lang="ru-RU" sz="1600" b="1" dirty="0" err="1">
                <a:solidFill>
                  <a:schemeClr val="accent6"/>
                </a:solidFill>
              </a:rPr>
              <a:t>Styrelf</a:t>
            </a:r>
            <a:r>
              <a:rPr lang="ru-RU" sz="1600" b="1" dirty="0">
                <a:solidFill>
                  <a:schemeClr val="accent6"/>
                </a:solidFill>
              </a:rPr>
              <a:t> </a:t>
            </a:r>
            <a:r>
              <a:rPr lang="ru-RU" sz="1600" b="1" dirty="0">
                <a:solidFill>
                  <a:schemeClr val="tx2"/>
                </a:solidFill>
              </a:rPr>
              <a:t>способен воспринимать воздействие </a:t>
            </a:r>
            <a:r>
              <a:rPr lang="ru-RU" sz="1600" b="1" dirty="0" smtClean="0">
                <a:solidFill>
                  <a:schemeClr val="tx2"/>
                </a:solidFill>
              </a:rPr>
              <a:t> большей нагрузки:</a:t>
            </a:r>
          </a:p>
          <a:p>
            <a:pPr marL="358775" indent="-203200"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600" dirty="0">
                <a:solidFill>
                  <a:schemeClr val="tx2"/>
                </a:solidFill>
              </a:rPr>
              <a:t>на </a:t>
            </a:r>
            <a:r>
              <a:rPr lang="ru-RU" sz="1600" b="1" dirty="0" smtClean="0">
                <a:solidFill>
                  <a:schemeClr val="accent2"/>
                </a:solidFill>
              </a:rPr>
              <a:t>45%</a:t>
            </a:r>
            <a:r>
              <a:rPr lang="ru-RU" sz="1600" dirty="0" smtClean="0">
                <a:solidFill>
                  <a:schemeClr val="tx2"/>
                </a:solidFill>
              </a:rPr>
              <a:t> при 0</a:t>
            </a:r>
            <a:r>
              <a:rPr lang="ru-RU" sz="1600" baseline="30000" dirty="0" smtClean="0">
                <a:solidFill>
                  <a:schemeClr val="tx2"/>
                </a:solidFill>
              </a:rPr>
              <a:t>0</a:t>
            </a:r>
            <a:r>
              <a:rPr lang="ru-RU" sz="1600" dirty="0" smtClean="0">
                <a:solidFill>
                  <a:schemeClr val="tx2"/>
                </a:solidFill>
              </a:rPr>
              <a:t>С;</a:t>
            </a:r>
          </a:p>
          <a:p>
            <a:pPr marL="358775" indent="-203200">
              <a:buFont typeface="Wingdings" panose="05000000000000000000" pitchFamily="2" charset="2"/>
              <a:buChar char="§"/>
              <a:tabLst>
                <a:tab pos="265113" algn="l"/>
              </a:tabLst>
            </a:pPr>
            <a:r>
              <a:rPr lang="ru-RU" sz="1600" dirty="0">
                <a:solidFill>
                  <a:schemeClr val="tx2"/>
                </a:solidFill>
              </a:rPr>
              <a:t>на </a:t>
            </a:r>
            <a:r>
              <a:rPr lang="ru-RU" sz="1600" b="1" dirty="0" smtClean="0">
                <a:solidFill>
                  <a:schemeClr val="accent2"/>
                </a:solidFill>
              </a:rPr>
              <a:t>35%</a:t>
            </a:r>
            <a:r>
              <a:rPr lang="ru-RU" sz="1600" dirty="0" smtClean="0">
                <a:solidFill>
                  <a:schemeClr val="tx2"/>
                </a:solidFill>
              </a:rPr>
              <a:t> </a:t>
            </a:r>
            <a:r>
              <a:rPr lang="ru-RU" sz="1600" dirty="0">
                <a:solidFill>
                  <a:schemeClr val="tx2"/>
                </a:solidFill>
              </a:rPr>
              <a:t>при </a:t>
            </a:r>
            <a:r>
              <a:rPr lang="ru-RU" sz="1600" dirty="0" smtClean="0">
                <a:solidFill>
                  <a:schemeClr val="tx2"/>
                </a:solidFill>
              </a:rPr>
              <a:t>25</a:t>
            </a:r>
            <a:r>
              <a:rPr lang="ru-RU" sz="1600" baseline="30000" dirty="0" smtClean="0">
                <a:solidFill>
                  <a:schemeClr val="tx2"/>
                </a:solidFill>
              </a:rPr>
              <a:t>0</a:t>
            </a:r>
            <a:r>
              <a:rPr lang="ru-RU" sz="1600" dirty="0" smtClean="0">
                <a:solidFill>
                  <a:schemeClr val="tx2"/>
                </a:solidFill>
              </a:rPr>
              <a:t>С.</a:t>
            </a:r>
            <a:endParaRPr lang="ru-RU" sz="1600" dirty="0">
              <a:solidFill>
                <a:schemeClr val="tx2"/>
              </a:solidFill>
            </a:endParaRPr>
          </a:p>
        </p:txBody>
      </p:sp>
      <p:sp>
        <p:nvSpPr>
          <p:cNvPr id="17" name="Заголовок 6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87338" y="260350"/>
            <a:ext cx="8569325" cy="606425"/>
          </a:xfrm>
        </p:spPr>
        <p:txBody>
          <a:bodyPr/>
          <a:lstStyle/>
          <a:p>
            <a:r>
              <a:rPr lang="ru-RU" dirty="0" smtClean="0"/>
              <a:t>Результаты сравнительных испытаний доказывают преимущества </a:t>
            </a:r>
            <a:r>
              <a:rPr lang="en-US" dirty="0" smtClean="0"/>
              <a:t>G-Way </a:t>
            </a:r>
            <a:r>
              <a:rPr lang="en-US" dirty="0" err="1" smtClean="0"/>
              <a:t>Styrelf</a:t>
            </a:r>
            <a:r>
              <a:rPr lang="ru-RU" dirty="0" smtClean="0"/>
              <a:t>  над ПБВ по ГОСТ 5205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388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OR" val="powerlexis_panel_for_gpn"/>
  <p:tag name="TYPE" val="speech"/>
  <p:tag name="LANG" val="rus"/>
  <p:tag name="THINKCELLUNDODONOTDELETE" val="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r88XbFu0iq8_q.pseZ2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GhNPooQ0y6Gzf_G49p2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8iBIWX0it5BlvcBNhC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zfeGUeYEiFnRcN7KkHY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Ho41GD0mFxfiXj8RFl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qoxKMljU6N5_dB0t4_l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BAshEzFEunKBNM4BWPZ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qFkk45xEyXGXCsg.4f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qL67cgNUKpViYgMr38z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ocMaverUqdpHX0ayyKy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0qi_ju5UOqSb.L5LU5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6xP3b46Eq.u2xx2EA0v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WcmzAxIkWghJRzc5Dj1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OMzSIF.ka7_HCrc9uTS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RjuK.P0OhqCB6gHFX8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LyO0PwG0Keh9C1WE1jx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FSBMP7vUGaK_QYPg1a9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pneZFl7kGVcTUQYc_lY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mVppXoh0q5ymjf7Cc1K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RyjIt_pU640cpHBlReU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hkOlSV2EqZ_FmS2_oEG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xGdaJFnUKxc_fUpVz9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DcPmSJrk6Vm6i77O5VF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KjMgTDRkWcDrwqDexQB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zF1ImmcEerqLRmrdBK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XkpkS_UEyBymZ86raT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EXVM9tR0.iscJ9Ga5q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XDvzNpa06LymYEawWy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6jY9AK3UO1SPZY3iqfg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cD86jdykOiCUbVfbSx5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8ZfdsNrkm_3JjpAQxH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eadlin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dAVdbC2k6FGV3xNkga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9UuY68AEql0N5fKGtDL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EhlkUcMUiA4vkF1JD3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Bwk3RFI0C5RDQr0PyW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3QnTZd_U.Pxw6jFsIs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YRWoHwN0662n8N9nS_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XkpkS_UEyBymZ86raTP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gbU83hIkW8ynGTltJnF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XkpkS_UEyBymZ86raT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Yit8Y2c0SKLcDJ6QCy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nterpris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nVUe6XUGxqguhexKC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unVUe6XUGxqguhexKC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zwXjC89ke0TdFubZkRc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2iOdd7EWbHqpLF3dC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0JL27gvEWSBfao9GV0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niQBTMA0qdpzt0sCb3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ANQuD9xkGLAxM.pwKGN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4xhVF.jUKb0tfN5tVX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Uni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2VbEcUfEu2bxUCFKEgx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n7QkER502jq7c0otfn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8iXA3keUKOmxL_KZec8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V6hgBOI0unBZCwmjgg1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UiVkRyCkCcjP2cLjiMN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Yit8Y2c0SKLcDJ6QCyu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pqaG97gkKFoX2nxK2u6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RLwQFnkUm_QwKbMBlER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44JQLY7Ue.KEOInk_RH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WyDaZ9iUaZ79f4nFFC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utho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NWsFHZTKEOuhigVjKH13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R5cKNqnUi7wD00TP3f0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E2LEfyq0GuOEqVu2wYw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aUAYUzYE.rsAeQOsLjF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unVUV8hU26ka8Utd79x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Jf02Xw0S_7GByN1dAY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.pmhG00OYtbNZeqZq1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Q8Adcz6ECNP_AZGVhb0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GhNPooQ0y6Gzf_G49p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8iBIWX0it5BlvcBNhC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zfeGUeYEiFnRcN7KkH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LHo41GD0mFxfiXj8RFl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qoxKMljU6N5_dB0t4_l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BAshEzFEunKBNM4BWPZ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qFkk45xEyXGXCsg.4fa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oqL67cgNUKpViYgMr38z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ocMaverUqdpHX0ayyK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0qi_ju5UOqSb.L5LU5w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WcmzAxIkWghJRzc5Dj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OMzSIF.ka7_HCrc9uTS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RjuK.P0OhqCB6gHFX8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LyO0PwG0Keh9C1WE1j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FSBMP7vUGaK_QYPg1a9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pneZFl7kGVcTUQYc_lY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mVppXoh0q5ymjf7Cc1K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RyjIt_pU640cpHBlReU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hkOlSV2EqZ_FmS2_oE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xGdaJFnUKxc_fUpVz9k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KjMgTDRkWcDrwqDexQB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.wVpYREq10rvY0c.ZM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zF1ImmcEerqLRmrdBKW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wEY2NK.k6zQSGA8fh2f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x9w3F9w0.nWRDAcinnw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kJWiBSrEe0rgSdPY_gL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G0FRFKkECukYw2gY8sH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iH33DjDEqoqn7XUeIlg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x3uiuaiEGpXoy7q.qSH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ff0XWB6kewUZg.4iZM9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6Zti71F0i4U.O7WasjL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gENEzUt0CvBOQi52.Q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5WQOy1m0WPJBJEwlgC9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RLwQFnkUm_QwKbMBlER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44JQLY7Ue.KEOInk_RH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9WyDaZ9iUaZ79f4nFFCL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7X6RgB90WTLb4NosYRZ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E2LEfyq0GuOEqVu2wYw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aUAYUzYE.rsAeQOsLjF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unVUV8hU26ka8Utd79x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Jf02Xw0S_7GByN1dAY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.pmhG00OYtbNZeqZq1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Q8Adcz6ECNP_AZGVhb0g"/>
</p:tagLst>
</file>

<file path=ppt/theme/theme1.xml><?xml version="1.0" encoding="utf-8"?>
<a:theme xmlns:a="http://schemas.openxmlformats.org/drawingml/2006/main" name="gpn_speech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800"/>
          </a:spcBef>
          <a:defRPr sz="2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gpn_speech</Template>
  <TotalTime>4014</TotalTime>
  <Words>1574</Words>
  <Application>Microsoft Office PowerPoint</Application>
  <PresentationFormat>Экран (4:3)</PresentationFormat>
  <Paragraphs>294</Paragraphs>
  <Slides>14</Slides>
  <Notes>4</Notes>
  <HiddenSlides>0</HiddenSlides>
  <MMClips>1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gpn_speech</vt:lpstr>
      <vt:lpstr>think-cell Slide</vt:lpstr>
      <vt:lpstr> «Газпром нефть»: опыт производства                       и применения инновационных битумных материалов</vt:lpstr>
      <vt:lpstr>В 2014 г. подписано соглашение о сотрудничестве между ГК «Автодор» и ПАО «Газпром нефть»</vt:lpstr>
      <vt:lpstr>Компании ведут активную работу по всем направлениям взаимодействия</vt:lpstr>
      <vt:lpstr> Компания производит и реализует комплексный ассортимент современных битумных материалов</vt:lpstr>
      <vt:lpstr>Информационная открытость в вопросах качества – инструмент повышения эффективности отрасли</vt:lpstr>
      <vt:lpstr>Информационная открытость в вопросах качества – инструмент повышения эффективности отрасли</vt:lpstr>
      <vt:lpstr>Анализ опытных участков подтверждает: до 30% экономии бюджетных средств при использовании ПБВ</vt:lpstr>
      <vt:lpstr>В 2014 году на МНПЗ запущено производство высококачественного вяжущего ПМБ G-WAY STYRELF в рамках СП с Total</vt:lpstr>
      <vt:lpstr>Результаты сравнительных испытаний доказывают преимущества G-Way Styrelf  над ПБВ по ГОСТ 52056</vt:lpstr>
      <vt:lpstr>НИР: от разработки инноваций – до технологической эффективности вяжущих в составе асфальтобетона</vt:lpstr>
      <vt:lpstr>Уникальный научно-исследовательский центр - полный цикл исследований вяжущих и асфальтобетонов</vt:lpstr>
      <vt:lpstr>С 2016 г. Компания вышла на рынок инновационных битумопроизводных продуктов </vt:lpstr>
      <vt:lpstr>Битумопроизводные материалы обеспечивают сохранение целостности асфальтобетона (М-1 «Беларусь»)</vt:lpstr>
      <vt:lpstr>Рекомендации по применению битумных материалов, на автомобильных дорогах ГК «Автодор»</vt:lpstr>
    </vt:vector>
  </TitlesOfParts>
  <Company>PowerLex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na</dc:creator>
  <cp:lastModifiedBy>OrlovDV</cp:lastModifiedBy>
  <cp:revision>263</cp:revision>
  <cp:lastPrinted>2016-05-24T15:54:48Z</cp:lastPrinted>
  <dcterms:created xsi:type="dcterms:W3CDTF">2013-07-30T10:25:23Z</dcterms:created>
  <dcterms:modified xsi:type="dcterms:W3CDTF">2016-05-26T06:03:46Z</dcterms:modified>
</cp:coreProperties>
</file>